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9.xml" ContentType="application/vnd.openxmlformats-officedocument.presentationml.slideLayout+xml"/>
  <Override PartName="/ppt/theme/theme3.xml" ContentType="application/vnd.openxmlformats-officedocument.theme+xml"/>
  <Override PartName="/ppt/slideLayouts/slideLayout20.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0" r:id="rId1"/>
    <p:sldMasterId id="2147483652" r:id="rId2"/>
    <p:sldMasterId id="2147483684" r:id="rId3"/>
    <p:sldMasterId id="2147483752" r:id="rId4"/>
  </p:sldMasterIdLst>
  <p:notesMasterIdLst>
    <p:notesMasterId r:id="rId18"/>
  </p:notesMasterIdLst>
  <p:sldIdLst>
    <p:sldId id="256" r:id="rId5"/>
    <p:sldId id="1065" r:id="rId6"/>
    <p:sldId id="2145707308" r:id="rId7"/>
    <p:sldId id="1050" r:id="rId8"/>
    <p:sldId id="1044" r:id="rId9"/>
    <p:sldId id="743" r:id="rId10"/>
    <p:sldId id="751" r:id="rId11"/>
    <p:sldId id="1045" r:id="rId12"/>
    <p:sldId id="744" r:id="rId13"/>
    <p:sldId id="1046" r:id="rId14"/>
    <p:sldId id="1047" r:id="rId15"/>
    <p:sldId id="1063" r:id="rId16"/>
    <p:sldId id="260" r:id="rId17"/>
  </p:sldIdLst>
  <p:sldSz cx="12192000" cy="6858000"/>
  <p:notesSz cx="6858000" cy="9144000"/>
  <p:defaultTextStyle>
    <a:defPPr>
      <a:defRPr lang="en-US"/>
    </a:defPPr>
    <a:lvl1pPr marL="0" algn="l" defTabSz="914286" rtl="0" eaLnBrk="1" latinLnBrk="0" hangingPunct="1">
      <a:defRPr sz="1800" kern="1200">
        <a:solidFill>
          <a:schemeClr val="tx1"/>
        </a:solidFill>
        <a:latin typeface="+mn-lt"/>
        <a:ea typeface="+mn-ea"/>
        <a:cs typeface="+mn-cs"/>
      </a:defRPr>
    </a:lvl1pPr>
    <a:lvl2pPr marL="457144"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376"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6F0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660"/>
  </p:normalViewPr>
  <p:slideViewPr>
    <p:cSldViewPr snapToGrid="0">
      <p:cViewPr varScale="1">
        <p:scale>
          <a:sx n="70" d="100"/>
          <a:sy n="70" d="100"/>
        </p:scale>
        <p:origin x="726" y="60"/>
      </p:cViewPr>
      <p:guideLst>
        <p:guide orient="horz" pos="2376"/>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9AC4ABE-C76B-4975-BA2C-9C56E196D755}" type="datetimeFigureOut">
              <a:rPr lang="en-US" smtClean="0"/>
              <a:t>3/10/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1F0F483-F86E-4E49-B129-05202002C962}" type="slidenum">
              <a:rPr lang="en-US" smtClean="0"/>
              <a:t>‹#›</a:t>
            </a:fld>
            <a:endParaRPr lang="en-US"/>
          </a:p>
        </p:txBody>
      </p:sp>
    </p:spTree>
    <p:extLst>
      <p:ext uri="{BB962C8B-B14F-4D97-AF65-F5344CB8AC3E}">
        <p14:creationId xmlns:p14="http://schemas.microsoft.com/office/powerpoint/2010/main" val="6397180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3796EBE-D6D8-6749-9838-0ACC7D8DE2AB}" type="slidenum">
              <a:rPr lang="en-US" altLang="en-US" smtClean="0"/>
              <a:pPr>
                <a:defRPr/>
              </a:pPr>
              <a:t>4</a:t>
            </a:fld>
            <a:endParaRPr lang="en-US" altLang="en-US"/>
          </a:p>
        </p:txBody>
      </p:sp>
    </p:spTree>
    <p:extLst>
      <p:ext uri="{BB962C8B-B14F-4D97-AF65-F5344CB8AC3E}">
        <p14:creationId xmlns:p14="http://schemas.microsoft.com/office/powerpoint/2010/main" val="518654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3796EBE-D6D8-6749-9838-0ACC7D8DE2AB}" type="slidenum">
              <a:rPr lang="en-US" altLang="en-US" smtClean="0"/>
              <a:pPr>
                <a:defRPr/>
              </a:pPr>
              <a:t>5</a:t>
            </a:fld>
            <a:endParaRPr lang="en-US" altLang="en-US"/>
          </a:p>
        </p:txBody>
      </p:sp>
    </p:spTree>
    <p:extLst>
      <p:ext uri="{BB962C8B-B14F-4D97-AF65-F5344CB8AC3E}">
        <p14:creationId xmlns:p14="http://schemas.microsoft.com/office/powerpoint/2010/main" val="23721456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bject Repository, </a:t>
            </a:r>
            <a:r>
              <a:rPr lang="en-US"/>
              <a:t>Data Parameterization</a:t>
            </a:r>
            <a:endParaRPr lang="en-US" dirty="0"/>
          </a:p>
        </p:txBody>
      </p:sp>
    </p:spTree>
    <p:extLst>
      <p:ext uri="{BB962C8B-B14F-4D97-AF65-F5344CB8AC3E}">
        <p14:creationId xmlns:p14="http://schemas.microsoft.com/office/powerpoint/2010/main" val="14033279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p:sp>
      <p:sp>
        <p:nvSpPr>
          <p:cNvPr id="2765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CH" altLang="en-US"/>
          </a:p>
        </p:txBody>
      </p:sp>
    </p:spTree>
    <p:extLst>
      <p:ext uri="{BB962C8B-B14F-4D97-AF65-F5344CB8AC3E}">
        <p14:creationId xmlns:p14="http://schemas.microsoft.com/office/powerpoint/2010/main" val="29285821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rag Drop of BC, Multiple Iteration, Parallel Execution, BC Skipping</a:t>
            </a:r>
          </a:p>
        </p:txBody>
      </p:sp>
    </p:spTree>
    <p:extLst>
      <p:ext uri="{BB962C8B-B14F-4D97-AF65-F5344CB8AC3E}">
        <p14:creationId xmlns:p14="http://schemas.microsoft.com/office/powerpoint/2010/main" val="5317771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usability; Framework</a:t>
            </a:r>
            <a:r>
              <a:rPr lang="en-US"/>
              <a:t>; Agile Development; Continuous Testing</a:t>
            </a:r>
            <a:endParaRPr lang="en-US" dirty="0"/>
          </a:p>
        </p:txBody>
      </p:sp>
    </p:spTree>
    <p:extLst>
      <p:ext uri="{BB962C8B-B14F-4D97-AF65-F5344CB8AC3E}">
        <p14:creationId xmlns:p14="http://schemas.microsoft.com/office/powerpoint/2010/main" val="33452025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rag Drop of BC, Multiple Iteration, Parallel Execution, BC Skipping</a:t>
            </a:r>
          </a:p>
        </p:txBody>
      </p:sp>
    </p:spTree>
    <p:extLst>
      <p:ext uri="{BB962C8B-B14F-4D97-AF65-F5344CB8AC3E}">
        <p14:creationId xmlns:p14="http://schemas.microsoft.com/office/powerpoint/2010/main" val="5317771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usability; Framework</a:t>
            </a:r>
            <a:r>
              <a:rPr lang="en-US"/>
              <a:t>; Agile Development; Continuous Testing</a:t>
            </a:r>
            <a:endParaRPr lang="en-US" dirty="0"/>
          </a:p>
        </p:txBody>
      </p:sp>
    </p:spTree>
    <p:extLst>
      <p:ext uri="{BB962C8B-B14F-4D97-AF65-F5344CB8AC3E}">
        <p14:creationId xmlns:p14="http://schemas.microsoft.com/office/powerpoint/2010/main" val="33452025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3796EBE-D6D8-6749-9838-0ACC7D8DE2AB}" type="slidenum">
              <a:rPr lang="en-US" altLang="en-US" smtClean="0"/>
              <a:pPr>
                <a:defRPr/>
              </a:pPr>
              <a:t>12</a:t>
            </a:fld>
            <a:endParaRPr lang="en-US" altLang="en-US"/>
          </a:p>
        </p:txBody>
      </p:sp>
    </p:spTree>
    <p:extLst>
      <p:ext uri="{BB962C8B-B14F-4D97-AF65-F5344CB8AC3E}">
        <p14:creationId xmlns:p14="http://schemas.microsoft.com/office/powerpoint/2010/main" val="5186548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bin"/><Relationship Id="rId9"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0.emf"/><Relationship Id="rId4" Type="http://schemas.openxmlformats.org/officeDocument/2006/relationships/oleObject" Target="../embeddings/oleObject3.bin"/></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End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Graphic 2">
            <a:extLst>
              <a:ext uri="{FF2B5EF4-FFF2-40B4-BE49-F238E27FC236}">
                <a16:creationId xmlns:a16="http://schemas.microsoft.com/office/drawing/2014/main" id="{C6032FB9-BC74-4D22-9490-C57A3761EB46}"/>
              </a:ext>
            </a:extLst>
          </p:cNvPr>
          <p:cNvSpPr/>
          <p:nvPr userDrawn="1"/>
        </p:nvSpPr>
        <p:spPr>
          <a:xfrm flipH="1">
            <a:off x="3994321" y="809154"/>
            <a:ext cx="4427783" cy="5323880"/>
          </a:xfrm>
          <a:custGeom>
            <a:avLst/>
            <a:gdLst>
              <a:gd name="connsiteX0" fmla="*/ 198332 w 800100"/>
              <a:gd name="connsiteY0" fmla="*/ 961703 h 962025"/>
              <a:gd name="connsiteX1" fmla="*/ 646959 w 800100"/>
              <a:gd name="connsiteY1" fmla="*/ 961703 h 962025"/>
              <a:gd name="connsiteX2" fmla="*/ 610764 w 800100"/>
              <a:gd name="connsiteY2" fmla="*/ 885503 h 962025"/>
              <a:gd name="connsiteX3" fmla="*/ 686964 w 800100"/>
              <a:gd name="connsiteY3" fmla="*/ 625471 h 962025"/>
              <a:gd name="connsiteX4" fmla="*/ 786024 w 800100"/>
              <a:gd name="connsiteY4" fmla="*/ 283523 h 962025"/>
              <a:gd name="connsiteX5" fmla="*/ 359304 w 800100"/>
              <a:gd name="connsiteY5" fmla="*/ 14918 h 962025"/>
              <a:gd name="connsiteX6" fmla="*/ 124037 w 800100"/>
              <a:gd name="connsiteY6" fmla="*/ 211133 h 962025"/>
              <a:gd name="connsiteX7" fmla="*/ 116417 w 800100"/>
              <a:gd name="connsiteY7" fmla="*/ 270188 h 962025"/>
              <a:gd name="connsiteX8" fmla="*/ 59267 w 800100"/>
              <a:gd name="connsiteY8" fmla="*/ 367343 h 962025"/>
              <a:gd name="connsiteX9" fmla="*/ 13547 w 800100"/>
              <a:gd name="connsiteY9" fmla="*/ 427351 h 962025"/>
              <a:gd name="connsiteX10" fmla="*/ 24024 w 800100"/>
              <a:gd name="connsiteY10" fmla="*/ 515933 h 962025"/>
              <a:gd name="connsiteX11" fmla="*/ 63077 w 800100"/>
              <a:gd name="connsiteY11" fmla="*/ 552128 h 962025"/>
              <a:gd name="connsiteX12" fmla="*/ 18309 w 800100"/>
              <a:gd name="connsiteY12" fmla="*/ 570226 h 962025"/>
              <a:gd name="connsiteX13" fmla="*/ 30692 w 800100"/>
              <a:gd name="connsiteY13" fmla="*/ 609278 h 962025"/>
              <a:gd name="connsiteX14" fmla="*/ 29739 w 800100"/>
              <a:gd name="connsiteY14" fmla="*/ 673096 h 962025"/>
              <a:gd name="connsiteX15" fmla="*/ 85937 w 800100"/>
              <a:gd name="connsiteY15" fmla="*/ 744533 h 962025"/>
              <a:gd name="connsiteX16" fmla="*/ 225002 w 800100"/>
              <a:gd name="connsiteY16" fmla="*/ 764536 h 962025"/>
              <a:gd name="connsiteX17" fmla="*/ 198332 w 800100"/>
              <a:gd name="connsiteY17" fmla="*/ 961703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00100" h="962025">
                <a:moveTo>
                  <a:pt x="198332" y="961703"/>
                </a:moveTo>
                <a:lnTo>
                  <a:pt x="646959" y="961703"/>
                </a:lnTo>
                <a:cubicBezTo>
                  <a:pt x="633624" y="935986"/>
                  <a:pt x="619337" y="903601"/>
                  <a:pt x="610764" y="885503"/>
                </a:cubicBezTo>
                <a:cubicBezTo>
                  <a:pt x="586952" y="829306"/>
                  <a:pt x="604097" y="706433"/>
                  <a:pt x="686964" y="625471"/>
                </a:cubicBezTo>
                <a:cubicBezTo>
                  <a:pt x="766022" y="548318"/>
                  <a:pt x="817457" y="398776"/>
                  <a:pt x="786024" y="283523"/>
                </a:cubicBezTo>
                <a:cubicBezTo>
                  <a:pt x="734589" y="93023"/>
                  <a:pt x="563139" y="-25087"/>
                  <a:pt x="359304" y="14918"/>
                </a:cubicBezTo>
                <a:cubicBezTo>
                  <a:pt x="359304" y="14918"/>
                  <a:pt x="183092" y="36826"/>
                  <a:pt x="124037" y="211133"/>
                </a:cubicBezTo>
                <a:cubicBezTo>
                  <a:pt x="124037" y="211133"/>
                  <a:pt x="114512" y="236851"/>
                  <a:pt x="116417" y="270188"/>
                </a:cubicBezTo>
                <a:cubicBezTo>
                  <a:pt x="121179" y="323528"/>
                  <a:pt x="83079" y="354961"/>
                  <a:pt x="59267" y="367343"/>
                </a:cubicBezTo>
                <a:cubicBezTo>
                  <a:pt x="34502" y="380678"/>
                  <a:pt x="-9313" y="402586"/>
                  <a:pt x="13547" y="427351"/>
                </a:cubicBezTo>
                <a:cubicBezTo>
                  <a:pt x="41169" y="457831"/>
                  <a:pt x="39264" y="496883"/>
                  <a:pt x="24024" y="515933"/>
                </a:cubicBezTo>
                <a:cubicBezTo>
                  <a:pt x="4974" y="538793"/>
                  <a:pt x="60219" y="539746"/>
                  <a:pt x="63077" y="552128"/>
                </a:cubicBezTo>
                <a:cubicBezTo>
                  <a:pt x="65934" y="565463"/>
                  <a:pt x="22119" y="554986"/>
                  <a:pt x="18309" y="570226"/>
                </a:cubicBezTo>
                <a:cubicBezTo>
                  <a:pt x="14499" y="586418"/>
                  <a:pt x="26882" y="590228"/>
                  <a:pt x="30692" y="609278"/>
                </a:cubicBezTo>
                <a:cubicBezTo>
                  <a:pt x="34502" y="628328"/>
                  <a:pt x="31644" y="663571"/>
                  <a:pt x="29739" y="673096"/>
                </a:cubicBezTo>
                <a:cubicBezTo>
                  <a:pt x="27834" y="682621"/>
                  <a:pt x="33549" y="739771"/>
                  <a:pt x="85937" y="744533"/>
                </a:cubicBezTo>
                <a:cubicBezTo>
                  <a:pt x="138324" y="749296"/>
                  <a:pt x="204047" y="738818"/>
                  <a:pt x="225002" y="764536"/>
                </a:cubicBezTo>
                <a:cubicBezTo>
                  <a:pt x="244052" y="790253"/>
                  <a:pt x="222144" y="890266"/>
                  <a:pt x="198332" y="961703"/>
                </a:cubicBezTo>
                <a:close/>
              </a:path>
            </a:pathLst>
          </a:custGeom>
          <a:solidFill>
            <a:schemeClr val="bg1"/>
          </a:solidFill>
          <a:ln w="9525" cap="flat">
            <a:noFill/>
            <a:prstDash val="solid"/>
            <a:miter/>
          </a:ln>
        </p:spPr>
        <p:txBody>
          <a:bodyPr rtlCol="0" anchor="ctr"/>
          <a:lstStyle/>
          <a:p>
            <a:endParaRPr lang="en-US"/>
          </a:p>
        </p:txBody>
      </p:sp>
    </p:spTree>
    <p:extLst>
      <p:ext uri="{BB962C8B-B14F-4D97-AF65-F5344CB8AC3E}">
        <p14:creationId xmlns:p14="http://schemas.microsoft.com/office/powerpoint/2010/main" val="239502376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_Contents slide layout">
    <p:bg>
      <p:bgPr>
        <a:solidFill>
          <a:schemeClr val="bg1"/>
        </a:solidFill>
        <a:effectLst/>
      </p:bgPr>
    </p:bg>
    <p:spTree>
      <p:nvGrpSpPr>
        <p:cNvPr id="1" name=""/>
        <p:cNvGrpSpPr/>
        <p:nvPr/>
      </p:nvGrpSpPr>
      <p:grpSpPr>
        <a:xfrm>
          <a:off x="0" y="0"/>
          <a:ext cx="0" cy="0"/>
          <a:chOff x="0" y="0"/>
          <a:chExt cx="0" cy="0"/>
        </a:xfrm>
      </p:grpSpPr>
      <p:sp>
        <p:nvSpPr>
          <p:cNvPr id="4" name="그림 개체 틀 2">
            <a:extLst>
              <a:ext uri="{FF2B5EF4-FFF2-40B4-BE49-F238E27FC236}">
                <a16:creationId xmlns:a16="http://schemas.microsoft.com/office/drawing/2014/main" id="{6BEAFC25-821F-477D-B4DA-EF0E26AE0841}"/>
              </a:ext>
            </a:extLst>
          </p:cNvPr>
          <p:cNvSpPr>
            <a:spLocks noGrp="1"/>
          </p:cNvSpPr>
          <p:nvPr>
            <p:ph type="pic" sz="quarter" idx="10" hasCustomPrompt="1"/>
          </p:nvPr>
        </p:nvSpPr>
        <p:spPr>
          <a:xfrm>
            <a:off x="0" y="0"/>
            <a:ext cx="12192000" cy="6858000"/>
          </a:xfrm>
          <a:prstGeom prst="rect">
            <a:avLst/>
          </a:prstGeom>
          <a:solidFill>
            <a:schemeClr val="bg1">
              <a:lumMod val="95000"/>
            </a:schemeClr>
          </a:solidFill>
          <a:ln w="152400">
            <a:noFill/>
          </a:ln>
          <a:effectLst/>
        </p:spPr>
        <p:txBody>
          <a:bodyPr anchor="ctr"/>
          <a:lstStyle>
            <a:lvl1pPr marL="0" indent="0" algn="ctr">
              <a:buFontTx/>
              <a:buNone/>
              <a:defRPr sz="1200">
                <a:solidFill>
                  <a:schemeClr val="tx1">
                    <a:lumMod val="75000"/>
                    <a:lumOff val="25000"/>
                  </a:schemeClr>
                </a:solidFill>
              </a:defRPr>
            </a:lvl1pPr>
          </a:lstStyle>
          <a:p>
            <a:r>
              <a:rPr lang="en-US" altLang="ko-KR" dirty="0"/>
              <a:t>Place Your Picture Here and Sent to Back</a:t>
            </a:r>
            <a:endParaRPr lang="ko-KR" altLang="en-US" dirty="0"/>
          </a:p>
        </p:txBody>
      </p:sp>
    </p:spTree>
    <p:extLst>
      <p:ext uri="{BB962C8B-B14F-4D97-AF65-F5344CB8AC3E}">
        <p14:creationId xmlns:p14="http://schemas.microsoft.com/office/powerpoint/2010/main" val="23343040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7_Contents slide layout">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43073D1A-A4A7-4F5B-BE54-63CEAB575F6A}"/>
              </a:ext>
            </a:extLst>
          </p:cNvPr>
          <p:cNvSpPr>
            <a:spLocks noGrp="1"/>
          </p:cNvSpPr>
          <p:nvPr>
            <p:ph type="pic" sz="quarter" idx="10" hasCustomPrompt="1"/>
          </p:nvPr>
        </p:nvSpPr>
        <p:spPr>
          <a:xfrm>
            <a:off x="7266709" y="529965"/>
            <a:ext cx="4925290" cy="5798070"/>
          </a:xfrm>
          <a:custGeom>
            <a:avLst/>
            <a:gdLst>
              <a:gd name="connsiteX0" fmla="*/ 857449 w 4925290"/>
              <a:gd name="connsiteY0" fmla="*/ 0 h 5798070"/>
              <a:gd name="connsiteX1" fmla="*/ 4214649 w 4925290"/>
              <a:gd name="connsiteY1" fmla="*/ 0 h 5798070"/>
              <a:gd name="connsiteX2" fmla="*/ 4925290 w 4925290"/>
              <a:gd name="connsiteY2" fmla="*/ 1223176 h 5798070"/>
              <a:gd name="connsiteX3" fmla="*/ 4925290 w 4925290"/>
              <a:gd name="connsiteY3" fmla="*/ 4574894 h 5798070"/>
              <a:gd name="connsiteX4" fmla="*/ 4214649 w 4925290"/>
              <a:gd name="connsiteY4" fmla="*/ 5798070 h 5798070"/>
              <a:gd name="connsiteX5" fmla="*/ 857449 w 4925290"/>
              <a:gd name="connsiteY5" fmla="*/ 5798070 h 5798070"/>
              <a:gd name="connsiteX6" fmla="*/ 0 w 4925290"/>
              <a:gd name="connsiteY6" fmla="*/ 4322202 h 5798070"/>
              <a:gd name="connsiteX7" fmla="*/ 2152428 w 4925290"/>
              <a:gd name="connsiteY7" fmla="*/ 4322202 h 5798070"/>
              <a:gd name="connsiteX8" fmla="*/ 2979260 w 4925290"/>
              <a:gd name="connsiteY8" fmla="*/ 2899035 h 5798070"/>
              <a:gd name="connsiteX9" fmla="*/ 2152428 w 4925290"/>
              <a:gd name="connsiteY9" fmla="*/ 1475868 h 5798070"/>
              <a:gd name="connsiteX10" fmla="*/ 0 w 4925290"/>
              <a:gd name="connsiteY10" fmla="*/ 1475868 h 579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25290" h="5798070">
                <a:moveTo>
                  <a:pt x="857449" y="0"/>
                </a:moveTo>
                <a:lnTo>
                  <a:pt x="4214649" y="0"/>
                </a:lnTo>
                <a:lnTo>
                  <a:pt x="4925290" y="1223176"/>
                </a:lnTo>
                <a:lnTo>
                  <a:pt x="4925290" y="4574894"/>
                </a:lnTo>
                <a:lnTo>
                  <a:pt x="4214649" y="5798070"/>
                </a:lnTo>
                <a:lnTo>
                  <a:pt x="857449" y="5798070"/>
                </a:lnTo>
                <a:lnTo>
                  <a:pt x="0" y="4322202"/>
                </a:lnTo>
                <a:lnTo>
                  <a:pt x="2152428" y="4322202"/>
                </a:lnTo>
                <a:lnTo>
                  <a:pt x="2979260" y="2899035"/>
                </a:lnTo>
                <a:lnTo>
                  <a:pt x="2152428" y="1475868"/>
                </a:lnTo>
                <a:lnTo>
                  <a:pt x="0" y="1475868"/>
                </a:lnTo>
                <a:close/>
              </a:path>
            </a:pathLst>
          </a:custGeom>
          <a:solidFill>
            <a:schemeClr val="bg1">
              <a:lumMod val="95000"/>
            </a:schemeClr>
          </a:solidFill>
          <a:ln w="152400">
            <a:noFill/>
          </a:ln>
          <a:effectLst/>
        </p:spPr>
        <p:txBody>
          <a:bodyPr wrap="square" anchor="ctr">
            <a:noAutofit/>
          </a:bodyPr>
          <a:lstStyle>
            <a:lvl1pPr marL="0" indent="0" algn="ctr">
              <a:buFontTx/>
              <a:buNone/>
              <a:defRPr sz="1200">
                <a:solidFill>
                  <a:schemeClr val="tx1">
                    <a:lumMod val="75000"/>
                    <a:lumOff val="25000"/>
                  </a:schemeClr>
                </a:solidFill>
              </a:defRPr>
            </a:lvl1pPr>
          </a:lstStyle>
          <a:p>
            <a:r>
              <a:rPr lang="en-US" altLang="ko-KR" dirty="0"/>
              <a:t>Place Your Picture Here</a:t>
            </a:r>
            <a:endParaRPr lang="ko-KR" altLang="en-US" dirty="0"/>
          </a:p>
        </p:txBody>
      </p:sp>
      <p:sp>
        <p:nvSpPr>
          <p:cNvPr id="13" name="Picture Placeholder 12">
            <a:extLst>
              <a:ext uri="{FF2B5EF4-FFF2-40B4-BE49-F238E27FC236}">
                <a16:creationId xmlns:a16="http://schemas.microsoft.com/office/drawing/2014/main" id="{8CF70162-E0C4-4E2A-B2CE-73A493476724}"/>
              </a:ext>
            </a:extLst>
          </p:cNvPr>
          <p:cNvSpPr>
            <a:spLocks noGrp="1"/>
          </p:cNvSpPr>
          <p:nvPr>
            <p:ph type="pic" sz="quarter" idx="11" hasCustomPrompt="1"/>
          </p:nvPr>
        </p:nvSpPr>
        <p:spPr>
          <a:xfrm>
            <a:off x="4525108" y="2105085"/>
            <a:ext cx="4925290" cy="2647831"/>
          </a:xfrm>
          <a:custGeom>
            <a:avLst/>
            <a:gdLst>
              <a:gd name="connsiteX0" fmla="*/ 769169 w 6213231"/>
              <a:gd name="connsiteY0" fmla="*/ 0 h 2647831"/>
              <a:gd name="connsiteX1" fmla="*/ 5444062 w 6213231"/>
              <a:gd name="connsiteY1" fmla="*/ 0 h 2647831"/>
              <a:gd name="connsiteX2" fmla="*/ 6213231 w 6213231"/>
              <a:gd name="connsiteY2" fmla="*/ 1323916 h 2647831"/>
              <a:gd name="connsiteX3" fmla="*/ 5444062 w 6213231"/>
              <a:gd name="connsiteY3" fmla="*/ 2647831 h 2647831"/>
              <a:gd name="connsiteX4" fmla="*/ 769169 w 6213231"/>
              <a:gd name="connsiteY4" fmla="*/ 2647831 h 2647831"/>
              <a:gd name="connsiteX5" fmla="*/ 0 w 6213231"/>
              <a:gd name="connsiteY5" fmla="*/ 1323916 h 2647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13231" h="2647831">
                <a:moveTo>
                  <a:pt x="769169" y="0"/>
                </a:moveTo>
                <a:lnTo>
                  <a:pt x="5444062" y="0"/>
                </a:lnTo>
                <a:lnTo>
                  <a:pt x="6213231" y="1323916"/>
                </a:lnTo>
                <a:lnTo>
                  <a:pt x="5444062" y="2647831"/>
                </a:lnTo>
                <a:lnTo>
                  <a:pt x="769169" y="2647831"/>
                </a:lnTo>
                <a:lnTo>
                  <a:pt x="0" y="1323916"/>
                </a:lnTo>
                <a:close/>
              </a:path>
            </a:pathLst>
          </a:custGeom>
          <a:solidFill>
            <a:schemeClr val="bg1">
              <a:lumMod val="95000"/>
            </a:schemeClr>
          </a:solidFill>
          <a:ln w="152400">
            <a:noFill/>
          </a:ln>
          <a:effectLst/>
        </p:spPr>
        <p:txBody>
          <a:bodyPr wrap="square" anchor="ctr">
            <a:noAutofit/>
          </a:bodyPr>
          <a:lstStyle>
            <a:lvl1pPr marL="0" indent="0" algn="ctr">
              <a:buFontTx/>
              <a:buNone/>
              <a:defRPr sz="1200">
                <a:solidFill>
                  <a:schemeClr val="tx1">
                    <a:lumMod val="75000"/>
                    <a:lumOff val="25000"/>
                  </a:schemeClr>
                </a:solidFill>
              </a:defRPr>
            </a:lvl1pPr>
          </a:lstStyle>
          <a:p>
            <a:r>
              <a:rPr lang="en-US" altLang="ko-KR" dirty="0"/>
              <a:t>Place Your Picture Here</a:t>
            </a:r>
            <a:endParaRPr lang="ko-KR" altLang="en-US" dirty="0"/>
          </a:p>
        </p:txBody>
      </p:sp>
    </p:spTree>
    <p:extLst>
      <p:ext uri="{BB962C8B-B14F-4D97-AF65-F5344CB8AC3E}">
        <p14:creationId xmlns:p14="http://schemas.microsoft.com/office/powerpoint/2010/main" val="4847684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6_Contents slide layout">
    <p:bg>
      <p:bgPr>
        <a:solidFill>
          <a:schemeClr val="bg1"/>
        </a:solidFill>
        <a:effectLst/>
      </p:bgPr>
    </p:bg>
    <p:spTree>
      <p:nvGrpSpPr>
        <p:cNvPr id="1" name=""/>
        <p:cNvGrpSpPr/>
        <p:nvPr/>
      </p:nvGrpSpPr>
      <p:grpSpPr>
        <a:xfrm>
          <a:off x="0" y="0"/>
          <a:ext cx="0" cy="0"/>
          <a:chOff x="0" y="0"/>
          <a:chExt cx="0" cy="0"/>
        </a:xfrm>
      </p:grpSpPr>
      <p:sp>
        <p:nvSpPr>
          <p:cNvPr id="4" name="그림 개체 틀 2">
            <a:extLst>
              <a:ext uri="{FF2B5EF4-FFF2-40B4-BE49-F238E27FC236}">
                <a16:creationId xmlns:a16="http://schemas.microsoft.com/office/drawing/2014/main" id="{6BEAFC25-821F-477D-B4DA-EF0E26AE0841}"/>
              </a:ext>
            </a:extLst>
          </p:cNvPr>
          <p:cNvSpPr>
            <a:spLocks noGrp="1"/>
          </p:cNvSpPr>
          <p:nvPr>
            <p:ph type="pic" sz="quarter" idx="10" hasCustomPrompt="1"/>
          </p:nvPr>
        </p:nvSpPr>
        <p:spPr>
          <a:xfrm>
            <a:off x="1160586" y="0"/>
            <a:ext cx="4853352" cy="6858000"/>
          </a:xfrm>
          <a:prstGeom prst="rect">
            <a:avLst/>
          </a:prstGeom>
          <a:solidFill>
            <a:schemeClr val="bg1">
              <a:lumMod val="95000"/>
            </a:schemeClr>
          </a:solidFill>
          <a:ln w="152400">
            <a:noFill/>
          </a:ln>
          <a:effectLst/>
        </p:spPr>
        <p:txBody>
          <a:bodyPr anchor="ctr"/>
          <a:lstStyle>
            <a:lvl1pPr marL="0" indent="0" algn="ctr">
              <a:buFontTx/>
              <a:buNone/>
              <a:defRPr sz="1200">
                <a:solidFill>
                  <a:schemeClr val="tx1">
                    <a:lumMod val="75000"/>
                    <a:lumOff val="25000"/>
                  </a:schemeClr>
                </a:solidFill>
              </a:defRPr>
            </a:lvl1pPr>
          </a:lstStyle>
          <a:p>
            <a:r>
              <a:rPr lang="en-US" altLang="ko-KR" dirty="0"/>
              <a:t>Place Your Picture Here and Sent to Back</a:t>
            </a:r>
            <a:endParaRPr lang="ko-KR" altLang="en-US" dirty="0"/>
          </a:p>
        </p:txBody>
      </p:sp>
    </p:spTree>
    <p:extLst>
      <p:ext uri="{BB962C8B-B14F-4D97-AF65-F5344CB8AC3E}">
        <p14:creationId xmlns:p14="http://schemas.microsoft.com/office/powerpoint/2010/main" val="15329724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Contents slide layout">
    <p:bg>
      <p:bgPr>
        <a:solidFill>
          <a:schemeClr val="bg1"/>
        </a:solidFill>
        <a:effectLst/>
      </p:bgPr>
    </p:bg>
    <p:spTree>
      <p:nvGrpSpPr>
        <p:cNvPr id="1" name=""/>
        <p:cNvGrpSpPr/>
        <p:nvPr/>
      </p:nvGrpSpPr>
      <p:grpSpPr>
        <a:xfrm>
          <a:off x="0" y="0"/>
          <a:ext cx="0" cy="0"/>
          <a:chOff x="0" y="0"/>
          <a:chExt cx="0" cy="0"/>
        </a:xfrm>
      </p:grpSpPr>
      <p:sp>
        <p:nvSpPr>
          <p:cNvPr id="34" name="Picture Placeholder 33">
            <a:extLst>
              <a:ext uri="{FF2B5EF4-FFF2-40B4-BE49-F238E27FC236}">
                <a16:creationId xmlns:a16="http://schemas.microsoft.com/office/drawing/2014/main" id="{21AEC72C-3C89-4B08-B67E-E04E47BA302D}"/>
              </a:ext>
            </a:extLst>
          </p:cNvPr>
          <p:cNvSpPr>
            <a:spLocks noGrp="1"/>
          </p:cNvSpPr>
          <p:nvPr>
            <p:ph type="pic" sz="quarter" idx="10" hasCustomPrompt="1"/>
          </p:nvPr>
        </p:nvSpPr>
        <p:spPr>
          <a:xfrm>
            <a:off x="5847486" y="342900"/>
            <a:ext cx="5926499" cy="6172200"/>
          </a:xfrm>
          <a:custGeom>
            <a:avLst/>
            <a:gdLst>
              <a:gd name="connsiteX0" fmla="*/ 1240972 w 5926499"/>
              <a:gd name="connsiteY0" fmla="*/ 0 h 6172200"/>
              <a:gd name="connsiteX1" fmla="*/ 5926499 w 5926499"/>
              <a:gd name="connsiteY1" fmla="*/ 0 h 6172200"/>
              <a:gd name="connsiteX2" fmla="*/ 5926499 w 5926499"/>
              <a:gd name="connsiteY2" fmla="*/ 6172200 h 6172200"/>
              <a:gd name="connsiteX3" fmla="*/ 1240972 w 5926499"/>
              <a:gd name="connsiteY3" fmla="*/ 6172200 h 6172200"/>
              <a:gd name="connsiteX4" fmla="*/ 1240972 w 5926499"/>
              <a:gd name="connsiteY4" fmla="*/ 6015988 h 6172200"/>
              <a:gd name="connsiteX5" fmla="*/ 92399 w 5926499"/>
              <a:gd name="connsiteY5" fmla="*/ 6015988 h 6172200"/>
              <a:gd name="connsiteX6" fmla="*/ 92399 w 5926499"/>
              <a:gd name="connsiteY6" fmla="*/ 5938701 h 6172200"/>
              <a:gd name="connsiteX7" fmla="*/ 1240972 w 5926499"/>
              <a:gd name="connsiteY7" fmla="*/ 5938701 h 6172200"/>
              <a:gd name="connsiteX8" fmla="*/ 1240972 w 5926499"/>
              <a:gd name="connsiteY8" fmla="*/ 5859778 h 6172200"/>
              <a:gd name="connsiteX9" fmla="*/ 497028 w 5926499"/>
              <a:gd name="connsiteY9" fmla="*/ 5859778 h 6172200"/>
              <a:gd name="connsiteX10" fmla="*/ 497028 w 5926499"/>
              <a:gd name="connsiteY10" fmla="*/ 5668190 h 6172200"/>
              <a:gd name="connsiteX11" fmla="*/ 1240972 w 5926499"/>
              <a:gd name="connsiteY11" fmla="*/ 5668190 h 6172200"/>
              <a:gd name="connsiteX12" fmla="*/ 1240972 w 5926499"/>
              <a:gd name="connsiteY12" fmla="*/ 5589267 h 6172200"/>
              <a:gd name="connsiteX13" fmla="*/ 2775704 w 5926499"/>
              <a:gd name="connsiteY13" fmla="*/ 5589267 h 6172200"/>
              <a:gd name="connsiteX14" fmla="*/ 2775704 w 5926499"/>
              <a:gd name="connsiteY14" fmla="*/ 5511980 h 6172200"/>
              <a:gd name="connsiteX15" fmla="*/ 1240972 w 5926499"/>
              <a:gd name="connsiteY15" fmla="*/ 5511980 h 6172200"/>
              <a:gd name="connsiteX16" fmla="*/ 1240972 w 5926499"/>
              <a:gd name="connsiteY16" fmla="*/ 5222694 h 6172200"/>
              <a:gd name="connsiteX17" fmla="*/ 2993421 w 5926499"/>
              <a:gd name="connsiteY17" fmla="*/ 5222694 h 6172200"/>
              <a:gd name="connsiteX18" fmla="*/ 2993421 w 5926499"/>
              <a:gd name="connsiteY18" fmla="*/ 5031107 h 6172200"/>
              <a:gd name="connsiteX19" fmla="*/ 1240972 w 5926499"/>
              <a:gd name="connsiteY19" fmla="*/ 5031107 h 6172200"/>
              <a:gd name="connsiteX20" fmla="*/ 1240972 w 5926499"/>
              <a:gd name="connsiteY20" fmla="*/ 4922382 h 6172200"/>
              <a:gd name="connsiteX21" fmla="*/ 225578 w 5926499"/>
              <a:gd name="connsiteY21" fmla="*/ 4922382 h 6172200"/>
              <a:gd name="connsiteX22" fmla="*/ 225578 w 5926499"/>
              <a:gd name="connsiteY22" fmla="*/ 4845095 h 6172200"/>
              <a:gd name="connsiteX23" fmla="*/ 1240972 w 5926499"/>
              <a:gd name="connsiteY23" fmla="*/ 4845095 h 6172200"/>
              <a:gd name="connsiteX24" fmla="*/ 1240972 w 5926499"/>
              <a:gd name="connsiteY24" fmla="*/ 4721133 h 6172200"/>
              <a:gd name="connsiteX25" fmla="*/ 2181818 w 5926499"/>
              <a:gd name="connsiteY25" fmla="*/ 4721133 h 6172200"/>
              <a:gd name="connsiteX26" fmla="*/ 2181818 w 5926499"/>
              <a:gd name="connsiteY26" fmla="*/ 4655818 h 6172200"/>
              <a:gd name="connsiteX27" fmla="*/ 1240972 w 5926499"/>
              <a:gd name="connsiteY27" fmla="*/ 4655818 h 6172200"/>
              <a:gd name="connsiteX28" fmla="*/ 1240972 w 5926499"/>
              <a:gd name="connsiteY28" fmla="*/ 4516481 h 6172200"/>
              <a:gd name="connsiteX29" fmla="*/ 497028 w 5926499"/>
              <a:gd name="connsiteY29" fmla="*/ 4516481 h 6172200"/>
              <a:gd name="connsiteX30" fmla="*/ 497028 w 5926499"/>
              <a:gd name="connsiteY30" fmla="*/ 4439194 h 6172200"/>
              <a:gd name="connsiteX31" fmla="*/ 1240972 w 5926499"/>
              <a:gd name="connsiteY31" fmla="*/ 4439194 h 6172200"/>
              <a:gd name="connsiteX32" fmla="*/ 1240972 w 5926499"/>
              <a:gd name="connsiteY32" fmla="*/ 4321628 h 6172200"/>
              <a:gd name="connsiteX33" fmla="*/ 2347278 w 5926499"/>
              <a:gd name="connsiteY33" fmla="*/ 4321628 h 6172200"/>
              <a:gd name="connsiteX34" fmla="*/ 2347278 w 5926499"/>
              <a:gd name="connsiteY34" fmla="*/ 4130040 h 6172200"/>
              <a:gd name="connsiteX35" fmla="*/ 1240972 w 5926499"/>
              <a:gd name="connsiteY35" fmla="*/ 4130040 h 6172200"/>
              <a:gd name="connsiteX36" fmla="*/ 1240972 w 5926499"/>
              <a:gd name="connsiteY36" fmla="*/ 3828776 h 6172200"/>
              <a:gd name="connsiteX37" fmla="*/ 2347278 w 5926499"/>
              <a:gd name="connsiteY37" fmla="*/ 3828776 h 6172200"/>
              <a:gd name="connsiteX38" fmla="*/ 2347278 w 5926499"/>
              <a:gd name="connsiteY38" fmla="*/ 3751489 h 6172200"/>
              <a:gd name="connsiteX39" fmla="*/ 1240972 w 5926499"/>
              <a:gd name="connsiteY39" fmla="*/ 3751489 h 6172200"/>
              <a:gd name="connsiteX40" fmla="*/ 1240972 w 5926499"/>
              <a:gd name="connsiteY40" fmla="*/ 3567249 h 6172200"/>
              <a:gd name="connsiteX41" fmla="*/ 544605 w 5926499"/>
              <a:gd name="connsiteY41" fmla="*/ 3567249 h 6172200"/>
              <a:gd name="connsiteX42" fmla="*/ 544605 w 5926499"/>
              <a:gd name="connsiteY42" fmla="*/ 3279866 h 6172200"/>
              <a:gd name="connsiteX43" fmla="*/ 1240972 w 5926499"/>
              <a:gd name="connsiteY43" fmla="*/ 3279866 h 6172200"/>
              <a:gd name="connsiteX44" fmla="*/ 1240972 w 5926499"/>
              <a:gd name="connsiteY44" fmla="*/ 3141069 h 6172200"/>
              <a:gd name="connsiteX45" fmla="*/ 0 w 5926499"/>
              <a:gd name="connsiteY45" fmla="*/ 3141069 h 6172200"/>
              <a:gd name="connsiteX46" fmla="*/ 0 w 5926499"/>
              <a:gd name="connsiteY46" fmla="*/ 3063782 h 6172200"/>
              <a:gd name="connsiteX47" fmla="*/ 1240972 w 5926499"/>
              <a:gd name="connsiteY47" fmla="*/ 3063782 h 6172200"/>
              <a:gd name="connsiteX48" fmla="*/ 1240972 w 5926499"/>
              <a:gd name="connsiteY48" fmla="*/ 2942953 h 6172200"/>
              <a:gd name="connsiteX49" fmla="*/ 343464 w 5926499"/>
              <a:gd name="connsiteY49" fmla="*/ 2942953 h 6172200"/>
              <a:gd name="connsiteX50" fmla="*/ 343464 w 5926499"/>
              <a:gd name="connsiteY50" fmla="*/ 2865666 h 6172200"/>
              <a:gd name="connsiteX51" fmla="*/ 1240972 w 5926499"/>
              <a:gd name="connsiteY51" fmla="*/ 2865666 h 6172200"/>
              <a:gd name="connsiteX52" fmla="*/ 1240972 w 5926499"/>
              <a:gd name="connsiteY52" fmla="*/ 2770414 h 6172200"/>
              <a:gd name="connsiteX53" fmla="*/ 2020709 w 5926499"/>
              <a:gd name="connsiteY53" fmla="*/ 2770414 h 6172200"/>
              <a:gd name="connsiteX54" fmla="*/ 2020709 w 5926499"/>
              <a:gd name="connsiteY54" fmla="*/ 2705099 h 6172200"/>
              <a:gd name="connsiteX55" fmla="*/ 1240972 w 5926499"/>
              <a:gd name="connsiteY55" fmla="*/ 2705099 h 6172200"/>
              <a:gd name="connsiteX56" fmla="*/ 1240972 w 5926499"/>
              <a:gd name="connsiteY56" fmla="*/ 2453364 h 6172200"/>
              <a:gd name="connsiteX57" fmla="*/ 2113162 w 5926499"/>
              <a:gd name="connsiteY57" fmla="*/ 2453364 h 6172200"/>
              <a:gd name="connsiteX58" fmla="*/ 2113162 w 5926499"/>
              <a:gd name="connsiteY58" fmla="*/ 2261777 h 6172200"/>
              <a:gd name="connsiteX59" fmla="*/ 1240972 w 5926499"/>
              <a:gd name="connsiteY59" fmla="*/ 2261777 h 6172200"/>
              <a:gd name="connsiteX60" fmla="*/ 1240972 w 5926499"/>
              <a:gd name="connsiteY60" fmla="*/ 2065018 h 6172200"/>
              <a:gd name="connsiteX61" fmla="*/ 544605 w 5926499"/>
              <a:gd name="connsiteY61" fmla="*/ 2065018 h 6172200"/>
              <a:gd name="connsiteX62" fmla="*/ 544605 w 5926499"/>
              <a:gd name="connsiteY62" fmla="*/ 1999703 h 6172200"/>
              <a:gd name="connsiteX63" fmla="*/ 1240972 w 5926499"/>
              <a:gd name="connsiteY63" fmla="*/ 1999703 h 6172200"/>
              <a:gd name="connsiteX64" fmla="*/ 1240972 w 5926499"/>
              <a:gd name="connsiteY64" fmla="*/ 1794507 h 6172200"/>
              <a:gd name="connsiteX65" fmla="*/ 2587402 w 5926499"/>
              <a:gd name="connsiteY65" fmla="*/ 1794507 h 6172200"/>
              <a:gd name="connsiteX66" fmla="*/ 2587402 w 5926499"/>
              <a:gd name="connsiteY66" fmla="*/ 1717220 h 6172200"/>
              <a:gd name="connsiteX67" fmla="*/ 1240972 w 5926499"/>
              <a:gd name="connsiteY67" fmla="*/ 1717220 h 6172200"/>
              <a:gd name="connsiteX68" fmla="*/ 1240972 w 5926499"/>
              <a:gd name="connsiteY68" fmla="*/ 1582782 h 6172200"/>
              <a:gd name="connsiteX69" fmla="*/ 191589 w 5926499"/>
              <a:gd name="connsiteY69" fmla="*/ 1582782 h 6172200"/>
              <a:gd name="connsiteX70" fmla="*/ 191589 w 5926499"/>
              <a:gd name="connsiteY70" fmla="*/ 1391193 h 6172200"/>
              <a:gd name="connsiteX71" fmla="*/ 1240972 w 5926499"/>
              <a:gd name="connsiteY71" fmla="*/ 1391193 h 6172200"/>
              <a:gd name="connsiteX72" fmla="*/ 1240972 w 5926499"/>
              <a:gd name="connsiteY72" fmla="*/ 1256756 h 6172200"/>
              <a:gd name="connsiteX73" fmla="*/ 2981203 w 5926499"/>
              <a:gd name="connsiteY73" fmla="*/ 1256756 h 6172200"/>
              <a:gd name="connsiteX74" fmla="*/ 2981203 w 5926499"/>
              <a:gd name="connsiteY74" fmla="*/ 1179469 h 6172200"/>
              <a:gd name="connsiteX75" fmla="*/ 1240972 w 5926499"/>
              <a:gd name="connsiteY75" fmla="*/ 1179469 h 6172200"/>
              <a:gd name="connsiteX76" fmla="*/ 1240972 w 5926499"/>
              <a:gd name="connsiteY76" fmla="*/ 1024346 h 6172200"/>
              <a:gd name="connsiteX77" fmla="*/ 2051188 w 5926499"/>
              <a:gd name="connsiteY77" fmla="*/ 1024346 h 6172200"/>
              <a:gd name="connsiteX78" fmla="*/ 2051188 w 5926499"/>
              <a:gd name="connsiteY78" fmla="*/ 828402 h 6172200"/>
              <a:gd name="connsiteX79" fmla="*/ 1240972 w 5926499"/>
              <a:gd name="connsiteY79" fmla="*/ 828402 h 6172200"/>
              <a:gd name="connsiteX80" fmla="*/ 1240972 w 5926499"/>
              <a:gd name="connsiteY80" fmla="*/ 695597 h 6172200"/>
              <a:gd name="connsiteX81" fmla="*/ 579440 w 5926499"/>
              <a:gd name="connsiteY81" fmla="*/ 695597 h 6172200"/>
              <a:gd name="connsiteX82" fmla="*/ 579440 w 5926499"/>
              <a:gd name="connsiteY82" fmla="*/ 504009 h 6172200"/>
              <a:gd name="connsiteX83" fmla="*/ 1240972 w 5926499"/>
              <a:gd name="connsiteY83" fmla="*/ 504009 h 6172200"/>
              <a:gd name="connsiteX84" fmla="*/ 1240972 w 5926499"/>
              <a:gd name="connsiteY84" fmla="*/ 447943 h 6172200"/>
              <a:gd name="connsiteX85" fmla="*/ 977276 w 5926499"/>
              <a:gd name="connsiteY85" fmla="*/ 447943 h 6172200"/>
              <a:gd name="connsiteX86" fmla="*/ 977276 w 5926499"/>
              <a:gd name="connsiteY86" fmla="*/ 370656 h 6172200"/>
              <a:gd name="connsiteX87" fmla="*/ 1240972 w 5926499"/>
              <a:gd name="connsiteY87" fmla="*/ 370656 h 617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5926499" h="6172200">
                <a:moveTo>
                  <a:pt x="1240972" y="0"/>
                </a:moveTo>
                <a:lnTo>
                  <a:pt x="5926499" y="0"/>
                </a:lnTo>
                <a:lnTo>
                  <a:pt x="5926499" y="6172200"/>
                </a:lnTo>
                <a:lnTo>
                  <a:pt x="1240972" y="6172200"/>
                </a:lnTo>
                <a:lnTo>
                  <a:pt x="1240972" y="6015988"/>
                </a:lnTo>
                <a:lnTo>
                  <a:pt x="92399" y="6015988"/>
                </a:lnTo>
                <a:lnTo>
                  <a:pt x="92399" y="5938701"/>
                </a:lnTo>
                <a:lnTo>
                  <a:pt x="1240972" y="5938701"/>
                </a:lnTo>
                <a:lnTo>
                  <a:pt x="1240972" y="5859778"/>
                </a:lnTo>
                <a:lnTo>
                  <a:pt x="497028" y="5859778"/>
                </a:lnTo>
                <a:lnTo>
                  <a:pt x="497028" y="5668190"/>
                </a:lnTo>
                <a:lnTo>
                  <a:pt x="1240972" y="5668190"/>
                </a:lnTo>
                <a:lnTo>
                  <a:pt x="1240972" y="5589267"/>
                </a:lnTo>
                <a:lnTo>
                  <a:pt x="2775704" y="5589267"/>
                </a:lnTo>
                <a:lnTo>
                  <a:pt x="2775704" y="5511980"/>
                </a:lnTo>
                <a:lnTo>
                  <a:pt x="1240972" y="5511980"/>
                </a:lnTo>
                <a:lnTo>
                  <a:pt x="1240972" y="5222694"/>
                </a:lnTo>
                <a:lnTo>
                  <a:pt x="2993421" y="5222694"/>
                </a:lnTo>
                <a:lnTo>
                  <a:pt x="2993421" y="5031107"/>
                </a:lnTo>
                <a:lnTo>
                  <a:pt x="1240972" y="5031107"/>
                </a:lnTo>
                <a:lnTo>
                  <a:pt x="1240972" y="4922382"/>
                </a:lnTo>
                <a:lnTo>
                  <a:pt x="225578" y="4922382"/>
                </a:lnTo>
                <a:lnTo>
                  <a:pt x="225578" y="4845095"/>
                </a:lnTo>
                <a:lnTo>
                  <a:pt x="1240972" y="4845095"/>
                </a:lnTo>
                <a:lnTo>
                  <a:pt x="1240972" y="4721133"/>
                </a:lnTo>
                <a:lnTo>
                  <a:pt x="2181818" y="4721133"/>
                </a:lnTo>
                <a:lnTo>
                  <a:pt x="2181818" y="4655818"/>
                </a:lnTo>
                <a:lnTo>
                  <a:pt x="1240972" y="4655818"/>
                </a:lnTo>
                <a:lnTo>
                  <a:pt x="1240972" y="4516481"/>
                </a:lnTo>
                <a:lnTo>
                  <a:pt x="497028" y="4516481"/>
                </a:lnTo>
                <a:lnTo>
                  <a:pt x="497028" y="4439194"/>
                </a:lnTo>
                <a:lnTo>
                  <a:pt x="1240972" y="4439194"/>
                </a:lnTo>
                <a:lnTo>
                  <a:pt x="1240972" y="4321628"/>
                </a:lnTo>
                <a:lnTo>
                  <a:pt x="2347278" y="4321628"/>
                </a:lnTo>
                <a:lnTo>
                  <a:pt x="2347278" y="4130040"/>
                </a:lnTo>
                <a:lnTo>
                  <a:pt x="1240972" y="4130040"/>
                </a:lnTo>
                <a:lnTo>
                  <a:pt x="1240972" y="3828776"/>
                </a:lnTo>
                <a:lnTo>
                  <a:pt x="2347278" y="3828776"/>
                </a:lnTo>
                <a:lnTo>
                  <a:pt x="2347278" y="3751489"/>
                </a:lnTo>
                <a:lnTo>
                  <a:pt x="1240972" y="3751489"/>
                </a:lnTo>
                <a:lnTo>
                  <a:pt x="1240972" y="3567249"/>
                </a:lnTo>
                <a:lnTo>
                  <a:pt x="544605" y="3567249"/>
                </a:lnTo>
                <a:lnTo>
                  <a:pt x="544605" y="3279866"/>
                </a:lnTo>
                <a:lnTo>
                  <a:pt x="1240972" y="3279866"/>
                </a:lnTo>
                <a:lnTo>
                  <a:pt x="1240972" y="3141069"/>
                </a:lnTo>
                <a:lnTo>
                  <a:pt x="0" y="3141069"/>
                </a:lnTo>
                <a:lnTo>
                  <a:pt x="0" y="3063782"/>
                </a:lnTo>
                <a:lnTo>
                  <a:pt x="1240972" y="3063782"/>
                </a:lnTo>
                <a:lnTo>
                  <a:pt x="1240972" y="2942953"/>
                </a:lnTo>
                <a:lnTo>
                  <a:pt x="343464" y="2942953"/>
                </a:lnTo>
                <a:lnTo>
                  <a:pt x="343464" y="2865666"/>
                </a:lnTo>
                <a:lnTo>
                  <a:pt x="1240972" y="2865666"/>
                </a:lnTo>
                <a:lnTo>
                  <a:pt x="1240972" y="2770414"/>
                </a:lnTo>
                <a:lnTo>
                  <a:pt x="2020709" y="2770414"/>
                </a:lnTo>
                <a:lnTo>
                  <a:pt x="2020709" y="2705099"/>
                </a:lnTo>
                <a:lnTo>
                  <a:pt x="1240972" y="2705099"/>
                </a:lnTo>
                <a:lnTo>
                  <a:pt x="1240972" y="2453364"/>
                </a:lnTo>
                <a:lnTo>
                  <a:pt x="2113162" y="2453364"/>
                </a:lnTo>
                <a:lnTo>
                  <a:pt x="2113162" y="2261777"/>
                </a:lnTo>
                <a:lnTo>
                  <a:pt x="1240972" y="2261777"/>
                </a:lnTo>
                <a:lnTo>
                  <a:pt x="1240972" y="2065018"/>
                </a:lnTo>
                <a:lnTo>
                  <a:pt x="544605" y="2065018"/>
                </a:lnTo>
                <a:lnTo>
                  <a:pt x="544605" y="1999703"/>
                </a:lnTo>
                <a:lnTo>
                  <a:pt x="1240972" y="1999703"/>
                </a:lnTo>
                <a:lnTo>
                  <a:pt x="1240972" y="1794507"/>
                </a:lnTo>
                <a:lnTo>
                  <a:pt x="2587402" y="1794507"/>
                </a:lnTo>
                <a:lnTo>
                  <a:pt x="2587402" y="1717220"/>
                </a:lnTo>
                <a:lnTo>
                  <a:pt x="1240972" y="1717220"/>
                </a:lnTo>
                <a:lnTo>
                  <a:pt x="1240972" y="1582782"/>
                </a:lnTo>
                <a:lnTo>
                  <a:pt x="191589" y="1582782"/>
                </a:lnTo>
                <a:lnTo>
                  <a:pt x="191589" y="1391193"/>
                </a:lnTo>
                <a:lnTo>
                  <a:pt x="1240972" y="1391193"/>
                </a:lnTo>
                <a:lnTo>
                  <a:pt x="1240972" y="1256756"/>
                </a:lnTo>
                <a:lnTo>
                  <a:pt x="2981203" y="1256756"/>
                </a:lnTo>
                <a:lnTo>
                  <a:pt x="2981203" y="1179469"/>
                </a:lnTo>
                <a:lnTo>
                  <a:pt x="1240972" y="1179469"/>
                </a:lnTo>
                <a:lnTo>
                  <a:pt x="1240972" y="1024346"/>
                </a:lnTo>
                <a:lnTo>
                  <a:pt x="2051188" y="1024346"/>
                </a:lnTo>
                <a:lnTo>
                  <a:pt x="2051188" y="828402"/>
                </a:lnTo>
                <a:lnTo>
                  <a:pt x="1240972" y="828402"/>
                </a:lnTo>
                <a:lnTo>
                  <a:pt x="1240972" y="695597"/>
                </a:lnTo>
                <a:lnTo>
                  <a:pt x="579440" y="695597"/>
                </a:lnTo>
                <a:lnTo>
                  <a:pt x="579440" y="504009"/>
                </a:lnTo>
                <a:lnTo>
                  <a:pt x="1240972" y="504009"/>
                </a:lnTo>
                <a:lnTo>
                  <a:pt x="1240972" y="447943"/>
                </a:lnTo>
                <a:lnTo>
                  <a:pt x="977276" y="447943"/>
                </a:lnTo>
                <a:lnTo>
                  <a:pt x="977276" y="370656"/>
                </a:lnTo>
                <a:lnTo>
                  <a:pt x="1240972" y="370656"/>
                </a:lnTo>
                <a:close/>
              </a:path>
            </a:pathLst>
          </a:custGeom>
          <a:solidFill>
            <a:schemeClr val="bg1">
              <a:lumMod val="95000"/>
            </a:schemeClr>
          </a:solidFill>
          <a:ln w="152400">
            <a:noFill/>
          </a:ln>
          <a:effectLst/>
        </p:spPr>
        <p:txBody>
          <a:bodyPr wrap="square" anchor="ctr">
            <a:noAutofit/>
          </a:bodyPr>
          <a:lstStyle>
            <a:lvl1pPr marL="0" indent="0" algn="ctr">
              <a:buFontTx/>
              <a:buNone/>
              <a:defRPr sz="1200">
                <a:solidFill>
                  <a:schemeClr val="tx1">
                    <a:lumMod val="75000"/>
                    <a:lumOff val="25000"/>
                  </a:schemeClr>
                </a:solidFill>
              </a:defRPr>
            </a:lvl1pPr>
          </a:lstStyle>
          <a:p>
            <a:r>
              <a:rPr lang="en-US" altLang="ko-KR" dirty="0"/>
              <a:t>Place Your Picture Here</a:t>
            </a:r>
            <a:endParaRPr lang="ko-KR" altLang="en-US" dirty="0"/>
          </a:p>
        </p:txBody>
      </p:sp>
    </p:spTree>
    <p:extLst>
      <p:ext uri="{BB962C8B-B14F-4D97-AF65-F5344CB8AC3E}">
        <p14:creationId xmlns:p14="http://schemas.microsoft.com/office/powerpoint/2010/main" val="37963849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Bullete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190492" indent="-190492">
              <a:buFont typeface="Arial" pitchFamily="34" charset="0"/>
              <a:buChar char="•"/>
              <a:defRPr/>
            </a:lvl1pPr>
            <a:lvl2pPr marL="380985" indent="-190492">
              <a:spcBef>
                <a:spcPts val="500"/>
              </a:spcBef>
              <a:buFont typeface="Arial" pitchFamily="34" charset="0"/>
              <a:buChar char="–"/>
              <a:defRPr/>
            </a:lvl2pPr>
            <a:lvl3pPr marL="571477" indent="-190492">
              <a:spcBef>
                <a:spcPts val="500"/>
              </a:spcBef>
              <a:buFont typeface="Arial" pitchFamily="34" charset="0"/>
              <a:buChar char="–"/>
              <a:defRPr/>
            </a:lvl3pPr>
            <a:lvl4pPr marL="761970" indent="-190492">
              <a:spcBef>
                <a:spcPts val="500"/>
              </a:spcBef>
              <a:buFont typeface="Arial" pitchFamily="34" charset="0"/>
              <a:buChar char="–"/>
              <a:defRPr/>
            </a:lvl4pPr>
            <a:lvl5pPr marL="952462" indent="-190492">
              <a:spcBef>
                <a:spcPts val="500"/>
              </a:spcBef>
              <a:buFont typeface="Arial" pitchFamily="34" charset="0"/>
              <a:buChar char="–"/>
              <a:defRPr/>
            </a:lvl5pPr>
            <a:lvl6pPr marL="1142954" indent="-190492">
              <a:spcBef>
                <a:spcPts val="500"/>
              </a:spcBef>
              <a:buFont typeface="Arial" pitchFamily="34" charset="0"/>
              <a:buChar char="–"/>
              <a:defRPr baseline="0"/>
            </a:lvl6pPr>
            <a:lvl7pPr marL="1333447" indent="-190492">
              <a:spcBef>
                <a:spcPts val="500"/>
              </a:spcBef>
              <a:buFont typeface="Arial" pitchFamily="34" charset="0"/>
              <a:buChar char="–"/>
              <a:defRPr baseline="0"/>
            </a:lvl7pPr>
            <a:lvl8pPr marL="1523939" indent="-190492">
              <a:spcBef>
                <a:spcPts val="500"/>
              </a:spcBef>
              <a:buFont typeface="Arial" pitchFamily="34" charset="0"/>
              <a:buChar char="–"/>
              <a:defRPr baseline="0"/>
            </a:lvl8pPr>
            <a:lvl9pPr marL="1714431" indent="-190492">
              <a:spcBef>
                <a:spcPts val="500"/>
              </a:spcBef>
              <a:buFont typeface="Arial" pitchFamily="34" charset="0"/>
              <a:buChar char="–"/>
              <a:defRPr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8639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3"/>
          <p:cNvSpPr>
            <a:spLocks noGrp="1" noChangeArrowheads="1"/>
          </p:cNvSpPr>
          <p:nvPr>
            <p:ph type="sldNum" idx="10"/>
          </p:nvPr>
        </p:nvSpPr>
        <p:spPr>
          <a:ln/>
        </p:spPr>
        <p:txBody>
          <a:bodyPr/>
          <a:lstStyle>
            <a:lvl1pPr>
              <a:defRPr/>
            </a:lvl1pPr>
          </a:lstStyle>
          <a:p>
            <a:fld id="{33CAEA78-5563-464D-9A33-C9ACDE758029}" type="slidenum">
              <a:rPr lang="en-GB" altLang="en-US"/>
              <a:pPr/>
              <a:t>‹#›</a:t>
            </a:fld>
            <a:endParaRPr lang="en-GB" altLang="en-US"/>
          </a:p>
        </p:txBody>
      </p:sp>
    </p:spTree>
    <p:extLst>
      <p:ext uri="{BB962C8B-B14F-4D97-AF65-F5344CB8AC3E}">
        <p14:creationId xmlns:p14="http://schemas.microsoft.com/office/powerpoint/2010/main" val="331424830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cSld name="2_Two Content">
    <p:spTree>
      <p:nvGrpSpPr>
        <p:cNvPr id="1" name=""/>
        <p:cNvGrpSpPr/>
        <p:nvPr/>
      </p:nvGrpSpPr>
      <p:grpSpPr>
        <a:xfrm>
          <a:off x="0" y="0"/>
          <a:ext cx="0" cy="0"/>
          <a:chOff x="0" y="0"/>
          <a:chExt cx="0" cy="0"/>
        </a:xfrm>
      </p:grpSpPr>
      <p:graphicFrame>
        <p:nvGraphicFramePr>
          <p:cNvPr id="4" name="Object 2" hidden="1"/>
          <p:cNvGraphicFramePr>
            <a:graphicFrameLocks noChangeAspect="1"/>
          </p:cNvGraphicFramePr>
          <p:nvPr userDrawn="1">
            <p:custDataLst>
              <p:tags r:id="rId1"/>
            </p:custDataLst>
            <p:extLst>
              <p:ext uri="{D42A27DB-BD31-4B8C-83A1-F6EECF244321}">
                <p14:modId xmlns:p14="http://schemas.microsoft.com/office/powerpoint/2010/main" val="302144257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4800" y="842963"/>
            <a:ext cx="11277600"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sp>
        <p:nvSpPr>
          <p:cNvPr id="6" name="Text Box 8"/>
          <p:cNvSpPr txBox="1">
            <a:spLocks noChangeArrowheads="1"/>
          </p:cNvSpPr>
          <p:nvPr/>
        </p:nvSpPr>
        <p:spPr bwMode="auto">
          <a:xfrm>
            <a:off x="209551" y="265113"/>
            <a:ext cx="8968316" cy="457200"/>
          </a:xfrm>
          <a:prstGeom prst="rect">
            <a:avLst/>
          </a:prstGeom>
          <a:solidFill>
            <a:srgbClr val="FFFFFF"/>
          </a:solidFill>
          <a:ln>
            <a:noFill/>
          </a:ln>
        </p:spPr>
        <p:txBody>
          <a:bodyPr lIns="90000" tIns="46800" rIns="90000" bIns="46800" anchor="ctr"/>
          <a:lstStyle>
            <a:lvl1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itchFamily="34" charset="0"/>
                <a:cs typeface="Lucida Sans Unicode" pitchFamily="34" charset="0"/>
              </a:defRPr>
            </a:lvl1pPr>
            <a:lvl2pPr marL="742950" indent="-28575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itchFamily="34" charset="0"/>
                <a:cs typeface="Lucida Sans Unicode" pitchFamily="34" charset="0"/>
              </a:defRPr>
            </a:lvl2pPr>
            <a:lvl3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itchFamily="34" charset="0"/>
                <a:cs typeface="Lucida Sans Unicode" pitchFamily="34" charset="0"/>
              </a:defRPr>
            </a:lvl3pPr>
            <a:lvl4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itchFamily="34" charset="0"/>
                <a:cs typeface="Lucida Sans Unicode" pitchFamily="34" charset="0"/>
              </a:defRPr>
            </a:lvl4pPr>
            <a:lvl5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itchFamily="34" charset="0"/>
                <a:cs typeface="Lucida Sans Unicode" pitchFamily="34" charset="0"/>
              </a:defRPr>
            </a:lvl5pPr>
            <a:lvl6pPr marL="25146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itchFamily="34" charset="0"/>
                <a:cs typeface="Lucida Sans Unicode" pitchFamily="34" charset="0"/>
              </a:defRPr>
            </a:lvl6pPr>
            <a:lvl7pPr marL="29718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itchFamily="34" charset="0"/>
                <a:cs typeface="Lucida Sans Unicode" pitchFamily="34" charset="0"/>
              </a:defRPr>
            </a:lvl7pPr>
            <a:lvl8pPr marL="34290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itchFamily="34" charset="0"/>
                <a:cs typeface="Lucida Sans Unicode" pitchFamily="34" charset="0"/>
              </a:defRPr>
            </a:lvl8pPr>
            <a:lvl9pPr marL="38862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Arial" pitchFamily="34" charset="0"/>
                <a:cs typeface="Lucida Sans Unicode" pitchFamily="34" charset="0"/>
              </a:defRPr>
            </a:lvl9pPr>
          </a:lstStyle>
          <a:p>
            <a:pPr eaLnBrk="1" hangingPunct="1">
              <a:buClr>
                <a:srgbClr val="000000"/>
              </a:buClr>
              <a:buSzPct val="100000"/>
              <a:buFont typeface="Times New Roman" pitchFamily="18" charset="0"/>
              <a:buNone/>
            </a:pPr>
            <a:endParaRPr lang="en-US" altLang="en-US" sz="2400" b="1">
              <a:solidFill>
                <a:srgbClr val="280099"/>
              </a:solidFill>
            </a:endParaRPr>
          </a:p>
        </p:txBody>
      </p:sp>
      <p:pic>
        <p:nvPicPr>
          <p:cNvPr id="7" name="Picture 5"/>
          <p:cNvPicPr>
            <a:picLocks noChangeAspect="1" noChangeArrowheads="1"/>
          </p:cNvPicPr>
          <p:nvPr userDrawn="1"/>
        </p:nvPicPr>
        <p:blipFill>
          <a:blip r:embed="rId7" cstate="print"/>
          <a:srcRect/>
          <a:stretch>
            <a:fillRect/>
          </a:stretch>
        </p:blipFill>
        <p:spPr bwMode="auto">
          <a:xfrm>
            <a:off x="1280160" y="6273805"/>
            <a:ext cx="10607040" cy="187629"/>
          </a:xfrm>
          <a:prstGeom prst="rect">
            <a:avLst/>
          </a:prstGeom>
          <a:noFill/>
          <a:ln w="9525">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round/>
            <a:headEnd/>
            <a:tailEnd/>
          </a:ln>
          <a:effectLst/>
        </p:spPr>
      </p:pic>
      <p:sp>
        <p:nvSpPr>
          <p:cNvPr id="8" name="Footer Placeholder 4"/>
          <p:cNvSpPr txBox="1">
            <a:spLocks/>
          </p:cNvSpPr>
          <p:nvPr userDrawn="1"/>
        </p:nvSpPr>
        <p:spPr bwMode="auto">
          <a:xfrm>
            <a:off x="1833034" y="6553200"/>
            <a:ext cx="8936567" cy="304800"/>
          </a:xfrm>
          <a:prstGeom prst="rect">
            <a:avLst/>
          </a:prstGeom>
          <a:noFill/>
          <a:ln>
            <a:noFill/>
          </a:ln>
        </p:spPr>
        <p:txBody>
          <a:bodyPr/>
          <a:lstStyle>
            <a:lvl1pPr eaLnBrk="0" hangingPunct="0">
              <a:defRPr>
                <a:solidFill>
                  <a:schemeClr val="bg1"/>
                </a:solidFill>
                <a:latin typeface="Arial" charset="0"/>
                <a:ea typeface="Lucida Sans Unicode" pitchFamily="34" charset="0"/>
                <a:cs typeface="Lucida Sans Unicode" pitchFamily="34" charset="0"/>
              </a:defRPr>
            </a:lvl1pPr>
            <a:lvl2pPr marL="742950" indent="-285750" eaLnBrk="0" hangingPunct="0">
              <a:defRPr>
                <a:solidFill>
                  <a:schemeClr val="bg1"/>
                </a:solidFill>
                <a:latin typeface="Arial" charset="0"/>
                <a:ea typeface="Lucida Sans Unicode" pitchFamily="34" charset="0"/>
                <a:cs typeface="Lucida Sans Unicode" pitchFamily="34" charset="0"/>
              </a:defRPr>
            </a:lvl2pPr>
            <a:lvl3pPr eaLnBrk="0" hangingPunct="0">
              <a:defRPr>
                <a:solidFill>
                  <a:schemeClr val="bg1"/>
                </a:solidFill>
                <a:latin typeface="Arial" charset="0"/>
                <a:ea typeface="Lucida Sans Unicode" pitchFamily="34" charset="0"/>
                <a:cs typeface="Lucida Sans Unicode" pitchFamily="34" charset="0"/>
              </a:defRPr>
            </a:lvl3pPr>
            <a:lvl4pPr eaLnBrk="0" hangingPunct="0">
              <a:defRPr>
                <a:solidFill>
                  <a:schemeClr val="bg1"/>
                </a:solidFill>
                <a:latin typeface="Arial" charset="0"/>
                <a:ea typeface="Lucida Sans Unicode" pitchFamily="34" charset="0"/>
                <a:cs typeface="Lucida Sans Unicode" pitchFamily="34" charset="0"/>
              </a:defRPr>
            </a:lvl4pPr>
            <a:lvl5pPr eaLnBrk="0" hangingPunct="0">
              <a:defRPr>
                <a:solidFill>
                  <a:schemeClr val="bg1"/>
                </a:solidFill>
                <a:latin typeface="Arial" charset="0"/>
                <a:ea typeface="Lucida Sans Unicode" pitchFamily="34" charset="0"/>
                <a:cs typeface="Lucida Sans Unicode" pitchFamily="34" charset="0"/>
              </a:defRPr>
            </a:lvl5pPr>
            <a:lvl6pPr marL="2514600" indent="-228600" defTabSz="457200" eaLnBrk="0" fontAlgn="base" hangingPunct="0">
              <a:spcBef>
                <a:spcPct val="0"/>
              </a:spcBef>
              <a:spcAft>
                <a:spcPct val="0"/>
              </a:spcAft>
              <a:defRPr>
                <a:solidFill>
                  <a:schemeClr val="bg1"/>
                </a:solidFill>
                <a:latin typeface="Arial" charset="0"/>
                <a:ea typeface="Lucida Sans Unicode" pitchFamily="34" charset="0"/>
                <a:cs typeface="Lucida Sans Unicode" pitchFamily="34" charset="0"/>
              </a:defRPr>
            </a:lvl6pPr>
            <a:lvl7pPr marL="2971800" indent="-228600" defTabSz="457200" eaLnBrk="0" fontAlgn="base" hangingPunct="0">
              <a:spcBef>
                <a:spcPct val="0"/>
              </a:spcBef>
              <a:spcAft>
                <a:spcPct val="0"/>
              </a:spcAft>
              <a:defRPr>
                <a:solidFill>
                  <a:schemeClr val="bg1"/>
                </a:solidFill>
                <a:latin typeface="Arial" charset="0"/>
                <a:ea typeface="Lucida Sans Unicode" pitchFamily="34" charset="0"/>
                <a:cs typeface="Lucida Sans Unicode" pitchFamily="34" charset="0"/>
              </a:defRPr>
            </a:lvl7pPr>
            <a:lvl8pPr marL="3429000" indent="-228600" defTabSz="457200" eaLnBrk="0" fontAlgn="base" hangingPunct="0">
              <a:spcBef>
                <a:spcPct val="0"/>
              </a:spcBef>
              <a:spcAft>
                <a:spcPct val="0"/>
              </a:spcAft>
              <a:defRPr>
                <a:solidFill>
                  <a:schemeClr val="bg1"/>
                </a:solidFill>
                <a:latin typeface="Arial" charset="0"/>
                <a:ea typeface="Lucida Sans Unicode" pitchFamily="34" charset="0"/>
                <a:cs typeface="Lucida Sans Unicode" pitchFamily="34" charset="0"/>
              </a:defRPr>
            </a:lvl8pPr>
            <a:lvl9pPr marL="3886200" indent="-228600" defTabSz="457200" eaLnBrk="0" fontAlgn="base" hangingPunct="0">
              <a:spcBef>
                <a:spcPct val="0"/>
              </a:spcBef>
              <a:spcAft>
                <a:spcPct val="0"/>
              </a:spcAft>
              <a:defRPr>
                <a:solidFill>
                  <a:schemeClr val="bg1"/>
                </a:solidFill>
                <a:latin typeface="Arial" charset="0"/>
                <a:ea typeface="Lucida Sans Unicode" pitchFamily="34" charset="0"/>
                <a:cs typeface="Lucida Sans Unicode" pitchFamily="34" charset="0"/>
              </a:defRPr>
            </a:lvl9pPr>
          </a:lstStyle>
          <a:p>
            <a:pPr algn="ctr" eaLnBrk="1" hangingPunct="1">
              <a:lnSpc>
                <a:spcPct val="92000"/>
              </a:lnSpc>
              <a:buClr>
                <a:srgbClr val="000000"/>
              </a:buClr>
              <a:buSzPct val="100000"/>
              <a:buFont typeface="Times New Roman" pitchFamily="18" charset="0"/>
              <a:buNone/>
              <a:defRPr/>
            </a:pPr>
            <a:r>
              <a:rPr lang="en-US" sz="900" dirty="0">
                <a:solidFill>
                  <a:schemeClr val="tx1"/>
                </a:solidFill>
              </a:rPr>
              <a:t>© UTS Global, Confidential and proprietary. All rights reserved worldwide.</a:t>
            </a:r>
          </a:p>
        </p:txBody>
      </p:sp>
      <p:sp>
        <p:nvSpPr>
          <p:cNvPr id="9" name="Slide Number Placeholder 5"/>
          <p:cNvSpPr txBox="1">
            <a:spLocks/>
          </p:cNvSpPr>
          <p:nvPr userDrawn="1"/>
        </p:nvSpPr>
        <p:spPr>
          <a:xfrm>
            <a:off x="10566400" y="6248401"/>
            <a:ext cx="1016000" cy="468313"/>
          </a:xfrm>
          <a:prstGeom prst="rect">
            <a:avLst/>
          </a:prstGeom>
          <a:noFill/>
          <a:ln/>
        </p:spPr>
        <p:txBody>
          <a:bodyPr lIns="82945" tIns="41473" rIns="82945" bIns="41473"/>
          <a:lstStyle>
            <a:lvl1pPr>
              <a:defRPr>
                <a:solidFill>
                  <a:schemeClr val="bg1"/>
                </a:solidFill>
                <a:latin typeface="Arial" pitchFamily="34" charset="0"/>
                <a:cs typeface="Lucida Sans Unicode" pitchFamily="34" charset="0"/>
              </a:defRPr>
            </a:lvl1pPr>
            <a:lvl2pPr marL="742950" indent="-285750">
              <a:defRPr>
                <a:solidFill>
                  <a:schemeClr val="bg1"/>
                </a:solidFill>
                <a:latin typeface="Arial" pitchFamily="34" charset="0"/>
                <a:cs typeface="Lucida Sans Unicode" pitchFamily="34" charset="0"/>
              </a:defRPr>
            </a:lvl2pPr>
            <a:lvl3pPr>
              <a:defRPr>
                <a:solidFill>
                  <a:schemeClr val="bg1"/>
                </a:solidFill>
                <a:latin typeface="Arial" pitchFamily="34" charset="0"/>
                <a:cs typeface="Lucida Sans Unicode" pitchFamily="34" charset="0"/>
              </a:defRPr>
            </a:lvl3pPr>
            <a:lvl4pPr>
              <a:defRPr>
                <a:solidFill>
                  <a:schemeClr val="bg1"/>
                </a:solidFill>
                <a:latin typeface="Arial" pitchFamily="34" charset="0"/>
                <a:cs typeface="Lucida Sans Unicode" pitchFamily="34" charset="0"/>
              </a:defRPr>
            </a:lvl4pPr>
            <a:lvl5pPr>
              <a:defRPr>
                <a:solidFill>
                  <a:schemeClr val="bg1"/>
                </a:solidFill>
                <a:latin typeface="Arial" pitchFamily="34" charset="0"/>
                <a:cs typeface="Lucida Sans Unicode" pitchFamily="34" charset="0"/>
              </a:defRPr>
            </a:lvl5pPr>
            <a:lvl6pPr marL="2514600" indent="-228600" defTabSz="457200" eaLnBrk="0" fontAlgn="base" hangingPunct="0">
              <a:spcBef>
                <a:spcPct val="0"/>
              </a:spcBef>
              <a:spcAft>
                <a:spcPct val="0"/>
              </a:spcAft>
              <a:defRPr>
                <a:solidFill>
                  <a:schemeClr val="bg1"/>
                </a:solidFill>
                <a:latin typeface="Arial" pitchFamily="34" charset="0"/>
                <a:cs typeface="Lucida Sans Unicode" pitchFamily="34" charset="0"/>
              </a:defRPr>
            </a:lvl6pPr>
            <a:lvl7pPr marL="2971800" indent="-228600" defTabSz="457200" eaLnBrk="0" fontAlgn="base" hangingPunct="0">
              <a:spcBef>
                <a:spcPct val="0"/>
              </a:spcBef>
              <a:spcAft>
                <a:spcPct val="0"/>
              </a:spcAft>
              <a:defRPr>
                <a:solidFill>
                  <a:schemeClr val="bg1"/>
                </a:solidFill>
                <a:latin typeface="Arial" pitchFamily="34" charset="0"/>
                <a:cs typeface="Lucida Sans Unicode" pitchFamily="34" charset="0"/>
              </a:defRPr>
            </a:lvl7pPr>
            <a:lvl8pPr marL="3429000" indent="-228600" defTabSz="457200" eaLnBrk="0" fontAlgn="base" hangingPunct="0">
              <a:spcBef>
                <a:spcPct val="0"/>
              </a:spcBef>
              <a:spcAft>
                <a:spcPct val="0"/>
              </a:spcAft>
              <a:defRPr>
                <a:solidFill>
                  <a:schemeClr val="bg1"/>
                </a:solidFill>
                <a:latin typeface="Arial" pitchFamily="34" charset="0"/>
                <a:cs typeface="Lucida Sans Unicode" pitchFamily="34" charset="0"/>
              </a:defRPr>
            </a:lvl8pPr>
            <a:lvl9pPr marL="3886200" indent="-228600" defTabSz="457200" eaLnBrk="0" fontAlgn="base" hangingPunct="0">
              <a:spcBef>
                <a:spcPct val="0"/>
              </a:spcBef>
              <a:spcAft>
                <a:spcPct val="0"/>
              </a:spcAft>
              <a:defRPr>
                <a:solidFill>
                  <a:schemeClr val="bg1"/>
                </a:solidFill>
                <a:latin typeface="Arial" pitchFamily="34" charset="0"/>
                <a:cs typeface="Lucida Sans Unicode" pitchFamily="34" charset="0"/>
              </a:defRPr>
            </a:lvl9pPr>
          </a:lstStyle>
          <a:p>
            <a:pPr eaLnBrk="1" hangingPunct="1">
              <a:buSzPct val="45000"/>
              <a:buFont typeface="StarSymbol"/>
              <a:buNone/>
            </a:pPr>
            <a:fld id="{0CED4549-011E-4E06-97E3-8DAFEDCABE35}" type="slidenum">
              <a:rPr lang="en-US" altLang="en-US" sz="1100">
                <a:solidFill>
                  <a:srgbClr val="FFFFFF"/>
                </a:solidFill>
                <a:latin typeface="Times New Roman" pitchFamily="18" charset="0"/>
              </a:rPr>
              <a:pPr eaLnBrk="1" hangingPunct="1">
                <a:buSzPct val="45000"/>
                <a:buFont typeface="StarSymbol"/>
                <a:buNone/>
              </a:pPr>
              <a:t>‹#›</a:t>
            </a:fld>
            <a:endParaRPr lang="en-US" altLang="en-US" sz="1100">
              <a:solidFill>
                <a:srgbClr val="FFFFFF"/>
              </a:solidFill>
              <a:latin typeface="Times New Roman" pitchFamily="18" charset="0"/>
            </a:endParaRPr>
          </a:p>
        </p:txBody>
      </p:sp>
      <p:sp>
        <p:nvSpPr>
          <p:cNvPr id="10" name="Rectangle 1"/>
          <p:cNvSpPr>
            <a:spLocks noChangeArrowheads="1"/>
          </p:cNvSpPr>
          <p:nvPr userDrawn="1"/>
        </p:nvSpPr>
        <p:spPr bwMode="auto">
          <a:xfrm>
            <a:off x="5930900" y="3244850"/>
            <a:ext cx="248786" cy="369332"/>
          </a:xfrm>
          <a:prstGeom prst="rect">
            <a:avLst/>
          </a:prstGeom>
          <a:noFill/>
          <a:ln>
            <a:noFill/>
          </a:ln>
        </p:spPr>
        <p:txBody>
          <a:bodyPr wrap="none">
            <a:spAutoFit/>
          </a:bodyPr>
          <a:lstStyle>
            <a:lvl1pPr eaLnBrk="0" hangingPunct="0">
              <a:defRPr>
                <a:solidFill>
                  <a:schemeClr val="bg1"/>
                </a:solidFill>
                <a:latin typeface="Arial" pitchFamily="34" charset="0"/>
                <a:cs typeface="Lucida Sans Unicode" pitchFamily="34" charset="0"/>
              </a:defRPr>
            </a:lvl1pPr>
            <a:lvl2pPr marL="742950" indent="-285750" eaLnBrk="0" hangingPunct="0">
              <a:defRPr>
                <a:solidFill>
                  <a:schemeClr val="bg1"/>
                </a:solidFill>
                <a:latin typeface="Arial" pitchFamily="34" charset="0"/>
                <a:cs typeface="Lucida Sans Unicode" pitchFamily="34" charset="0"/>
              </a:defRPr>
            </a:lvl2pPr>
            <a:lvl3pPr eaLnBrk="0" hangingPunct="0">
              <a:defRPr>
                <a:solidFill>
                  <a:schemeClr val="bg1"/>
                </a:solidFill>
                <a:latin typeface="Arial" pitchFamily="34" charset="0"/>
                <a:cs typeface="Lucida Sans Unicode" pitchFamily="34" charset="0"/>
              </a:defRPr>
            </a:lvl3pPr>
            <a:lvl4pPr eaLnBrk="0" hangingPunct="0">
              <a:defRPr>
                <a:solidFill>
                  <a:schemeClr val="bg1"/>
                </a:solidFill>
                <a:latin typeface="Arial" pitchFamily="34" charset="0"/>
                <a:cs typeface="Lucida Sans Unicode" pitchFamily="34" charset="0"/>
              </a:defRPr>
            </a:lvl4pPr>
            <a:lvl5pPr eaLnBrk="0" hangingPunct="0">
              <a:defRPr>
                <a:solidFill>
                  <a:schemeClr val="bg1"/>
                </a:solidFill>
                <a:latin typeface="Arial" pitchFamily="34" charset="0"/>
                <a:cs typeface="Lucida Sans Unicode" pitchFamily="34" charset="0"/>
              </a:defRPr>
            </a:lvl5pPr>
            <a:lvl6pPr marL="2514600" indent="-228600" defTabSz="457200" eaLnBrk="0" fontAlgn="base" hangingPunct="0">
              <a:spcBef>
                <a:spcPct val="0"/>
              </a:spcBef>
              <a:spcAft>
                <a:spcPct val="0"/>
              </a:spcAft>
              <a:defRPr>
                <a:solidFill>
                  <a:schemeClr val="bg1"/>
                </a:solidFill>
                <a:latin typeface="Arial" pitchFamily="34" charset="0"/>
                <a:cs typeface="Lucida Sans Unicode" pitchFamily="34" charset="0"/>
              </a:defRPr>
            </a:lvl6pPr>
            <a:lvl7pPr marL="2971800" indent="-228600" defTabSz="457200" eaLnBrk="0" fontAlgn="base" hangingPunct="0">
              <a:spcBef>
                <a:spcPct val="0"/>
              </a:spcBef>
              <a:spcAft>
                <a:spcPct val="0"/>
              </a:spcAft>
              <a:defRPr>
                <a:solidFill>
                  <a:schemeClr val="bg1"/>
                </a:solidFill>
                <a:latin typeface="Arial" pitchFamily="34" charset="0"/>
                <a:cs typeface="Lucida Sans Unicode" pitchFamily="34" charset="0"/>
              </a:defRPr>
            </a:lvl7pPr>
            <a:lvl8pPr marL="3429000" indent="-228600" defTabSz="457200" eaLnBrk="0" fontAlgn="base" hangingPunct="0">
              <a:spcBef>
                <a:spcPct val="0"/>
              </a:spcBef>
              <a:spcAft>
                <a:spcPct val="0"/>
              </a:spcAft>
              <a:defRPr>
                <a:solidFill>
                  <a:schemeClr val="bg1"/>
                </a:solidFill>
                <a:latin typeface="Arial" pitchFamily="34" charset="0"/>
                <a:cs typeface="Lucida Sans Unicode" pitchFamily="34" charset="0"/>
              </a:defRPr>
            </a:lvl8pPr>
            <a:lvl9pPr marL="3886200" indent="-228600" defTabSz="457200" eaLnBrk="0" fontAlgn="base" hangingPunct="0">
              <a:spcBef>
                <a:spcPct val="0"/>
              </a:spcBef>
              <a:spcAft>
                <a:spcPct val="0"/>
              </a:spcAft>
              <a:defRPr>
                <a:solidFill>
                  <a:schemeClr val="bg1"/>
                </a:solidFill>
                <a:latin typeface="Arial" pitchFamily="34" charset="0"/>
                <a:cs typeface="Lucida Sans Unicode" pitchFamily="34" charset="0"/>
              </a:defRPr>
            </a:lvl9pPr>
          </a:lstStyle>
          <a:p>
            <a:pPr eaLnBrk="1" hangingPunct="1">
              <a:defRPr/>
            </a:pPr>
            <a:r>
              <a:rPr lang="en-US" altLang="en-US" sz="1800"/>
              <a:t> </a:t>
            </a:r>
          </a:p>
        </p:txBody>
      </p:sp>
      <p:pic>
        <p:nvPicPr>
          <p:cNvPr id="11" name="Picture 2"/>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0" y="5902326"/>
            <a:ext cx="1794933" cy="955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2" name="Object 12"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12"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609600" y="439616"/>
            <a:ext cx="10972800" cy="457200"/>
          </a:xfrm>
          <a:prstGeom prst="rect">
            <a:avLst/>
          </a:prstGeom>
        </p:spPr>
        <p:txBody>
          <a:bodyPr/>
          <a:lstStyle>
            <a:lvl1pPr algn="l">
              <a:defRPr lang="en-US" sz="2000" kern="1200" dirty="0">
                <a:solidFill>
                  <a:srgbClr val="7030A0"/>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3" name="Content Placeholder 2"/>
          <p:cNvSpPr>
            <a:spLocks noGrp="1"/>
          </p:cNvSpPr>
          <p:nvPr>
            <p:ph sz="half" idx="1"/>
          </p:nvPr>
        </p:nvSpPr>
        <p:spPr>
          <a:xfrm>
            <a:off x="609600" y="1600204"/>
            <a:ext cx="10972800" cy="4525963"/>
          </a:xfrm>
          <a:prstGeom prst="rect">
            <a:avLst/>
          </a:prstGeom>
        </p:spPr>
        <p:txBody>
          <a:bodyPr/>
          <a:lstStyle>
            <a:lvl1pPr>
              <a:defRPr sz="2333"/>
            </a:lvl1pPr>
            <a:lvl2pPr>
              <a:defRPr sz="2000"/>
            </a:lvl2pPr>
            <a:lvl3pPr>
              <a:defRPr sz="1667"/>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Slide Number Placeholder 1"/>
          <p:cNvSpPr>
            <a:spLocks noGrp="1"/>
          </p:cNvSpPr>
          <p:nvPr>
            <p:ph type="sldNum" sz="quarter" idx="10"/>
          </p:nvPr>
        </p:nvSpPr>
        <p:spPr>
          <a:xfrm>
            <a:off x="11709400" y="6610351"/>
            <a:ext cx="482600" cy="233363"/>
          </a:xfrm>
        </p:spPr>
        <p:txBody>
          <a:bodyPr lIns="91440" tIns="45720" rIns="91440" bIns="45720" anchor="ctr">
            <a:spAutoFit/>
          </a:bodyPr>
          <a:lstStyle>
            <a:lvl1pPr algn="r">
              <a:defRPr sz="900" b="1">
                <a:solidFill>
                  <a:srgbClr val="7030A0"/>
                </a:solidFill>
                <a:latin typeface="Arial" pitchFamily="34" charset="0"/>
              </a:defRPr>
            </a:lvl1pPr>
          </a:lstStyle>
          <a:p>
            <a:fld id="{E0426AF5-9806-4D3B-BF49-F35B12A921E5}" type="slidenum">
              <a:rPr lang="en-IN" altLang="en-US"/>
              <a:pPr/>
              <a:t>‹#›</a:t>
            </a:fld>
            <a:endParaRPr lang="en-IN" altLang="en-US"/>
          </a:p>
        </p:txBody>
      </p:sp>
    </p:spTree>
    <p:extLst>
      <p:ext uri="{BB962C8B-B14F-4D97-AF65-F5344CB8AC3E}">
        <p14:creationId xmlns:p14="http://schemas.microsoft.com/office/powerpoint/2010/main" val="48082634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681" y="1680"/>
          <a:ext cx="1680" cy="168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681" y="1680"/>
                        <a:ext cx="1680" cy="1680"/>
                      </a:xfrm>
                      <a:prstGeom prst="rect">
                        <a:avLst/>
                      </a:prstGeom>
                    </p:spPr>
                  </p:pic>
                </p:oleObj>
              </mc:Fallback>
            </mc:AlternateContent>
          </a:graphicData>
        </a:graphic>
      </p:graphicFrame>
      <p:sp>
        <p:nvSpPr>
          <p:cNvPr id="4" name="Rectangle 3" hidden="1"/>
          <p:cNvSpPr/>
          <p:nvPr userDrawn="1">
            <p:custDataLst>
              <p:tags r:id="rId2"/>
            </p:custDataLst>
          </p:nvPr>
        </p:nvSpPr>
        <p:spPr>
          <a:xfrm>
            <a:off x="0" y="-111374"/>
            <a:ext cx="97768" cy="390673"/>
          </a:xfrm>
          <a:prstGeom prst="rect">
            <a:avLst/>
          </a:prstGeom>
          <a:solidFill>
            <a:srgbClr val="FFFFFF"/>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oAutofit/>
          </a:bodyPr>
          <a:lstStyle/>
          <a:p>
            <a:pPr marL="0" marR="0" lvl="0" indent="0" algn="l" defTabSz="967168" rtl="0" eaLnBrk="1" fontAlgn="auto" latinLnBrk="0" hangingPunct="0">
              <a:lnSpc>
                <a:spcPct val="90000"/>
              </a:lnSpc>
              <a:spcBef>
                <a:spcPct val="0"/>
              </a:spcBef>
              <a:spcAft>
                <a:spcPct val="0"/>
              </a:spcAft>
              <a:buClrTx/>
              <a:buSzTx/>
              <a:buFontTx/>
              <a:buNone/>
              <a:tabLst/>
            </a:pPr>
            <a:endParaRPr kumimoji="0" lang="en-US" sz="3385" b="1" i="0" u="none" strike="noStrike" cap="none" spc="0" normalizeH="0" baseline="0" dirty="0">
              <a:ln>
                <a:noFill/>
              </a:ln>
              <a:solidFill>
                <a:srgbClr val="000000"/>
              </a:solidFill>
              <a:effectLst/>
              <a:uFillTx/>
              <a:latin typeface="Segoe UI"/>
              <a:ea typeface="Segoe UI"/>
              <a:cs typeface="Segoe UI"/>
              <a:sym typeface="Segoe UI"/>
            </a:endParaRPr>
          </a:p>
        </p:txBody>
      </p:sp>
      <p:sp>
        <p:nvSpPr>
          <p:cNvPr id="2" name="Title 1"/>
          <p:cNvSpPr>
            <a:spLocks noGrp="1"/>
          </p:cNvSpPr>
          <p:nvPr>
            <p:ph type="title" hasCustomPrompt="1"/>
          </p:nvPr>
        </p:nvSpPr>
        <p:spPr/>
        <p:txBody>
          <a:bodyPr/>
          <a:lstStyle>
            <a:lvl1pPr>
              <a:defRPr lang="en-US" sz="3333" b="1" kern="1200" dirty="0">
                <a:solidFill>
                  <a:srgbClr val="FF740B"/>
                </a:solidFill>
                <a:latin typeface="Arial (Headings)"/>
                <a:ea typeface="+mj-ea"/>
                <a:cs typeface="+mj-cs"/>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1688399960"/>
      </p:ext>
    </p:extLst>
  </p:cSld>
  <p:clrMapOvr>
    <a:masterClrMapping/>
  </p:clrMapOvr>
  <mc:AlternateContent xmlns:mc="http://schemas.openxmlformats.org/markup-compatibility/2006" xmlns:p14="http://schemas.microsoft.com/office/powerpoint/2010/main">
    <mc:Choice Requires="p14">
      <p:transition spd="slow" p14:dur="2500">
        <p:checker dir="vert"/>
      </p:transition>
    </mc:Choice>
    <mc:Fallback xmlns="">
      <p:transition spd="slow">
        <p:checker dir="vert"/>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over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20" name="Rectangle 219">
            <a:extLst>
              <a:ext uri="{FF2B5EF4-FFF2-40B4-BE49-F238E27FC236}">
                <a16:creationId xmlns:a16="http://schemas.microsoft.com/office/drawing/2014/main" id="{E970CBB1-3F25-44EF-A6B8-2219DE80F1E6}"/>
              </a:ext>
            </a:extLst>
          </p:cNvPr>
          <p:cNvSpPr/>
          <p:nvPr userDrawn="1"/>
        </p:nvSpPr>
        <p:spPr>
          <a:xfrm>
            <a:off x="0" y="0"/>
            <a:ext cx="12192000" cy="6858000"/>
          </a:xfrm>
          <a:prstGeom prst="rect">
            <a:avLst/>
          </a:prstGeom>
          <a:solidFill>
            <a:schemeClr val="accent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1" name="Arc 220">
            <a:extLst>
              <a:ext uri="{FF2B5EF4-FFF2-40B4-BE49-F238E27FC236}">
                <a16:creationId xmlns:a16="http://schemas.microsoft.com/office/drawing/2014/main" id="{32E2B889-41FC-4724-93F6-48A4DEF90230}"/>
              </a:ext>
            </a:extLst>
          </p:cNvPr>
          <p:cNvSpPr/>
          <p:nvPr userDrawn="1"/>
        </p:nvSpPr>
        <p:spPr>
          <a:xfrm>
            <a:off x="8301789" y="-866274"/>
            <a:ext cx="4066673" cy="4066673"/>
          </a:xfrm>
          <a:prstGeom prst="arc">
            <a:avLst>
              <a:gd name="adj1" fmla="val 1409913"/>
              <a:gd name="adj2" fmla="val 12880072"/>
            </a:avLst>
          </a:prstGeom>
          <a:ln w="19050">
            <a:solidFill>
              <a:schemeClr val="bg1">
                <a:alpha val="12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83680112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Break Slid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601556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tyle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227326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Slide Number Placeholder 3">
            <a:extLst>
              <a:ext uri="{FF2B5EF4-FFF2-40B4-BE49-F238E27FC236}">
                <a16:creationId xmlns:a16="http://schemas.microsoft.com/office/drawing/2014/main" id="{DD01CFAB-6F2D-4547-97D2-C53255D682A9}"/>
              </a:ext>
            </a:extLst>
          </p:cNvPr>
          <p:cNvSpPr>
            <a:spLocks noGrp="1"/>
          </p:cNvSpPr>
          <p:nvPr>
            <p:ph type="sldNum" sz="quarter" idx="11"/>
          </p:nvPr>
        </p:nvSpPr>
        <p:spPr>
          <a:xfrm>
            <a:off x="12377882" y="6129621"/>
            <a:ext cx="546100" cy="394570"/>
          </a:xfrm>
          <a:prstGeom prst="rect">
            <a:avLst/>
          </a:prstGeom>
        </p:spPr>
        <p:txBody>
          <a:bodyPr/>
          <a:lstStyle/>
          <a:p>
            <a:fld id="{FCF2337A-8B1C-4D1A-B8B1-FD311DE6B71A}" type="slidenum">
              <a:rPr lang="en-US" smtClean="0"/>
              <a:t>‹#›</a:t>
            </a:fld>
            <a:endParaRPr lang="en-US" dirty="0"/>
          </a:p>
        </p:txBody>
      </p:sp>
      <p:sp>
        <p:nvSpPr>
          <p:cNvPr id="4" name="Footer Placeholder 10">
            <a:extLst>
              <a:ext uri="{FF2B5EF4-FFF2-40B4-BE49-F238E27FC236}">
                <a16:creationId xmlns:a16="http://schemas.microsoft.com/office/drawing/2014/main" id="{633FF155-17F9-4192-8839-5FE7E297FAFD}"/>
              </a:ext>
            </a:extLst>
          </p:cNvPr>
          <p:cNvSpPr>
            <a:spLocks noGrp="1"/>
          </p:cNvSpPr>
          <p:nvPr>
            <p:ph type="ftr" sz="quarter" idx="13"/>
          </p:nvPr>
        </p:nvSpPr>
        <p:spPr>
          <a:xfrm>
            <a:off x="438151" y="5903818"/>
            <a:ext cx="10280176" cy="701675"/>
          </a:xfrm>
          <a:prstGeom prst="rect">
            <a:avLst/>
          </a:prstGeom>
        </p:spPr>
        <p:txBody>
          <a:bodyPr/>
          <a:lstStyle/>
          <a:p>
            <a:br>
              <a:rPr lang="en-US">
                <a:solidFill>
                  <a:schemeClr val="tx1"/>
                </a:solidFill>
              </a:rPr>
            </a:br>
            <a:endParaRPr lang="en-US" dirty="0"/>
          </a:p>
        </p:txBody>
      </p:sp>
      <p:sp>
        <p:nvSpPr>
          <p:cNvPr id="5" name="Rectangle 4">
            <a:extLst>
              <a:ext uri="{FF2B5EF4-FFF2-40B4-BE49-F238E27FC236}">
                <a16:creationId xmlns:a16="http://schemas.microsoft.com/office/drawing/2014/main" id="{37483190-5E90-4653-ADB9-4F16BE157FD6}"/>
              </a:ext>
            </a:extLst>
          </p:cNvPr>
          <p:cNvSpPr/>
          <p:nvPr userDrawn="1"/>
        </p:nvSpPr>
        <p:spPr>
          <a:xfrm>
            <a:off x="1849721" y="6000750"/>
            <a:ext cx="8251779" cy="228504"/>
          </a:xfrm>
          <a:prstGeom prst="rect">
            <a:avLst/>
          </a:prstGeom>
          <a:solidFill>
            <a:srgbClr val="FF7D15"/>
          </a:solidFill>
          <a:ln>
            <a:solidFill>
              <a:srgbClr val="FF7D1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p>
            <a:endParaRPr lang="en-US" sz="1350"/>
          </a:p>
        </p:txBody>
      </p:sp>
      <p:pic>
        <p:nvPicPr>
          <p:cNvPr id="6" name="Picture 5">
            <a:extLst>
              <a:ext uri="{FF2B5EF4-FFF2-40B4-BE49-F238E27FC236}">
                <a16:creationId xmlns:a16="http://schemas.microsoft.com/office/drawing/2014/main" id="{437C7FF9-17B5-4792-A67E-710DEDFE8925}"/>
              </a:ext>
            </a:extLst>
          </p:cNvPr>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19486" y="6000750"/>
            <a:ext cx="972820" cy="703580"/>
          </a:xfrm>
          <a:prstGeom prst="rect">
            <a:avLst/>
          </a:prstGeom>
          <a:noFill/>
          <a:ln>
            <a:noFill/>
          </a:ln>
        </p:spPr>
      </p:pic>
      <p:sp>
        <p:nvSpPr>
          <p:cNvPr id="7" name="Rectangle 6">
            <a:extLst>
              <a:ext uri="{FF2B5EF4-FFF2-40B4-BE49-F238E27FC236}">
                <a16:creationId xmlns:a16="http://schemas.microsoft.com/office/drawing/2014/main" id="{2FCDCAF7-EF6E-45BD-BACE-D6DAB667B409}"/>
              </a:ext>
            </a:extLst>
          </p:cNvPr>
          <p:cNvSpPr/>
          <p:nvPr userDrawn="1"/>
        </p:nvSpPr>
        <p:spPr>
          <a:xfrm>
            <a:off x="2940596" y="6326906"/>
            <a:ext cx="6007462" cy="276999"/>
          </a:xfrm>
          <a:prstGeom prst="rect">
            <a:avLst/>
          </a:prstGeom>
        </p:spPr>
        <p:txBody>
          <a:bodyPr wrap="square">
            <a:spAutoFit/>
          </a:bodyPr>
          <a:lstStyle/>
          <a:p>
            <a:pPr algn="ctr"/>
            <a:r>
              <a:rPr lang="en-US" sz="1200" dirty="0">
                <a:solidFill>
                  <a:schemeClr val="tx1"/>
                </a:solidFill>
              </a:rPr>
              <a:t>Universal Technology Solutions, Confidential and proprietary. All rights reserved worldwide</a:t>
            </a:r>
            <a:endParaRPr lang="en-US" sz="1200" dirty="0"/>
          </a:p>
        </p:txBody>
      </p:sp>
    </p:spTree>
    <p:extLst>
      <p:ext uri="{BB962C8B-B14F-4D97-AF65-F5344CB8AC3E}">
        <p14:creationId xmlns:p14="http://schemas.microsoft.com/office/powerpoint/2010/main" val="35341358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Style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37F98B0-1969-4B0D-B39C-719F77064B57}"/>
              </a:ext>
            </a:extLst>
          </p:cNvPr>
          <p:cNvSpPr/>
          <p:nvPr userDrawn="1"/>
        </p:nvSpPr>
        <p:spPr>
          <a:xfrm>
            <a:off x="0" y="0"/>
            <a:ext cx="12192000" cy="6858000"/>
          </a:xfrm>
          <a:prstGeom prst="rect">
            <a:avLst/>
          </a:prstGeom>
          <a:solidFill>
            <a:schemeClr val="accent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Arc 2">
            <a:extLst>
              <a:ext uri="{FF2B5EF4-FFF2-40B4-BE49-F238E27FC236}">
                <a16:creationId xmlns:a16="http://schemas.microsoft.com/office/drawing/2014/main" id="{A0175121-4C90-40A9-B147-E4149E5190AE}"/>
              </a:ext>
            </a:extLst>
          </p:cNvPr>
          <p:cNvSpPr/>
          <p:nvPr userDrawn="1"/>
        </p:nvSpPr>
        <p:spPr>
          <a:xfrm>
            <a:off x="8301789" y="-866274"/>
            <a:ext cx="4066673" cy="4066673"/>
          </a:xfrm>
          <a:prstGeom prst="arc">
            <a:avLst>
              <a:gd name="adj1" fmla="val 1409913"/>
              <a:gd name="adj2" fmla="val 12880072"/>
            </a:avLst>
          </a:prstGeom>
          <a:ln w="19050">
            <a:solidFill>
              <a:schemeClr val="bg1">
                <a:alpha val="12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5095611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Style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74483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Style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94542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Style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C931360-7E41-4248-8AEF-AC858AB643B6}"/>
              </a:ext>
            </a:extLst>
          </p:cNvPr>
          <p:cNvSpPr/>
          <p:nvPr userDrawn="1"/>
        </p:nvSpPr>
        <p:spPr>
          <a:xfrm>
            <a:off x="0" y="0"/>
            <a:ext cx="12192000" cy="6858000"/>
          </a:xfrm>
          <a:prstGeom prst="rect">
            <a:avLst/>
          </a:prstGeom>
          <a:gradFill flip="none" rotWithShape="1">
            <a:gsLst>
              <a:gs pos="29000">
                <a:schemeClr val="accent1">
                  <a:lumMod val="5000"/>
                  <a:lumOff val="95000"/>
                  <a:alpha val="0"/>
                </a:schemeClr>
              </a:gs>
              <a:gs pos="66000">
                <a:schemeClr val="accent1">
                  <a:alpha val="58000"/>
                </a:schemeClr>
              </a:gs>
              <a:gs pos="80000">
                <a:schemeClr val="accent1">
                  <a:alpha val="61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731024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Contents slide layout">
    <p:bg>
      <p:bgPr>
        <a:solidFill>
          <a:schemeClr val="bg1"/>
        </a:solidFill>
        <a:effectLst/>
      </p:bgPr>
    </p:bg>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1" y="339509"/>
            <a:ext cx="12192000" cy="792605"/>
          </a:xfrm>
          <a:prstGeom prst="rect">
            <a:avLst/>
          </a:prstGeom>
        </p:spPr>
        <p:txBody>
          <a:bodyPr anchor="ctr"/>
          <a:lstStyle>
            <a:lvl1pPr marL="0" indent="0" algn="ctr">
              <a:lnSpc>
                <a:spcPct val="100000"/>
              </a:lnSpc>
              <a:buNone/>
              <a:defRPr sz="5400" b="0" baseline="0">
                <a:solidFill>
                  <a:schemeClr val="tx1">
                    <a:lumMod val="75000"/>
                    <a:lumOff val="25000"/>
                  </a:schemeClr>
                </a:solidFill>
                <a:latin typeface="+mj-lt"/>
                <a:cs typeface="Arial" pitchFamily="34" charset="0"/>
              </a:defRPr>
            </a:lvl1pPr>
          </a:lstStyle>
          <a:p>
            <a:pPr lvl="0"/>
            <a:r>
              <a:rPr lang="en-US" altLang="ko-KR" dirty="0"/>
              <a:t>BASIC LAYOUT</a:t>
            </a:r>
          </a:p>
        </p:txBody>
      </p:sp>
    </p:spTree>
    <p:extLst>
      <p:ext uri="{BB962C8B-B14F-4D97-AF65-F5344CB8AC3E}">
        <p14:creationId xmlns:p14="http://schemas.microsoft.com/office/powerpoint/2010/main" val="18162500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Contents slide layout">
    <p:bg>
      <p:bgPr>
        <a:solidFill>
          <a:schemeClr val="bg1"/>
        </a:solidFill>
        <a:effectLst/>
      </p:bgPr>
    </p:bg>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A0E8D5F8-DCBB-4697-978C-9F18383C891F}"/>
              </a:ext>
            </a:extLst>
          </p:cNvPr>
          <p:cNvSpPr/>
          <p:nvPr userDrawn="1"/>
        </p:nvSpPr>
        <p:spPr>
          <a:xfrm>
            <a:off x="0" y="161317"/>
            <a:ext cx="11191164" cy="1026038"/>
          </a:xfrm>
          <a:custGeom>
            <a:avLst/>
            <a:gdLst>
              <a:gd name="connsiteX0" fmla="*/ 0 w 11191164"/>
              <a:gd name="connsiteY0" fmla="*/ 0 h 1026038"/>
              <a:gd name="connsiteX1" fmla="*/ 10678145 w 11191164"/>
              <a:gd name="connsiteY1" fmla="*/ 0 h 1026038"/>
              <a:gd name="connsiteX2" fmla="*/ 11191164 w 11191164"/>
              <a:gd name="connsiteY2" fmla="*/ 513019 h 1026038"/>
              <a:gd name="connsiteX3" fmla="*/ 10678145 w 11191164"/>
              <a:gd name="connsiteY3" fmla="*/ 1026038 h 1026038"/>
              <a:gd name="connsiteX4" fmla="*/ 0 w 11191164"/>
              <a:gd name="connsiteY4" fmla="*/ 1026038 h 10260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91164" h="1026038">
                <a:moveTo>
                  <a:pt x="0" y="0"/>
                </a:moveTo>
                <a:lnTo>
                  <a:pt x="10678145" y="0"/>
                </a:lnTo>
                <a:cubicBezTo>
                  <a:pt x="10961478" y="0"/>
                  <a:pt x="11191164" y="229686"/>
                  <a:pt x="11191164" y="513019"/>
                </a:cubicBezTo>
                <a:cubicBezTo>
                  <a:pt x="11191164" y="796352"/>
                  <a:pt x="10961478" y="1026038"/>
                  <a:pt x="10678145" y="1026038"/>
                </a:cubicBezTo>
                <a:lnTo>
                  <a:pt x="0" y="1026038"/>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9"/>
          <p:cNvSpPr>
            <a:spLocks noGrp="1"/>
          </p:cNvSpPr>
          <p:nvPr>
            <p:ph type="body" sz="quarter" idx="10" hasCustomPrompt="1"/>
          </p:nvPr>
        </p:nvSpPr>
        <p:spPr>
          <a:xfrm>
            <a:off x="2120734" y="339509"/>
            <a:ext cx="9775991" cy="724247"/>
          </a:xfrm>
          <a:prstGeom prst="rect">
            <a:avLst/>
          </a:prstGeom>
        </p:spPr>
        <p:txBody>
          <a:bodyPr anchor="ctr"/>
          <a:lstStyle>
            <a:lvl1pPr marL="0" indent="0" algn="l">
              <a:buNone/>
              <a:defRPr sz="5400" b="0" baseline="0">
                <a:solidFill>
                  <a:schemeClr val="bg1"/>
                </a:solidFill>
                <a:latin typeface="+mj-lt"/>
                <a:cs typeface="Arial" pitchFamily="34" charset="0"/>
              </a:defRPr>
            </a:lvl1pPr>
          </a:lstStyle>
          <a:p>
            <a:pPr lvl="0"/>
            <a:r>
              <a:rPr lang="en-US" altLang="ko-KR" dirty="0"/>
              <a:t>BASIC LAYOUT</a:t>
            </a:r>
          </a:p>
        </p:txBody>
      </p:sp>
      <p:sp>
        <p:nvSpPr>
          <p:cNvPr id="4" name="Freeform: Shape 3">
            <a:extLst>
              <a:ext uri="{FF2B5EF4-FFF2-40B4-BE49-F238E27FC236}">
                <a16:creationId xmlns:a16="http://schemas.microsoft.com/office/drawing/2014/main" id="{1FC942A5-2D0D-4483-A217-3F3729323734}"/>
              </a:ext>
            </a:extLst>
          </p:cNvPr>
          <p:cNvSpPr/>
          <p:nvPr userDrawn="1"/>
        </p:nvSpPr>
        <p:spPr>
          <a:xfrm>
            <a:off x="0" y="161317"/>
            <a:ext cx="1668083" cy="1026038"/>
          </a:xfrm>
          <a:custGeom>
            <a:avLst/>
            <a:gdLst>
              <a:gd name="connsiteX0" fmla="*/ 5086770 w 5086770"/>
              <a:gd name="connsiteY0" fmla="*/ 1174706 h 3128874"/>
              <a:gd name="connsiteX1" fmla="*/ 5086770 w 5086770"/>
              <a:gd name="connsiteY1" fmla="*/ 1184663 h 3128874"/>
              <a:gd name="connsiteX2" fmla="*/ 5079830 w 5086770"/>
              <a:gd name="connsiteY2" fmla="*/ 1185820 h 3128874"/>
              <a:gd name="connsiteX3" fmla="*/ 5078289 w 5086770"/>
              <a:gd name="connsiteY3" fmla="*/ 1182737 h 3128874"/>
              <a:gd name="connsiteX4" fmla="*/ 5078289 w 5086770"/>
              <a:gd name="connsiteY4" fmla="*/ 1179654 h 3128874"/>
              <a:gd name="connsiteX5" fmla="*/ 1690658 w 5086770"/>
              <a:gd name="connsiteY5" fmla="*/ 810655 h 3128874"/>
              <a:gd name="connsiteX6" fmla="*/ 1349061 w 5086770"/>
              <a:gd name="connsiteY6" fmla="*/ 1934928 h 3128874"/>
              <a:gd name="connsiteX7" fmla="*/ 2035854 w 5086770"/>
              <a:gd name="connsiteY7" fmla="*/ 1934928 h 3128874"/>
              <a:gd name="connsiteX8" fmla="*/ 3765314 w 5086770"/>
              <a:gd name="connsiteY8" fmla="*/ 0 h 3128874"/>
              <a:gd name="connsiteX9" fmla="*/ 4465138 w 5086770"/>
              <a:gd name="connsiteY9" fmla="*/ 0 h 3128874"/>
              <a:gd name="connsiteX10" fmla="*/ 4675955 w 5086770"/>
              <a:gd name="connsiteY10" fmla="*/ 0 h 3128874"/>
              <a:gd name="connsiteX11" fmla="*/ 4659036 w 5086770"/>
              <a:gd name="connsiteY11" fmla="*/ 34412 h 3128874"/>
              <a:gd name="connsiteX12" fmla="*/ 4651327 w 5086770"/>
              <a:gd name="connsiteY12" fmla="*/ 45203 h 3128874"/>
              <a:gd name="connsiteX13" fmla="*/ 4648245 w 5086770"/>
              <a:gd name="connsiteY13" fmla="*/ 51368 h 3128874"/>
              <a:gd name="connsiteX14" fmla="*/ 4483319 w 5086770"/>
              <a:gd name="connsiteY14" fmla="*/ 361184 h 3128874"/>
              <a:gd name="connsiteX15" fmla="*/ 4480236 w 5086770"/>
              <a:gd name="connsiteY15" fmla="*/ 373515 h 3128874"/>
              <a:gd name="connsiteX16" fmla="*/ 4474071 w 5086770"/>
              <a:gd name="connsiteY16" fmla="*/ 398176 h 3128874"/>
              <a:gd name="connsiteX17" fmla="*/ 4450950 w 5086770"/>
              <a:gd name="connsiteY17" fmla="*/ 498367 h 3128874"/>
              <a:gd name="connsiteX18" fmla="*/ 4440161 w 5086770"/>
              <a:gd name="connsiteY18" fmla="*/ 527652 h 3128874"/>
              <a:gd name="connsiteX19" fmla="*/ 4441700 w 5086770"/>
              <a:gd name="connsiteY19" fmla="*/ 539983 h 3128874"/>
              <a:gd name="connsiteX20" fmla="*/ 4437078 w 5086770"/>
              <a:gd name="connsiteY20" fmla="*/ 561562 h 3128874"/>
              <a:gd name="connsiteX21" fmla="*/ 4433995 w 5086770"/>
              <a:gd name="connsiteY21" fmla="*/ 576976 h 3128874"/>
              <a:gd name="connsiteX22" fmla="*/ 4433994 w 5086770"/>
              <a:gd name="connsiteY22" fmla="*/ 578519 h 3128874"/>
              <a:gd name="connsiteX23" fmla="*/ 4413956 w 5086770"/>
              <a:gd name="connsiteY23" fmla="*/ 797393 h 3128874"/>
              <a:gd name="connsiteX24" fmla="*/ 4438619 w 5086770"/>
              <a:gd name="connsiteY24" fmla="*/ 996230 h 3128874"/>
              <a:gd name="connsiteX25" fmla="*/ 4433995 w 5086770"/>
              <a:gd name="connsiteY25" fmla="*/ 1016268 h 3128874"/>
              <a:gd name="connsiteX26" fmla="*/ 4435536 w 5086770"/>
              <a:gd name="connsiteY26" fmla="*/ 1025517 h 3128874"/>
              <a:gd name="connsiteX27" fmla="*/ 4437078 w 5086770"/>
              <a:gd name="connsiteY27" fmla="*/ 1027057 h 3128874"/>
              <a:gd name="connsiteX28" fmla="*/ 4432452 w 5086770"/>
              <a:gd name="connsiteY28" fmla="*/ 1048636 h 3128874"/>
              <a:gd name="connsiteX29" fmla="*/ 4413956 w 5086770"/>
              <a:gd name="connsiteY29" fmla="*/ 1085630 h 3128874"/>
              <a:gd name="connsiteX30" fmla="*/ 4196623 w 5086770"/>
              <a:gd name="connsiteY30" fmla="*/ 1389280 h 3128874"/>
              <a:gd name="connsiteX31" fmla="*/ 4085645 w 5086770"/>
              <a:gd name="connsiteY31" fmla="*/ 1597365 h 3128874"/>
              <a:gd name="connsiteX32" fmla="*/ 4216661 w 5086770"/>
              <a:gd name="connsiteY32" fmla="*/ 1697556 h 3128874"/>
              <a:gd name="connsiteX33" fmla="*/ 4250571 w 5086770"/>
              <a:gd name="connsiteY33" fmla="*/ 1811617 h 3128874"/>
              <a:gd name="connsiteX34" fmla="*/ 4173502 w 5086770"/>
              <a:gd name="connsiteY34" fmla="*/ 1888685 h 3128874"/>
              <a:gd name="connsiteX35" fmla="*/ 4213578 w 5086770"/>
              <a:gd name="connsiteY35" fmla="*/ 2022784 h 3128874"/>
              <a:gd name="connsiteX36" fmla="*/ 4347678 w 5086770"/>
              <a:gd name="connsiteY36" fmla="*/ 2090605 h 3128874"/>
              <a:gd name="connsiteX37" fmla="*/ 4233616 w 5086770"/>
              <a:gd name="connsiteY37" fmla="*/ 2138388 h 3128874"/>
              <a:gd name="connsiteX38" fmla="*/ 4227451 w 5086770"/>
              <a:gd name="connsiteY38" fmla="*/ 2258616 h 3128874"/>
              <a:gd name="connsiteX39" fmla="*/ 4350761 w 5086770"/>
              <a:gd name="connsiteY39" fmla="*/ 2320270 h 3128874"/>
              <a:gd name="connsiteX40" fmla="*/ 4333805 w 5086770"/>
              <a:gd name="connsiteY40" fmla="*/ 2462077 h 3128874"/>
              <a:gd name="connsiteX41" fmla="*/ 4467905 w 5086770"/>
              <a:gd name="connsiteY41" fmla="*/ 2719486 h 3128874"/>
              <a:gd name="connsiteX42" fmla="*/ 4800655 w 5086770"/>
              <a:gd name="connsiteY42" fmla="*/ 2748491 h 3128874"/>
              <a:gd name="connsiteX43" fmla="*/ 4838191 w 5086770"/>
              <a:gd name="connsiteY43" fmla="*/ 2744074 h 3128874"/>
              <a:gd name="connsiteX44" fmla="*/ 4863823 w 5086770"/>
              <a:gd name="connsiteY44" fmla="*/ 2765476 h 3128874"/>
              <a:gd name="connsiteX45" fmla="*/ 4934321 w 5086770"/>
              <a:gd name="connsiteY45" fmla="*/ 2911083 h 3128874"/>
              <a:gd name="connsiteX46" fmla="*/ 4964162 w 5086770"/>
              <a:gd name="connsiteY46" fmla="*/ 3074402 h 3128874"/>
              <a:gd name="connsiteX47" fmla="*/ 4967647 w 5086770"/>
              <a:gd name="connsiteY47" fmla="*/ 3128874 h 3128874"/>
              <a:gd name="connsiteX48" fmla="*/ 4465138 w 5086770"/>
              <a:gd name="connsiteY48" fmla="*/ 3128874 h 3128874"/>
              <a:gd name="connsiteX49" fmla="*/ 4465138 w 5086770"/>
              <a:gd name="connsiteY49" fmla="*/ 3127460 h 3128874"/>
              <a:gd name="connsiteX50" fmla="*/ 3765314 w 5086770"/>
              <a:gd name="connsiteY50" fmla="*/ 3127460 h 3128874"/>
              <a:gd name="connsiteX51" fmla="*/ 1175459 w 5086770"/>
              <a:gd name="connsiteY51" fmla="*/ 0 h 3128874"/>
              <a:gd name="connsiteX52" fmla="*/ 2229594 w 5086770"/>
              <a:gd name="connsiteY52" fmla="*/ 0 h 3128874"/>
              <a:gd name="connsiteX53" fmla="*/ 3404781 w 5086770"/>
              <a:gd name="connsiteY53" fmla="*/ 3127460 h 3128874"/>
              <a:gd name="connsiteX54" fmla="*/ 2392789 w 5086770"/>
              <a:gd name="connsiteY54" fmla="*/ 3127460 h 3128874"/>
              <a:gd name="connsiteX55" fmla="*/ 2236317 w 5086770"/>
              <a:gd name="connsiteY55" fmla="*/ 2611186 h 3128874"/>
              <a:gd name="connsiteX56" fmla="*/ 1139165 w 5086770"/>
              <a:gd name="connsiteY56" fmla="*/ 2611186 h 3128874"/>
              <a:gd name="connsiteX57" fmla="*/ 986721 w 5086770"/>
              <a:gd name="connsiteY57" fmla="*/ 3127460 h 3128874"/>
              <a:gd name="connsiteX58" fmla="*/ 0 w 5086770"/>
              <a:gd name="connsiteY58" fmla="*/ 3127460 h 3128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086770" h="3128874">
                <a:moveTo>
                  <a:pt x="5086770" y="1174706"/>
                </a:moveTo>
                <a:lnTo>
                  <a:pt x="5086770" y="1184663"/>
                </a:lnTo>
                <a:lnTo>
                  <a:pt x="5079830" y="1185820"/>
                </a:lnTo>
                <a:cubicBezTo>
                  <a:pt x="5079829" y="1184277"/>
                  <a:pt x="5078289" y="1184277"/>
                  <a:pt x="5078289" y="1182737"/>
                </a:cubicBezTo>
                <a:lnTo>
                  <a:pt x="5078289" y="1179654"/>
                </a:lnTo>
                <a:close/>
                <a:moveTo>
                  <a:pt x="1690658" y="810655"/>
                </a:moveTo>
                <a:lnTo>
                  <a:pt x="1349061" y="1934928"/>
                </a:lnTo>
                <a:lnTo>
                  <a:pt x="2035854" y="1934928"/>
                </a:lnTo>
                <a:close/>
                <a:moveTo>
                  <a:pt x="3765314" y="0"/>
                </a:moveTo>
                <a:lnTo>
                  <a:pt x="4465138" y="0"/>
                </a:lnTo>
                <a:lnTo>
                  <a:pt x="4675955" y="0"/>
                </a:lnTo>
                <a:lnTo>
                  <a:pt x="4659036" y="34412"/>
                </a:lnTo>
                <a:cubicBezTo>
                  <a:pt x="4655952" y="37496"/>
                  <a:pt x="4652870" y="40578"/>
                  <a:pt x="4651327" y="45203"/>
                </a:cubicBezTo>
                <a:cubicBezTo>
                  <a:pt x="4649787" y="48285"/>
                  <a:pt x="4649788" y="49827"/>
                  <a:pt x="4648245" y="51368"/>
                </a:cubicBezTo>
                <a:cubicBezTo>
                  <a:pt x="4632831" y="72947"/>
                  <a:pt x="4528018" y="224002"/>
                  <a:pt x="4483319" y="361184"/>
                </a:cubicBezTo>
                <a:cubicBezTo>
                  <a:pt x="4481777" y="365808"/>
                  <a:pt x="4480236" y="368891"/>
                  <a:pt x="4480236" y="373515"/>
                </a:cubicBezTo>
                <a:cubicBezTo>
                  <a:pt x="4478694" y="381223"/>
                  <a:pt x="4475612" y="390471"/>
                  <a:pt x="4474071" y="398176"/>
                </a:cubicBezTo>
                <a:cubicBezTo>
                  <a:pt x="4466362" y="432087"/>
                  <a:pt x="4458657" y="465997"/>
                  <a:pt x="4450950" y="498367"/>
                </a:cubicBezTo>
                <a:cubicBezTo>
                  <a:pt x="4444783" y="506073"/>
                  <a:pt x="4440160" y="516863"/>
                  <a:pt x="4440161" y="527652"/>
                </a:cubicBezTo>
                <a:cubicBezTo>
                  <a:pt x="4440160" y="532277"/>
                  <a:pt x="4440160" y="535360"/>
                  <a:pt x="4441700" y="539983"/>
                </a:cubicBezTo>
                <a:cubicBezTo>
                  <a:pt x="4440161" y="547691"/>
                  <a:pt x="4438618" y="555397"/>
                  <a:pt x="4437078" y="561562"/>
                </a:cubicBezTo>
                <a:cubicBezTo>
                  <a:pt x="4435535" y="566187"/>
                  <a:pt x="4433995" y="570810"/>
                  <a:pt x="4433995" y="576976"/>
                </a:cubicBezTo>
                <a:cubicBezTo>
                  <a:pt x="4433995" y="576976"/>
                  <a:pt x="4433994" y="578519"/>
                  <a:pt x="4433994" y="578519"/>
                </a:cubicBezTo>
                <a:cubicBezTo>
                  <a:pt x="4417039" y="674083"/>
                  <a:pt x="4407790" y="755776"/>
                  <a:pt x="4413956" y="797393"/>
                </a:cubicBezTo>
                <a:cubicBezTo>
                  <a:pt x="4421664" y="846717"/>
                  <a:pt x="4440160" y="929951"/>
                  <a:pt x="4438619" y="996230"/>
                </a:cubicBezTo>
                <a:cubicBezTo>
                  <a:pt x="4435535" y="1002395"/>
                  <a:pt x="4433995" y="1008560"/>
                  <a:pt x="4433995" y="1016268"/>
                </a:cubicBezTo>
                <a:cubicBezTo>
                  <a:pt x="4433995" y="1019351"/>
                  <a:pt x="4435536" y="1022434"/>
                  <a:pt x="4435536" y="1025517"/>
                </a:cubicBezTo>
                <a:cubicBezTo>
                  <a:pt x="4435536" y="1025517"/>
                  <a:pt x="4435535" y="1027057"/>
                  <a:pt x="4437078" y="1027057"/>
                </a:cubicBezTo>
                <a:cubicBezTo>
                  <a:pt x="4435536" y="1034764"/>
                  <a:pt x="4433994" y="1042471"/>
                  <a:pt x="4432452" y="1048636"/>
                </a:cubicBezTo>
                <a:lnTo>
                  <a:pt x="4413956" y="1085630"/>
                </a:lnTo>
                <a:cubicBezTo>
                  <a:pt x="4369257" y="1164240"/>
                  <a:pt x="4258278" y="1339957"/>
                  <a:pt x="4196623" y="1389280"/>
                </a:cubicBezTo>
                <a:cubicBezTo>
                  <a:pt x="4128802" y="1441687"/>
                  <a:pt x="4062523" y="1538793"/>
                  <a:pt x="4085645" y="1597365"/>
                </a:cubicBezTo>
                <a:cubicBezTo>
                  <a:pt x="4119555" y="1660562"/>
                  <a:pt x="4181210" y="1688307"/>
                  <a:pt x="4216661" y="1697556"/>
                </a:cubicBezTo>
                <a:cubicBezTo>
                  <a:pt x="4252112" y="1706804"/>
                  <a:pt x="4275233" y="1779247"/>
                  <a:pt x="4250571" y="1811617"/>
                </a:cubicBezTo>
                <a:cubicBezTo>
                  <a:pt x="4225909" y="1843985"/>
                  <a:pt x="4187375" y="1853233"/>
                  <a:pt x="4173502" y="1888685"/>
                </a:cubicBezTo>
                <a:cubicBezTo>
                  <a:pt x="4159630" y="1924137"/>
                  <a:pt x="4153465" y="1998123"/>
                  <a:pt x="4213578" y="2022784"/>
                </a:cubicBezTo>
                <a:cubicBezTo>
                  <a:pt x="4259818" y="2041281"/>
                  <a:pt x="4349219" y="2081356"/>
                  <a:pt x="4347678" y="2090605"/>
                </a:cubicBezTo>
                <a:cubicBezTo>
                  <a:pt x="4346136" y="2099853"/>
                  <a:pt x="4250570" y="2107561"/>
                  <a:pt x="4233616" y="2138388"/>
                </a:cubicBezTo>
                <a:cubicBezTo>
                  <a:pt x="4216660" y="2169216"/>
                  <a:pt x="4204330" y="2220080"/>
                  <a:pt x="4227451" y="2258616"/>
                </a:cubicBezTo>
                <a:cubicBezTo>
                  <a:pt x="4250571" y="2297149"/>
                  <a:pt x="4332264" y="2292526"/>
                  <a:pt x="4350761" y="2320270"/>
                </a:cubicBezTo>
                <a:cubicBezTo>
                  <a:pt x="4381588" y="2371135"/>
                  <a:pt x="4358466" y="2378843"/>
                  <a:pt x="4333805" y="2462077"/>
                </a:cubicBezTo>
                <a:cubicBezTo>
                  <a:pt x="4306060" y="2551476"/>
                  <a:pt x="4302977" y="2650125"/>
                  <a:pt x="4467905" y="2719486"/>
                </a:cubicBezTo>
                <a:cubicBezTo>
                  <a:pt x="4562314" y="2758983"/>
                  <a:pt x="4694054" y="2758743"/>
                  <a:pt x="4800655" y="2748491"/>
                </a:cubicBezTo>
                <a:lnTo>
                  <a:pt x="4838191" y="2744074"/>
                </a:lnTo>
                <a:lnTo>
                  <a:pt x="4863823" y="2765476"/>
                </a:lnTo>
                <a:cubicBezTo>
                  <a:pt x="4895578" y="2799449"/>
                  <a:pt x="4917344" y="2847230"/>
                  <a:pt x="4934321" y="2911083"/>
                </a:cubicBezTo>
                <a:cubicBezTo>
                  <a:pt x="4945640" y="2953651"/>
                  <a:pt x="4957371" y="3013267"/>
                  <a:pt x="4964162" y="3074402"/>
                </a:cubicBezTo>
                <a:lnTo>
                  <a:pt x="4967647" y="3128874"/>
                </a:lnTo>
                <a:lnTo>
                  <a:pt x="4465138" y="3128874"/>
                </a:lnTo>
                <a:lnTo>
                  <a:pt x="4465138" y="3127460"/>
                </a:lnTo>
                <a:lnTo>
                  <a:pt x="3765314" y="3127460"/>
                </a:lnTo>
                <a:close/>
                <a:moveTo>
                  <a:pt x="1175459" y="0"/>
                </a:moveTo>
                <a:lnTo>
                  <a:pt x="2229594" y="0"/>
                </a:lnTo>
                <a:lnTo>
                  <a:pt x="3404781" y="3127460"/>
                </a:lnTo>
                <a:lnTo>
                  <a:pt x="2392789" y="3127460"/>
                </a:lnTo>
                <a:lnTo>
                  <a:pt x="2236317" y="2611186"/>
                </a:lnTo>
                <a:lnTo>
                  <a:pt x="1139165" y="2611186"/>
                </a:lnTo>
                <a:lnTo>
                  <a:pt x="986721" y="3127460"/>
                </a:lnTo>
                <a:lnTo>
                  <a:pt x="0" y="312746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Shape 8">
            <a:extLst>
              <a:ext uri="{FF2B5EF4-FFF2-40B4-BE49-F238E27FC236}">
                <a16:creationId xmlns:a16="http://schemas.microsoft.com/office/drawing/2014/main" id="{A01515AE-4193-4204-AAE3-28BCF655ED34}"/>
              </a:ext>
            </a:extLst>
          </p:cNvPr>
          <p:cNvSpPr/>
          <p:nvPr userDrawn="1"/>
        </p:nvSpPr>
        <p:spPr>
          <a:xfrm>
            <a:off x="11288971" y="161317"/>
            <a:ext cx="903029" cy="1026038"/>
          </a:xfrm>
          <a:custGeom>
            <a:avLst/>
            <a:gdLst>
              <a:gd name="connsiteX0" fmla="*/ 513019 w 903029"/>
              <a:gd name="connsiteY0" fmla="*/ 0 h 1026038"/>
              <a:gd name="connsiteX1" fmla="*/ 903029 w 903029"/>
              <a:gd name="connsiteY1" fmla="*/ 0 h 1026038"/>
              <a:gd name="connsiteX2" fmla="*/ 903029 w 903029"/>
              <a:gd name="connsiteY2" fmla="*/ 1026038 h 1026038"/>
              <a:gd name="connsiteX3" fmla="*/ 513019 w 903029"/>
              <a:gd name="connsiteY3" fmla="*/ 1026038 h 1026038"/>
              <a:gd name="connsiteX4" fmla="*/ 0 w 903029"/>
              <a:gd name="connsiteY4" fmla="*/ 513019 h 1026038"/>
              <a:gd name="connsiteX5" fmla="*/ 513019 w 903029"/>
              <a:gd name="connsiteY5" fmla="*/ 0 h 1026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3029" h="1026038">
                <a:moveTo>
                  <a:pt x="513019" y="0"/>
                </a:moveTo>
                <a:lnTo>
                  <a:pt x="903029" y="0"/>
                </a:lnTo>
                <a:lnTo>
                  <a:pt x="903029" y="1026038"/>
                </a:lnTo>
                <a:lnTo>
                  <a:pt x="513019" y="1026038"/>
                </a:lnTo>
                <a:cubicBezTo>
                  <a:pt x="229686" y="1026038"/>
                  <a:pt x="0" y="796352"/>
                  <a:pt x="0" y="513019"/>
                </a:cubicBezTo>
                <a:cubicBezTo>
                  <a:pt x="0" y="229686"/>
                  <a:pt x="229686" y="0"/>
                  <a:pt x="513019"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102876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Contents slide layout">
    <p:bg>
      <p:bgPr>
        <a:solidFill>
          <a:schemeClr val="bg1"/>
        </a:solidFill>
        <a:effectLst/>
      </p:bgPr>
    </p:bg>
    <p:spTree>
      <p:nvGrpSpPr>
        <p:cNvPr id="1" name=""/>
        <p:cNvGrpSpPr/>
        <p:nvPr/>
      </p:nvGrpSpPr>
      <p:grpSpPr>
        <a:xfrm>
          <a:off x="0" y="0"/>
          <a:ext cx="0" cy="0"/>
          <a:chOff x="0" y="0"/>
          <a:chExt cx="0" cy="0"/>
        </a:xfrm>
      </p:grpSpPr>
      <p:sp>
        <p:nvSpPr>
          <p:cNvPr id="4" name="그림 개체 틀 2">
            <a:extLst>
              <a:ext uri="{FF2B5EF4-FFF2-40B4-BE49-F238E27FC236}">
                <a16:creationId xmlns:a16="http://schemas.microsoft.com/office/drawing/2014/main" id="{6BEAFC25-821F-477D-B4DA-EF0E26AE0841}"/>
              </a:ext>
            </a:extLst>
          </p:cNvPr>
          <p:cNvSpPr>
            <a:spLocks noGrp="1"/>
          </p:cNvSpPr>
          <p:nvPr>
            <p:ph type="pic" sz="quarter" idx="10" hasCustomPrompt="1"/>
          </p:nvPr>
        </p:nvSpPr>
        <p:spPr>
          <a:xfrm>
            <a:off x="0" y="0"/>
            <a:ext cx="12192000" cy="2664000"/>
          </a:xfrm>
          <a:prstGeom prst="rect">
            <a:avLst/>
          </a:prstGeom>
          <a:solidFill>
            <a:schemeClr val="bg1">
              <a:lumMod val="95000"/>
            </a:schemeClr>
          </a:solidFill>
          <a:ln w="152400">
            <a:noFill/>
          </a:ln>
          <a:effectLst/>
        </p:spPr>
        <p:txBody>
          <a:bodyPr anchor="ctr"/>
          <a:lstStyle>
            <a:lvl1pPr marL="0" indent="0" algn="ctr">
              <a:buFontTx/>
              <a:buNone/>
              <a:defRPr sz="1200">
                <a:solidFill>
                  <a:schemeClr val="tx1">
                    <a:lumMod val="75000"/>
                    <a:lumOff val="25000"/>
                  </a:schemeClr>
                </a:solidFill>
              </a:defRPr>
            </a:lvl1pPr>
          </a:lstStyle>
          <a:p>
            <a:r>
              <a:rPr lang="en-US" altLang="ko-KR" dirty="0"/>
              <a:t>Place Your Picture Here and Sent to Back</a:t>
            </a:r>
            <a:endParaRPr lang="ko-KR" altLang="en-US" dirty="0"/>
          </a:p>
        </p:txBody>
      </p:sp>
      <p:sp>
        <p:nvSpPr>
          <p:cNvPr id="6" name="그림 개체 틀 2">
            <a:extLst>
              <a:ext uri="{FF2B5EF4-FFF2-40B4-BE49-F238E27FC236}">
                <a16:creationId xmlns:a16="http://schemas.microsoft.com/office/drawing/2014/main" id="{2C30C39C-AAA9-4761-B982-E964F936EA3C}"/>
              </a:ext>
            </a:extLst>
          </p:cNvPr>
          <p:cNvSpPr>
            <a:spLocks noGrp="1"/>
          </p:cNvSpPr>
          <p:nvPr>
            <p:ph type="pic" sz="quarter" idx="42" hasCustomPrompt="1"/>
          </p:nvPr>
        </p:nvSpPr>
        <p:spPr>
          <a:xfrm>
            <a:off x="1032695" y="1988366"/>
            <a:ext cx="2444297" cy="2444297"/>
          </a:xfrm>
          <a:prstGeom prst="ellipse">
            <a:avLst/>
          </a:prstGeom>
          <a:solidFill>
            <a:schemeClr val="bg1">
              <a:lumMod val="95000"/>
            </a:schemeClr>
          </a:solidFill>
          <a:ln w="15875">
            <a:noFill/>
          </a:ln>
          <a:effectLst>
            <a:innerShdw blurRad="114300">
              <a:schemeClr val="bg1"/>
            </a:innerShdw>
          </a:effectLst>
        </p:spPr>
        <p:txBody>
          <a:bodyPr anchor="ctr"/>
          <a:lstStyle>
            <a:lvl1pPr marL="0" indent="0" algn="ctr">
              <a:buNone/>
              <a:defRPr sz="1200">
                <a:solidFill>
                  <a:schemeClr val="tx1">
                    <a:lumMod val="75000"/>
                    <a:lumOff val="25000"/>
                  </a:schemeClr>
                </a:solidFill>
              </a:defRPr>
            </a:lvl1pPr>
          </a:lstStyle>
          <a:p>
            <a:r>
              <a:rPr lang="en-US" altLang="ko-KR" dirty="0"/>
              <a:t>Place Your Picture Here and Bring to Front</a:t>
            </a:r>
            <a:endParaRPr lang="ko-KR" altLang="en-US" dirty="0"/>
          </a:p>
        </p:txBody>
      </p:sp>
    </p:spTree>
    <p:extLst>
      <p:ext uri="{BB962C8B-B14F-4D97-AF65-F5344CB8AC3E}">
        <p14:creationId xmlns:p14="http://schemas.microsoft.com/office/powerpoint/2010/main" val="2632218341"/>
      </p:ext>
    </p:extLst>
  </p:cSld>
  <p:clrMapOvr>
    <a:masterClrMapping/>
  </p:clrMapOvr>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theme" Target="../theme/theme2.xml"/><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 Type="http://schemas.openxmlformats.org/officeDocument/2006/relationships/slideLayout" Target="../slideLayouts/slideLayout3.xml"/><Relationship Id="rId16" Type="http://schemas.openxmlformats.org/officeDocument/2006/relationships/slideLayout" Target="../slideLayouts/slideLayout17.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5" Type="http://schemas.openxmlformats.org/officeDocument/2006/relationships/slideLayout" Target="../slideLayouts/slideLayout16.xml"/><Relationship Id="rId10" Type="http://schemas.openxmlformats.org/officeDocument/2006/relationships/slideLayout" Target="../slideLayouts/slideLayout11.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19.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1046580"/>
      </p:ext>
    </p:extLst>
  </p:cSld>
  <p:clrMap bg1="lt1" tx1="dk1" bg2="lt2" tx2="dk2" accent1="accent1" accent2="accent2" accent3="accent3" accent4="accent4" accent5="accent5" accent6="accent6" hlink="hlink" folHlink="folHlink"/>
  <p:sldLayoutIdLst>
    <p:sldLayoutId id="2147483655" r:id="rId1"/>
  </p:sldLayoutIdLst>
  <p:txStyles>
    <p:titleStyle>
      <a:lvl1pPr algn="l" defTabSz="914423"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5" indent="-228605" algn="l" defTabSz="91442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18" indent="-228605" algn="l" defTabSz="91442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28" indent="-228605" algn="l" defTabSz="91442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40"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52"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63"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75"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85"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98"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23" rtl="0" eaLnBrk="1" latinLnBrk="0" hangingPunct="1">
        <a:defRPr sz="1800" kern="1200">
          <a:solidFill>
            <a:schemeClr val="tx1"/>
          </a:solidFill>
          <a:latin typeface="+mn-lt"/>
          <a:ea typeface="+mn-ea"/>
          <a:cs typeface="+mn-cs"/>
        </a:defRPr>
      </a:lvl1pPr>
      <a:lvl2pPr marL="457212" algn="l" defTabSz="914423" rtl="0" eaLnBrk="1" latinLnBrk="0" hangingPunct="1">
        <a:defRPr sz="1800" kern="1200">
          <a:solidFill>
            <a:schemeClr val="tx1"/>
          </a:solidFill>
          <a:latin typeface="+mn-lt"/>
          <a:ea typeface="+mn-ea"/>
          <a:cs typeface="+mn-cs"/>
        </a:defRPr>
      </a:lvl2pPr>
      <a:lvl3pPr marL="914423" algn="l" defTabSz="914423" rtl="0" eaLnBrk="1" latinLnBrk="0" hangingPunct="1">
        <a:defRPr sz="1800" kern="1200">
          <a:solidFill>
            <a:schemeClr val="tx1"/>
          </a:solidFill>
          <a:latin typeface="+mn-lt"/>
          <a:ea typeface="+mn-ea"/>
          <a:cs typeface="+mn-cs"/>
        </a:defRPr>
      </a:lvl3pPr>
      <a:lvl4pPr marL="1371635" algn="l" defTabSz="914423" rtl="0" eaLnBrk="1" latinLnBrk="0" hangingPunct="1">
        <a:defRPr sz="1800" kern="1200">
          <a:solidFill>
            <a:schemeClr val="tx1"/>
          </a:solidFill>
          <a:latin typeface="+mn-lt"/>
          <a:ea typeface="+mn-ea"/>
          <a:cs typeface="+mn-cs"/>
        </a:defRPr>
      </a:lvl4pPr>
      <a:lvl5pPr marL="1828845" algn="l" defTabSz="914423" rtl="0" eaLnBrk="1" latinLnBrk="0" hangingPunct="1">
        <a:defRPr sz="1800" kern="1200">
          <a:solidFill>
            <a:schemeClr val="tx1"/>
          </a:solidFill>
          <a:latin typeface="+mn-lt"/>
          <a:ea typeface="+mn-ea"/>
          <a:cs typeface="+mn-cs"/>
        </a:defRPr>
      </a:lvl5pPr>
      <a:lvl6pPr marL="2286058" algn="l" defTabSz="914423" rtl="0" eaLnBrk="1" latinLnBrk="0" hangingPunct="1">
        <a:defRPr sz="1800" kern="1200">
          <a:solidFill>
            <a:schemeClr val="tx1"/>
          </a:solidFill>
          <a:latin typeface="+mn-lt"/>
          <a:ea typeface="+mn-ea"/>
          <a:cs typeface="+mn-cs"/>
        </a:defRPr>
      </a:lvl6pPr>
      <a:lvl7pPr marL="2743268" algn="l" defTabSz="914423" rtl="0" eaLnBrk="1" latinLnBrk="0" hangingPunct="1">
        <a:defRPr sz="1800" kern="1200">
          <a:solidFill>
            <a:schemeClr val="tx1"/>
          </a:solidFill>
          <a:latin typeface="+mn-lt"/>
          <a:ea typeface="+mn-ea"/>
          <a:cs typeface="+mn-cs"/>
        </a:defRPr>
      </a:lvl7pPr>
      <a:lvl8pPr marL="3200480" algn="l" defTabSz="914423" rtl="0" eaLnBrk="1" latinLnBrk="0" hangingPunct="1">
        <a:defRPr sz="1800" kern="1200">
          <a:solidFill>
            <a:schemeClr val="tx1"/>
          </a:solidFill>
          <a:latin typeface="+mn-lt"/>
          <a:ea typeface="+mn-ea"/>
          <a:cs typeface="+mn-cs"/>
        </a:defRPr>
      </a:lvl8pPr>
      <a:lvl9pPr marL="3657692" algn="l" defTabSz="91442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0174220"/>
      </p:ext>
    </p:extLst>
  </p:cSld>
  <p:clrMap bg1="lt1" tx1="dk1" bg2="lt2" tx2="dk2" accent1="accent1" accent2="accent2" accent3="accent3" accent4="accent4" accent5="accent5" accent6="accent6" hlink="hlink" folHlink="folHlink"/>
  <p:sldLayoutIdLst>
    <p:sldLayoutId id="2147483737" r:id="rId1"/>
    <p:sldLayoutId id="2147483739" r:id="rId2"/>
    <p:sldLayoutId id="2147483736" r:id="rId3"/>
    <p:sldLayoutId id="2147483740" r:id="rId4"/>
    <p:sldLayoutId id="2147483741" r:id="rId5"/>
    <p:sldLayoutId id="2147483742" r:id="rId6"/>
    <p:sldLayoutId id="2147483738" r:id="rId7"/>
    <p:sldLayoutId id="2147483743" r:id="rId8"/>
    <p:sldLayoutId id="2147483745" r:id="rId9"/>
    <p:sldLayoutId id="2147483747" r:id="rId10"/>
    <p:sldLayoutId id="2147483746" r:id="rId11"/>
    <p:sldLayoutId id="2147483744" r:id="rId12"/>
    <p:sldLayoutId id="2147483749" r:id="rId13"/>
    <p:sldLayoutId id="2147483750" r:id="rId14"/>
    <p:sldLayoutId id="2147483751" r:id="rId15"/>
    <p:sldLayoutId id="2147483754" r:id="rId16"/>
    <p:sldLayoutId id="2147483755" r:id="rId17"/>
  </p:sldLayoutIdLst>
  <p:txStyles>
    <p:titleStyle>
      <a:lvl1pPr algn="l" defTabSz="914423"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5" indent="-228605" algn="l" defTabSz="91442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18" indent="-228605" algn="l" defTabSz="91442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28" indent="-228605" algn="l" defTabSz="91442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40"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52"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63"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75"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85"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98"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23" rtl="0" eaLnBrk="1" latinLnBrk="0" hangingPunct="1">
        <a:defRPr sz="1800" kern="1200">
          <a:solidFill>
            <a:schemeClr val="tx1"/>
          </a:solidFill>
          <a:latin typeface="+mn-lt"/>
          <a:ea typeface="+mn-ea"/>
          <a:cs typeface="+mn-cs"/>
        </a:defRPr>
      </a:lvl1pPr>
      <a:lvl2pPr marL="457212" algn="l" defTabSz="914423" rtl="0" eaLnBrk="1" latinLnBrk="0" hangingPunct="1">
        <a:defRPr sz="1800" kern="1200">
          <a:solidFill>
            <a:schemeClr val="tx1"/>
          </a:solidFill>
          <a:latin typeface="+mn-lt"/>
          <a:ea typeface="+mn-ea"/>
          <a:cs typeface="+mn-cs"/>
        </a:defRPr>
      </a:lvl2pPr>
      <a:lvl3pPr marL="914423" algn="l" defTabSz="914423" rtl="0" eaLnBrk="1" latinLnBrk="0" hangingPunct="1">
        <a:defRPr sz="1800" kern="1200">
          <a:solidFill>
            <a:schemeClr val="tx1"/>
          </a:solidFill>
          <a:latin typeface="+mn-lt"/>
          <a:ea typeface="+mn-ea"/>
          <a:cs typeface="+mn-cs"/>
        </a:defRPr>
      </a:lvl3pPr>
      <a:lvl4pPr marL="1371635" algn="l" defTabSz="914423" rtl="0" eaLnBrk="1" latinLnBrk="0" hangingPunct="1">
        <a:defRPr sz="1800" kern="1200">
          <a:solidFill>
            <a:schemeClr val="tx1"/>
          </a:solidFill>
          <a:latin typeface="+mn-lt"/>
          <a:ea typeface="+mn-ea"/>
          <a:cs typeface="+mn-cs"/>
        </a:defRPr>
      </a:lvl4pPr>
      <a:lvl5pPr marL="1828845" algn="l" defTabSz="914423" rtl="0" eaLnBrk="1" latinLnBrk="0" hangingPunct="1">
        <a:defRPr sz="1800" kern="1200">
          <a:solidFill>
            <a:schemeClr val="tx1"/>
          </a:solidFill>
          <a:latin typeface="+mn-lt"/>
          <a:ea typeface="+mn-ea"/>
          <a:cs typeface="+mn-cs"/>
        </a:defRPr>
      </a:lvl5pPr>
      <a:lvl6pPr marL="2286058" algn="l" defTabSz="914423" rtl="0" eaLnBrk="1" latinLnBrk="0" hangingPunct="1">
        <a:defRPr sz="1800" kern="1200">
          <a:solidFill>
            <a:schemeClr val="tx1"/>
          </a:solidFill>
          <a:latin typeface="+mn-lt"/>
          <a:ea typeface="+mn-ea"/>
          <a:cs typeface="+mn-cs"/>
        </a:defRPr>
      </a:lvl6pPr>
      <a:lvl7pPr marL="2743268" algn="l" defTabSz="914423" rtl="0" eaLnBrk="1" latinLnBrk="0" hangingPunct="1">
        <a:defRPr sz="1800" kern="1200">
          <a:solidFill>
            <a:schemeClr val="tx1"/>
          </a:solidFill>
          <a:latin typeface="+mn-lt"/>
          <a:ea typeface="+mn-ea"/>
          <a:cs typeface="+mn-cs"/>
        </a:defRPr>
      </a:lvl7pPr>
      <a:lvl8pPr marL="3200480" algn="l" defTabSz="914423" rtl="0" eaLnBrk="1" latinLnBrk="0" hangingPunct="1">
        <a:defRPr sz="1800" kern="1200">
          <a:solidFill>
            <a:schemeClr val="tx1"/>
          </a:solidFill>
          <a:latin typeface="+mn-lt"/>
          <a:ea typeface="+mn-ea"/>
          <a:cs typeface="+mn-cs"/>
        </a:defRPr>
      </a:lvl8pPr>
      <a:lvl9pPr marL="3657692" algn="l" defTabSz="91442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5178107"/>
      </p:ext>
    </p:extLst>
  </p:cSld>
  <p:clrMap bg1="lt1" tx1="dk1" bg2="lt2" tx2="dk2" accent1="accent1" accent2="accent2" accent3="accent3" accent4="accent4" accent5="accent5" accent6="accent6" hlink="hlink" folHlink="folHlink"/>
  <p:sldLayoutIdLst>
    <p:sldLayoutId id="2147483685" r:id="rId1"/>
  </p:sldLayoutIdLst>
  <p:txStyles>
    <p:titleStyle>
      <a:lvl1pPr algn="l" defTabSz="914423"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5" indent="-228605" algn="l" defTabSz="91442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18" indent="-228605" algn="l" defTabSz="91442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28" indent="-228605" algn="l" defTabSz="91442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40"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52"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63"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75"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85"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98"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23" rtl="0" eaLnBrk="1" latinLnBrk="0" hangingPunct="1">
        <a:defRPr sz="1800" kern="1200">
          <a:solidFill>
            <a:schemeClr val="tx1"/>
          </a:solidFill>
          <a:latin typeface="+mn-lt"/>
          <a:ea typeface="+mn-ea"/>
          <a:cs typeface="+mn-cs"/>
        </a:defRPr>
      </a:lvl1pPr>
      <a:lvl2pPr marL="457212" algn="l" defTabSz="914423" rtl="0" eaLnBrk="1" latinLnBrk="0" hangingPunct="1">
        <a:defRPr sz="1800" kern="1200">
          <a:solidFill>
            <a:schemeClr val="tx1"/>
          </a:solidFill>
          <a:latin typeface="+mn-lt"/>
          <a:ea typeface="+mn-ea"/>
          <a:cs typeface="+mn-cs"/>
        </a:defRPr>
      </a:lvl2pPr>
      <a:lvl3pPr marL="914423" algn="l" defTabSz="914423" rtl="0" eaLnBrk="1" latinLnBrk="0" hangingPunct="1">
        <a:defRPr sz="1800" kern="1200">
          <a:solidFill>
            <a:schemeClr val="tx1"/>
          </a:solidFill>
          <a:latin typeface="+mn-lt"/>
          <a:ea typeface="+mn-ea"/>
          <a:cs typeface="+mn-cs"/>
        </a:defRPr>
      </a:lvl3pPr>
      <a:lvl4pPr marL="1371635" algn="l" defTabSz="914423" rtl="0" eaLnBrk="1" latinLnBrk="0" hangingPunct="1">
        <a:defRPr sz="1800" kern="1200">
          <a:solidFill>
            <a:schemeClr val="tx1"/>
          </a:solidFill>
          <a:latin typeface="+mn-lt"/>
          <a:ea typeface="+mn-ea"/>
          <a:cs typeface="+mn-cs"/>
        </a:defRPr>
      </a:lvl4pPr>
      <a:lvl5pPr marL="1828845" algn="l" defTabSz="914423" rtl="0" eaLnBrk="1" latinLnBrk="0" hangingPunct="1">
        <a:defRPr sz="1800" kern="1200">
          <a:solidFill>
            <a:schemeClr val="tx1"/>
          </a:solidFill>
          <a:latin typeface="+mn-lt"/>
          <a:ea typeface="+mn-ea"/>
          <a:cs typeface="+mn-cs"/>
        </a:defRPr>
      </a:lvl5pPr>
      <a:lvl6pPr marL="2286058" algn="l" defTabSz="914423" rtl="0" eaLnBrk="1" latinLnBrk="0" hangingPunct="1">
        <a:defRPr sz="1800" kern="1200">
          <a:solidFill>
            <a:schemeClr val="tx1"/>
          </a:solidFill>
          <a:latin typeface="+mn-lt"/>
          <a:ea typeface="+mn-ea"/>
          <a:cs typeface="+mn-cs"/>
        </a:defRPr>
      </a:lvl6pPr>
      <a:lvl7pPr marL="2743268" algn="l" defTabSz="914423" rtl="0" eaLnBrk="1" latinLnBrk="0" hangingPunct="1">
        <a:defRPr sz="1800" kern="1200">
          <a:solidFill>
            <a:schemeClr val="tx1"/>
          </a:solidFill>
          <a:latin typeface="+mn-lt"/>
          <a:ea typeface="+mn-ea"/>
          <a:cs typeface="+mn-cs"/>
        </a:defRPr>
      </a:lvl7pPr>
      <a:lvl8pPr marL="3200480" algn="l" defTabSz="914423" rtl="0" eaLnBrk="1" latinLnBrk="0" hangingPunct="1">
        <a:defRPr sz="1800" kern="1200">
          <a:solidFill>
            <a:schemeClr val="tx1"/>
          </a:solidFill>
          <a:latin typeface="+mn-lt"/>
          <a:ea typeface="+mn-ea"/>
          <a:cs typeface="+mn-cs"/>
        </a:defRPr>
      </a:lvl8pPr>
      <a:lvl9pPr marL="3657692" algn="l" defTabSz="91442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0134710"/>
      </p:ext>
    </p:extLst>
  </p:cSld>
  <p:clrMap bg1="lt1" tx1="dk1" bg2="lt2" tx2="dk2" accent1="accent1" accent2="accent2" accent3="accent3" accent4="accent4" accent5="accent5" accent6="accent6" hlink="hlink" folHlink="folHlink"/>
  <p:sldLayoutIdLst>
    <p:sldLayoutId id="2147483753"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Layout" Target="../slideLayouts/slideLayout18.xml"/><Relationship Id="rId4" Type="http://schemas.openxmlformats.org/officeDocument/2006/relationships/image" Target="../media/image14.png"/></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15.xml"/><Relationship Id="rId5" Type="http://schemas.openxmlformats.org/officeDocument/2006/relationships/image" Target="../media/image54.png"/><Relationship Id="rId4" Type="http://schemas.openxmlformats.org/officeDocument/2006/relationships/image" Target="../media/image53.png"/></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15.xml"/><Relationship Id="rId4" Type="http://schemas.openxmlformats.org/officeDocument/2006/relationships/image" Target="../media/image55.png"/></Relationships>
</file>

<file path=ppt/slides/_rels/slide12.xml.rels><?xml version="1.0" encoding="UTF-8" standalone="yes"?>
<Relationships xmlns="http://schemas.openxmlformats.org/package/2006/relationships"><Relationship Id="rId8" Type="http://schemas.openxmlformats.org/officeDocument/2006/relationships/image" Target="../media/image60.png"/><Relationship Id="rId13" Type="http://schemas.openxmlformats.org/officeDocument/2006/relationships/image" Target="../media/image63.png"/><Relationship Id="rId18" Type="http://schemas.openxmlformats.org/officeDocument/2006/relationships/image" Target="../media/image34.png"/><Relationship Id="rId3" Type="http://schemas.openxmlformats.org/officeDocument/2006/relationships/image" Target="../media/image32.png"/><Relationship Id="rId21" Type="http://schemas.openxmlformats.org/officeDocument/2006/relationships/image" Target="../media/image69.png"/><Relationship Id="rId7" Type="http://schemas.openxmlformats.org/officeDocument/2006/relationships/image" Target="../media/image59.png"/><Relationship Id="rId12" Type="http://schemas.microsoft.com/office/2007/relationships/hdphoto" Target="../media/hdphoto2.wdp"/><Relationship Id="rId17" Type="http://schemas.openxmlformats.org/officeDocument/2006/relationships/image" Target="../media/image66.png"/><Relationship Id="rId2" Type="http://schemas.openxmlformats.org/officeDocument/2006/relationships/notesSlide" Target="../notesSlides/notesSlide9.xml"/><Relationship Id="rId16" Type="http://schemas.openxmlformats.org/officeDocument/2006/relationships/image" Target="../media/image65.png"/><Relationship Id="rId20" Type="http://schemas.openxmlformats.org/officeDocument/2006/relationships/image" Target="../media/image68.png"/><Relationship Id="rId1" Type="http://schemas.openxmlformats.org/officeDocument/2006/relationships/slideLayout" Target="../slideLayouts/slideLayout14.xml"/><Relationship Id="rId6" Type="http://schemas.openxmlformats.org/officeDocument/2006/relationships/image" Target="../media/image58.png"/><Relationship Id="rId11" Type="http://schemas.openxmlformats.org/officeDocument/2006/relationships/image" Target="../media/image62.png"/><Relationship Id="rId5" Type="http://schemas.openxmlformats.org/officeDocument/2006/relationships/image" Target="../media/image57.png"/><Relationship Id="rId15" Type="http://schemas.openxmlformats.org/officeDocument/2006/relationships/image" Target="../media/image33.png"/><Relationship Id="rId10" Type="http://schemas.openxmlformats.org/officeDocument/2006/relationships/image" Target="../media/image61.png"/><Relationship Id="rId19" Type="http://schemas.openxmlformats.org/officeDocument/2006/relationships/image" Target="../media/image67.png"/><Relationship Id="rId4" Type="http://schemas.openxmlformats.org/officeDocument/2006/relationships/image" Target="../media/image56.png"/><Relationship Id="rId9" Type="http://schemas.microsoft.com/office/2007/relationships/hdphoto" Target="../media/hdphoto1.wdp"/><Relationship Id="rId14" Type="http://schemas.openxmlformats.org/officeDocument/2006/relationships/image" Target="../media/image64.png"/><Relationship Id="rId22" Type="http://schemas.openxmlformats.org/officeDocument/2006/relationships/image" Target="../media/image70.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png"/><Relationship Id="rId1" Type="http://schemas.openxmlformats.org/officeDocument/2006/relationships/slideLayout" Target="../slideLayouts/slideLayout14.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3.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12" Type="http://schemas.openxmlformats.org/officeDocument/2006/relationships/image" Target="../media/image31.png"/><Relationship Id="rId2" Type="http://schemas.openxmlformats.org/officeDocument/2006/relationships/image" Target="../media/image21.png"/><Relationship Id="rId1" Type="http://schemas.openxmlformats.org/officeDocument/2006/relationships/slideLayout" Target="../slideLayouts/slideLayout17.xml"/><Relationship Id="rId6" Type="http://schemas.openxmlformats.org/officeDocument/2006/relationships/image" Target="../media/image25.png"/><Relationship Id="rId11" Type="http://schemas.openxmlformats.org/officeDocument/2006/relationships/image" Target="../media/image30.png"/><Relationship Id="rId5" Type="http://schemas.openxmlformats.org/officeDocument/2006/relationships/image" Target="../media/image24.png"/><Relationship Id="rId10" Type="http://schemas.openxmlformats.org/officeDocument/2006/relationships/image" Target="../media/image29.png"/><Relationship Id="rId4" Type="http://schemas.openxmlformats.org/officeDocument/2006/relationships/image" Target="../media/image23.png"/><Relationship Id="rId9" Type="http://schemas.openxmlformats.org/officeDocument/2006/relationships/image" Target="../media/image28.png"/></Relationships>
</file>

<file path=ppt/slides/_rels/slide4.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5.png"/><Relationship Id="rId2" Type="http://schemas.openxmlformats.org/officeDocument/2006/relationships/notesSlide" Target="../notesSlides/notesSlide1.xml"/><Relationship Id="rId1" Type="http://schemas.openxmlformats.org/officeDocument/2006/relationships/slideLayout" Target="../slideLayouts/slideLayout14.xml"/><Relationship Id="rId6" Type="http://schemas.openxmlformats.org/officeDocument/2006/relationships/image" Target="../media/image21.png"/><Relationship Id="rId5" Type="http://schemas.openxmlformats.org/officeDocument/2006/relationships/image" Target="../media/image34.png"/><Relationship Id="rId4" Type="http://schemas.openxmlformats.org/officeDocument/2006/relationships/image" Target="../media/image33.png"/></Relationships>
</file>

<file path=ppt/slides/_rels/slide5.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4.png"/><Relationship Id="rId3" Type="http://schemas.openxmlformats.org/officeDocument/2006/relationships/image" Target="../media/image36.png"/><Relationship Id="rId7" Type="http://schemas.openxmlformats.org/officeDocument/2006/relationships/image" Target="../media/image40.png"/><Relationship Id="rId12" Type="http://schemas.openxmlformats.org/officeDocument/2006/relationships/image" Target="../media/image43.png"/><Relationship Id="rId2" Type="http://schemas.openxmlformats.org/officeDocument/2006/relationships/notesSlide" Target="../notesSlides/notesSlide2.xml"/><Relationship Id="rId1" Type="http://schemas.openxmlformats.org/officeDocument/2006/relationships/slideLayout" Target="../slideLayouts/slideLayout14.xml"/><Relationship Id="rId6" Type="http://schemas.openxmlformats.org/officeDocument/2006/relationships/image" Target="../media/image39.png"/><Relationship Id="rId11" Type="http://schemas.openxmlformats.org/officeDocument/2006/relationships/hyperlink" Target="RefrencePPT/TestMagic-%20Automation%20Test%20Suites%20Overview.pptx" TargetMode="External"/><Relationship Id="rId5" Type="http://schemas.openxmlformats.org/officeDocument/2006/relationships/image" Target="../media/image38.png"/><Relationship Id="rId10" Type="http://schemas.openxmlformats.org/officeDocument/2006/relationships/image" Target="../media/image42.png"/><Relationship Id="rId4" Type="http://schemas.openxmlformats.org/officeDocument/2006/relationships/image" Target="../media/image37.png"/><Relationship Id="rId9" Type="http://schemas.openxmlformats.org/officeDocument/2006/relationships/hyperlink" Target="RefrencePPT/TestMagic-%20Business%20Process%20WorkFlow%20Overview.pptx" TargetMode="External"/><Relationship Id="rId14" Type="http://schemas.openxmlformats.org/officeDocument/2006/relationships/hyperlink" Target="RefrencePPT/TestMagic-%20Business%20Component%20Overview.pptx"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48.png"/><Relationship Id="rId2" Type="http://schemas.openxmlformats.org/officeDocument/2006/relationships/notesSlide" Target="../notesSlides/notesSlide3.xml"/><Relationship Id="rId1" Type="http://schemas.openxmlformats.org/officeDocument/2006/relationships/slideLayout" Target="../slideLayouts/slideLayout15.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6.xml"/><Relationship Id="rId1" Type="http://schemas.openxmlformats.org/officeDocument/2006/relationships/tags" Target="../tags/tag5.xml"/><Relationship Id="rId6" Type="http://schemas.openxmlformats.org/officeDocument/2006/relationships/image" Target="../media/image14.png"/><Relationship Id="rId5" Type="http://schemas.openxmlformats.org/officeDocument/2006/relationships/image" Target="../media/image6.emf"/><Relationship Id="rId4" Type="http://schemas.openxmlformats.org/officeDocument/2006/relationships/oleObject" Target="../embeddings/oleObject4.bin"/></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15.xml"/><Relationship Id="rId5" Type="http://schemas.openxmlformats.org/officeDocument/2006/relationships/image" Target="../media/image50.png"/><Relationship Id="rId4" Type="http://schemas.openxmlformats.org/officeDocument/2006/relationships/image" Target="../media/image49.png"/></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15.xml"/><Relationship Id="rId5" Type="http://schemas.openxmlformats.org/officeDocument/2006/relationships/image" Target="../media/image52.png"/><Relationship Id="rId4" Type="http://schemas.openxmlformats.org/officeDocument/2006/relationships/image" Target="../media/image5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C221F751-3C5B-4561-AD14-8637C5B66736}"/>
              </a:ext>
            </a:extLst>
          </p:cNvPr>
          <p:cNvSpPr txBox="1"/>
          <p:nvPr/>
        </p:nvSpPr>
        <p:spPr>
          <a:xfrm>
            <a:off x="6134600" y="1264749"/>
            <a:ext cx="5610577" cy="2185214"/>
          </a:xfrm>
          <a:prstGeom prst="rect">
            <a:avLst/>
          </a:prstGeom>
          <a:noFill/>
        </p:spPr>
        <p:txBody>
          <a:bodyPr wrap="square" rtlCol="0" anchor="ctr">
            <a:spAutoFit/>
          </a:bodyPr>
          <a:lstStyle/>
          <a:p>
            <a:pPr algn="ctr"/>
            <a:r>
              <a:rPr lang="en-US" altLang="ko-KR" sz="5400" dirty="0">
                <a:solidFill>
                  <a:schemeClr val="bg1"/>
                </a:solidFill>
                <a:cs typeface="Arial" pitchFamily="34" charset="0"/>
              </a:rPr>
              <a:t>TestMagic Training</a:t>
            </a:r>
          </a:p>
          <a:p>
            <a:pPr algn="ctr"/>
            <a:endParaRPr lang="ko-KR" altLang="en-US" sz="2800" dirty="0">
              <a:solidFill>
                <a:schemeClr val="bg1"/>
              </a:solidFill>
              <a:cs typeface="Arial" pitchFamily="34" charset="0"/>
            </a:endParaRPr>
          </a:p>
        </p:txBody>
      </p:sp>
      <p:sp>
        <p:nvSpPr>
          <p:cNvPr id="14" name="TextBox 13">
            <a:extLst>
              <a:ext uri="{FF2B5EF4-FFF2-40B4-BE49-F238E27FC236}">
                <a16:creationId xmlns:a16="http://schemas.microsoft.com/office/drawing/2014/main" id="{DF166F6B-B975-4F3C-BCF2-9971086140FB}"/>
              </a:ext>
            </a:extLst>
          </p:cNvPr>
          <p:cNvSpPr txBox="1"/>
          <p:nvPr/>
        </p:nvSpPr>
        <p:spPr>
          <a:xfrm>
            <a:off x="6058698" y="3920048"/>
            <a:ext cx="6133302" cy="400110"/>
          </a:xfrm>
          <a:prstGeom prst="rect">
            <a:avLst/>
          </a:prstGeom>
          <a:noFill/>
        </p:spPr>
        <p:txBody>
          <a:bodyPr wrap="square" rtlCol="0" anchor="ctr">
            <a:spAutoFit/>
          </a:bodyPr>
          <a:lstStyle/>
          <a:p>
            <a:r>
              <a:rPr lang="en-US" altLang="ko-KR" sz="2000" dirty="0" err="1">
                <a:solidFill>
                  <a:schemeClr val="bg1"/>
                </a:solidFill>
                <a:cs typeface="Arial" pitchFamily="34" charset="0"/>
              </a:rPr>
              <a:t>TestMagic</a:t>
            </a:r>
            <a:r>
              <a:rPr lang="en-US" altLang="ko-KR" sz="2000" baseline="30000" dirty="0" err="1">
                <a:solidFill>
                  <a:schemeClr val="bg1"/>
                </a:solidFill>
                <a:cs typeface="Arial" pitchFamily="34" charset="0"/>
              </a:rPr>
              <a:t>TM</a:t>
            </a:r>
            <a:r>
              <a:rPr lang="en-US" altLang="ko-KR" sz="1600" baseline="30000" dirty="0">
                <a:solidFill>
                  <a:schemeClr val="bg1"/>
                </a:solidFill>
                <a:cs typeface="Arial" pitchFamily="34" charset="0"/>
              </a:rPr>
              <a:t> - </a:t>
            </a:r>
            <a:r>
              <a:rPr lang="en-US" altLang="ko-KR" sz="1600" dirty="0">
                <a:solidFill>
                  <a:schemeClr val="bg1"/>
                </a:solidFill>
                <a:cs typeface="Arial" pitchFamily="34" charset="0"/>
              </a:rPr>
              <a:t>An AI driven Enterprise Test Automation Platform</a:t>
            </a:r>
            <a:endParaRPr lang="ko-KR" altLang="en-US" sz="1600" baseline="30000" dirty="0">
              <a:solidFill>
                <a:schemeClr val="bg1"/>
              </a:solidFill>
              <a:cs typeface="Arial" pitchFamily="34" charset="0"/>
            </a:endParaRPr>
          </a:p>
        </p:txBody>
      </p:sp>
      <p:grpSp>
        <p:nvGrpSpPr>
          <p:cNvPr id="15" name="Group 14">
            <a:extLst>
              <a:ext uri="{FF2B5EF4-FFF2-40B4-BE49-F238E27FC236}">
                <a16:creationId xmlns:a16="http://schemas.microsoft.com/office/drawing/2014/main" id="{1527CFAF-7CCE-44BB-AF72-C1F244779008}"/>
              </a:ext>
            </a:extLst>
          </p:cNvPr>
          <p:cNvGrpSpPr/>
          <p:nvPr/>
        </p:nvGrpSpPr>
        <p:grpSpPr>
          <a:xfrm>
            <a:off x="829256" y="1376267"/>
            <a:ext cx="5389197" cy="3861625"/>
            <a:chOff x="2491486" y="2166705"/>
            <a:chExt cx="4786450" cy="3429727"/>
          </a:xfrm>
          <a:solidFill>
            <a:schemeClr val="bg1"/>
          </a:solidFill>
        </p:grpSpPr>
        <p:grpSp>
          <p:nvGrpSpPr>
            <p:cNvPr id="16" name="Graphic 166">
              <a:extLst>
                <a:ext uri="{FF2B5EF4-FFF2-40B4-BE49-F238E27FC236}">
                  <a16:creationId xmlns:a16="http://schemas.microsoft.com/office/drawing/2014/main" id="{76D1291D-A11D-4617-ACBA-1EB139B4784E}"/>
                </a:ext>
              </a:extLst>
            </p:cNvPr>
            <p:cNvGrpSpPr/>
            <p:nvPr/>
          </p:nvGrpSpPr>
          <p:grpSpPr>
            <a:xfrm rot="10800000">
              <a:off x="2739541" y="2574234"/>
              <a:ext cx="3581400" cy="752475"/>
              <a:chOff x="4305300" y="3052762"/>
              <a:chExt cx="3581400" cy="752475"/>
            </a:xfrm>
            <a:grpFill/>
          </p:grpSpPr>
          <p:sp>
            <p:nvSpPr>
              <p:cNvPr id="218" name="Freeform: Shape 217">
                <a:extLst>
                  <a:ext uri="{FF2B5EF4-FFF2-40B4-BE49-F238E27FC236}">
                    <a16:creationId xmlns:a16="http://schemas.microsoft.com/office/drawing/2014/main" id="{0C3E7658-13F9-4CBF-AEBE-89CAA6F8F54B}"/>
                  </a:ext>
                </a:extLst>
              </p:cNvPr>
              <p:cNvSpPr/>
              <p:nvPr/>
            </p:nvSpPr>
            <p:spPr>
              <a:xfrm>
                <a:off x="4401979" y="3311366"/>
                <a:ext cx="3476625" cy="200025"/>
              </a:xfrm>
              <a:custGeom>
                <a:avLst/>
                <a:gdLst>
                  <a:gd name="connsiteX0" fmla="*/ 1497806 w 3476625"/>
                  <a:gd name="connsiteY0" fmla="*/ 7144 h 200025"/>
                  <a:gd name="connsiteX1" fmla="*/ 1822609 w 3476625"/>
                  <a:gd name="connsiteY1" fmla="*/ 7144 h 200025"/>
                  <a:gd name="connsiteX2" fmla="*/ 1899761 w 3476625"/>
                  <a:gd name="connsiteY2" fmla="*/ 84296 h 200025"/>
                  <a:gd name="connsiteX3" fmla="*/ 2174081 w 3476625"/>
                  <a:gd name="connsiteY3" fmla="*/ 84296 h 200025"/>
                  <a:gd name="connsiteX4" fmla="*/ 2240756 w 3476625"/>
                  <a:gd name="connsiteY4" fmla="*/ 17621 h 200025"/>
                  <a:gd name="connsiteX5" fmla="*/ 3470434 w 3476625"/>
                  <a:gd name="connsiteY5" fmla="*/ 17621 h 200025"/>
                  <a:gd name="connsiteX6" fmla="*/ 3470434 w 3476625"/>
                  <a:gd name="connsiteY6" fmla="*/ 24289 h 200025"/>
                  <a:gd name="connsiteX7" fmla="*/ 2243614 w 3476625"/>
                  <a:gd name="connsiteY7" fmla="*/ 24289 h 200025"/>
                  <a:gd name="connsiteX8" fmla="*/ 2176939 w 3476625"/>
                  <a:gd name="connsiteY8" fmla="*/ 90964 h 200025"/>
                  <a:gd name="connsiteX9" fmla="*/ 1896904 w 3476625"/>
                  <a:gd name="connsiteY9" fmla="*/ 90964 h 200025"/>
                  <a:gd name="connsiteX10" fmla="*/ 1819751 w 3476625"/>
                  <a:gd name="connsiteY10" fmla="*/ 13811 h 200025"/>
                  <a:gd name="connsiteX11" fmla="*/ 1500664 w 3476625"/>
                  <a:gd name="connsiteY11" fmla="*/ 13811 h 200025"/>
                  <a:gd name="connsiteX12" fmla="*/ 1432084 w 3476625"/>
                  <a:gd name="connsiteY12" fmla="*/ 120491 h 200025"/>
                  <a:gd name="connsiteX13" fmla="*/ 1057751 w 3476625"/>
                  <a:gd name="connsiteY13" fmla="*/ 120491 h 200025"/>
                  <a:gd name="connsiteX14" fmla="*/ 971074 w 3476625"/>
                  <a:gd name="connsiteY14" fmla="*/ 14764 h 200025"/>
                  <a:gd name="connsiteX15" fmla="*/ 379571 w 3476625"/>
                  <a:gd name="connsiteY15" fmla="*/ 14764 h 200025"/>
                  <a:gd name="connsiteX16" fmla="*/ 11906 w 3476625"/>
                  <a:gd name="connsiteY16" fmla="*/ 201454 h 200025"/>
                  <a:gd name="connsiteX17" fmla="*/ 7144 w 3476625"/>
                  <a:gd name="connsiteY17" fmla="*/ 196691 h 200025"/>
                  <a:gd name="connsiteX18" fmla="*/ 376714 w 3476625"/>
                  <a:gd name="connsiteY18" fmla="*/ 8096 h 200025"/>
                  <a:gd name="connsiteX19" fmla="*/ 973931 w 3476625"/>
                  <a:gd name="connsiteY19" fmla="*/ 8096 h 200025"/>
                  <a:gd name="connsiteX20" fmla="*/ 1061561 w 3476625"/>
                  <a:gd name="connsiteY20" fmla="*/ 113824 h 200025"/>
                  <a:gd name="connsiteX21" fmla="*/ 1429226 w 3476625"/>
                  <a:gd name="connsiteY21" fmla="*/ 113824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476625" h="200025">
                    <a:moveTo>
                      <a:pt x="1497806" y="7144"/>
                    </a:moveTo>
                    <a:lnTo>
                      <a:pt x="1822609" y="7144"/>
                    </a:lnTo>
                    <a:lnTo>
                      <a:pt x="1899761" y="84296"/>
                    </a:lnTo>
                    <a:lnTo>
                      <a:pt x="2174081" y="84296"/>
                    </a:lnTo>
                    <a:lnTo>
                      <a:pt x="2240756" y="17621"/>
                    </a:lnTo>
                    <a:lnTo>
                      <a:pt x="3470434" y="17621"/>
                    </a:lnTo>
                    <a:lnTo>
                      <a:pt x="3470434" y="24289"/>
                    </a:lnTo>
                    <a:lnTo>
                      <a:pt x="2243614" y="24289"/>
                    </a:lnTo>
                    <a:lnTo>
                      <a:pt x="2176939" y="90964"/>
                    </a:lnTo>
                    <a:lnTo>
                      <a:pt x="1896904" y="90964"/>
                    </a:lnTo>
                    <a:lnTo>
                      <a:pt x="1819751" y="13811"/>
                    </a:lnTo>
                    <a:lnTo>
                      <a:pt x="1500664" y="13811"/>
                    </a:lnTo>
                    <a:lnTo>
                      <a:pt x="1432084" y="120491"/>
                    </a:lnTo>
                    <a:lnTo>
                      <a:pt x="1057751" y="120491"/>
                    </a:lnTo>
                    <a:lnTo>
                      <a:pt x="971074" y="14764"/>
                    </a:lnTo>
                    <a:lnTo>
                      <a:pt x="379571" y="14764"/>
                    </a:lnTo>
                    <a:lnTo>
                      <a:pt x="11906" y="201454"/>
                    </a:lnTo>
                    <a:lnTo>
                      <a:pt x="7144" y="196691"/>
                    </a:lnTo>
                    <a:lnTo>
                      <a:pt x="376714" y="8096"/>
                    </a:lnTo>
                    <a:lnTo>
                      <a:pt x="973931" y="8096"/>
                    </a:lnTo>
                    <a:lnTo>
                      <a:pt x="1061561" y="113824"/>
                    </a:lnTo>
                    <a:lnTo>
                      <a:pt x="1429226" y="113824"/>
                    </a:lnTo>
                    <a:close/>
                  </a:path>
                </a:pathLst>
              </a:custGeom>
              <a:grpFill/>
              <a:ln w="9525" cap="flat">
                <a:noFill/>
                <a:prstDash val="solid"/>
                <a:miter/>
              </a:ln>
            </p:spPr>
            <p:txBody>
              <a:bodyPr rtlCol="0" anchor="ctr"/>
              <a:lstStyle/>
              <a:p>
                <a:endParaRPr lang="en-US"/>
              </a:p>
            </p:txBody>
          </p:sp>
          <p:sp>
            <p:nvSpPr>
              <p:cNvPr id="219" name="Freeform: Shape 218">
                <a:extLst>
                  <a:ext uri="{FF2B5EF4-FFF2-40B4-BE49-F238E27FC236}">
                    <a16:creationId xmlns:a16="http://schemas.microsoft.com/office/drawing/2014/main" id="{E1216653-ACFD-4626-BFCB-8D8BE8D02F14}"/>
                  </a:ext>
                </a:extLst>
              </p:cNvPr>
              <p:cNvSpPr/>
              <p:nvPr/>
            </p:nvSpPr>
            <p:spPr>
              <a:xfrm>
                <a:off x="7851934" y="3312318"/>
                <a:ext cx="38100" cy="38100"/>
              </a:xfrm>
              <a:custGeom>
                <a:avLst/>
                <a:gdLst>
                  <a:gd name="connsiteX0" fmla="*/ 20479 w 38100"/>
                  <a:gd name="connsiteY0" fmla="*/ 7144 h 38100"/>
                  <a:gd name="connsiteX1" fmla="*/ 33814 w 38100"/>
                  <a:gd name="connsiteY1" fmla="*/ 20479 h 38100"/>
                  <a:gd name="connsiteX2" fmla="*/ 20479 w 38100"/>
                  <a:gd name="connsiteY2" fmla="*/ 33814 h 38100"/>
                  <a:gd name="connsiteX3" fmla="*/ 7144 w 38100"/>
                  <a:gd name="connsiteY3" fmla="*/ 20479 h 38100"/>
                  <a:gd name="connsiteX4" fmla="*/ 20479 w 38100"/>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7144"/>
                    </a:moveTo>
                    <a:cubicBezTo>
                      <a:pt x="28099" y="7144"/>
                      <a:pt x="33814" y="12859"/>
                      <a:pt x="33814" y="20479"/>
                    </a:cubicBezTo>
                    <a:cubicBezTo>
                      <a:pt x="33814" y="28099"/>
                      <a:pt x="28099" y="33814"/>
                      <a:pt x="20479" y="33814"/>
                    </a:cubicBezTo>
                    <a:cubicBezTo>
                      <a:pt x="12859" y="33814"/>
                      <a:pt x="7144" y="28099"/>
                      <a:pt x="7144" y="20479"/>
                    </a:cubicBezTo>
                    <a:cubicBezTo>
                      <a:pt x="7144" y="12859"/>
                      <a:pt x="12859" y="7144"/>
                      <a:pt x="20479" y="7144"/>
                    </a:cubicBezTo>
                    <a:close/>
                  </a:path>
                </a:pathLst>
              </a:custGeom>
              <a:grpFill/>
              <a:ln w="9525" cap="flat">
                <a:noFill/>
                <a:prstDash val="solid"/>
                <a:miter/>
              </a:ln>
            </p:spPr>
            <p:txBody>
              <a:bodyPr rtlCol="0" anchor="ctr"/>
              <a:lstStyle/>
              <a:p>
                <a:endParaRPr lang="en-US"/>
              </a:p>
            </p:txBody>
          </p:sp>
          <p:sp>
            <p:nvSpPr>
              <p:cNvPr id="220" name="Freeform: Shape 219">
                <a:extLst>
                  <a:ext uri="{FF2B5EF4-FFF2-40B4-BE49-F238E27FC236}">
                    <a16:creationId xmlns:a16="http://schemas.microsoft.com/office/drawing/2014/main" id="{A5CCD930-C3E6-48FA-A447-1EF7D945F322}"/>
                  </a:ext>
                </a:extLst>
              </p:cNvPr>
              <p:cNvSpPr/>
              <p:nvPr/>
            </p:nvSpPr>
            <p:spPr>
              <a:xfrm>
                <a:off x="4391739" y="3489721"/>
                <a:ext cx="38100" cy="38100"/>
              </a:xfrm>
              <a:custGeom>
                <a:avLst/>
                <a:gdLst>
                  <a:gd name="connsiteX0" fmla="*/ 10716 w 38100"/>
                  <a:gd name="connsiteY0" fmla="*/ 10716 h 38100"/>
                  <a:gd name="connsiteX1" fmla="*/ 10716 w 38100"/>
                  <a:gd name="connsiteY1" fmla="*/ 29766 h 38100"/>
                  <a:gd name="connsiteX2" fmla="*/ 29766 w 38100"/>
                  <a:gd name="connsiteY2" fmla="*/ 29766 h 38100"/>
                  <a:gd name="connsiteX3" fmla="*/ 29766 w 38100"/>
                  <a:gd name="connsiteY3" fmla="*/ 10716 h 38100"/>
                  <a:gd name="connsiteX4" fmla="*/ 10716 w 38100"/>
                  <a:gd name="connsiteY4" fmla="*/ 1071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0716" y="10716"/>
                    </a:moveTo>
                    <a:cubicBezTo>
                      <a:pt x="5953" y="15478"/>
                      <a:pt x="5953" y="24051"/>
                      <a:pt x="10716" y="29766"/>
                    </a:cubicBezTo>
                    <a:cubicBezTo>
                      <a:pt x="15478" y="34528"/>
                      <a:pt x="24051" y="34528"/>
                      <a:pt x="29766" y="29766"/>
                    </a:cubicBezTo>
                    <a:cubicBezTo>
                      <a:pt x="34528" y="25003"/>
                      <a:pt x="34528" y="16431"/>
                      <a:pt x="29766" y="10716"/>
                    </a:cubicBezTo>
                    <a:cubicBezTo>
                      <a:pt x="24051" y="5953"/>
                      <a:pt x="15478" y="5953"/>
                      <a:pt x="10716" y="10716"/>
                    </a:cubicBezTo>
                    <a:close/>
                  </a:path>
                </a:pathLst>
              </a:custGeom>
              <a:grpFill/>
              <a:ln w="9525" cap="flat">
                <a:noFill/>
                <a:prstDash val="solid"/>
                <a:miter/>
              </a:ln>
            </p:spPr>
            <p:txBody>
              <a:bodyPr rtlCol="0" anchor="ctr"/>
              <a:lstStyle/>
              <a:p>
                <a:endParaRPr lang="en-US"/>
              </a:p>
            </p:txBody>
          </p:sp>
          <p:sp>
            <p:nvSpPr>
              <p:cNvPr id="221" name="Freeform: Shape 220">
                <a:extLst>
                  <a:ext uri="{FF2B5EF4-FFF2-40B4-BE49-F238E27FC236}">
                    <a16:creationId xmlns:a16="http://schemas.microsoft.com/office/drawing/2014/main" id="{82BFDAAB-DF19-4F7A-B787-7EECCB733C0E}"/>
                  </a:ext>
                </a:extLst>
              </p:cNvPr>
              <p:cNvSpPr/>
              <p:nvPr/>
            </p:nvSpPr>
            <p:spPr>
              <a:xfrm>
                <a:off x="4559141" y="3055143"/>
                <a:ext cx="2552700" cy="142875"/>
              </a:xfrm>
              <a:custGeom>
                <a:avLst/>
                <a:gdLst>
                  <a:gd name="connsiteX0" fmla="*/ 7144 w 2552700"/>
                  <a:gd name="connsiteY0" fmla="*/ 7144 h 142875"/>
                  <a:gd name="connsiteX1" fmla="*/ 101441 w 2552700"/>
                  <a:gd name="connsiteY1" fmla="*/ 7144 h 142875"/>
                  <a:gd name="connsiteX2" fmla="*/ 222409 w 2552700"/>
                  <a:gd name="connsiteY2" fmla="*/ 128111 h 142875"/>
                  <a:gd name="connsiteX3" fmla="*/ 813911 w 2552700"/>
                  <a:gd name="connsiteY3" fmla="*/ 128111 h 142875"/>
                  <a:gd name="connsiteX4" fmla="*/ 881539 w 2552700"/>
                  <a:gd name="connsiteY4" fmla="*/ 21431 h 142875"/>
                  <a:gd name="connsiteX5" fmla="*/ 1284446 w 2552700"/>
                  <a:gd name="connsiteY5" fmla="*/ 21431 h 142875"/>
                  <a:gd name="connsiteX6" fmla="*/ 1343501 w 2552700"/>
                  <a:gd name="connsiteY6" fmla="*/ 129064 h 142875"/>
                  <a:gd name="connsiteX7" fmla="*/ 1662589 w 2552700"/>
                  <a:gd name="connsiteY7" fmla="*/ 129064 h 142875"/>
                  <a:gd name="connsiteX8" fmla="*/ 1739741 w 2552700"/>
                  <a:gd name="connsiteY8" fmla="*/ 51911 h 142875"/>
                  <a:gd name="connsiteX9" fmla="*/ 2019776 w 2552700"/>
                  <a:gd name="connsiteY9" fmla="*/ 51911 h 142875"/>
                  <a:gd name="connsiteX10" fmla="*/ 2086451 w 2552700"/>
                  <a:gd name="connsiteY10" fmla="*/ 117634 h 142875"/>
                  <a:gd name="connsiteX11" fmla="*/ 2551271 w 2552700"/>
                  <a:gd name="connsiteY11" fmla="*/ 117634 h 142875"/>
                  <a:gd name="connsiteX12" fmla="*/ 2551271 w 2552700"/>
                  <a:gd name="connsiteY12" fmla="*/ 125254 h 142875"/>
                  <a:gd name="connsiteX13" fmla="*/ 2083594 w 2552700"/>
                  <a:gd name="connsiteY13" fmla="*/ 125254 h 142875"/>
                  <a:gd name="connsiteX14" fmla="*/ 2016919 w 2552700"/>
                  <a:gd name="connsiteY14" fmla="*/ 58579 h 142875"/>
                  <a:gd name="connsiteX15" fmla="*/ 1742599 w 2552700"/>
                  <a:gd name="connsiteY15" fmla="*/ 58579 h 142875"/>
                  <a:gd name="connsiteX16" fmla="*/ 1665446 w 2552700"/>
                  <a:gd name="connsiteY16" fmla="*/ 135731 h 142875"/>
                  <a:gd name="connsiteX17" fmla="*/ 1340644 w 2552700"/>
                  <a:gd name="connsiteY17" fmla="*/ 135731 h 142875"/>
                  <a:gd name="connsiteX18" fmla="*/ 1281589 w 2552700"/>
                  <a:gd name="connsiteY18" fmla="*/ 29051 h 142875"/>
                  <a:gd name="connsiteX19" fmla="*/ 885349 w 2552700"/>
                  <a:gd name="connsiteY19" fmla="*/ 29051 h 142875"/>
                  <a:gd name="connsiteX20" fmla="*/ 816769 w 2552700"/>
                  <a:gd name="connsiteY20" fmla="*/ 134779 h 142875"/>
                  <a:gd name="connsiteX21" fmla="*/ 219551 w 2552700"/>
                  <a:gd name="connsiteY21" fmla="*/ 134779 h 142875"/>
                  <a:gd name="connsiteX22" fmla="*/ 98584 w 2552700"/>
                  <a:gd name="connsiteY22" fmla="*/ 14764 h 142875"/>
                  <a:gd name="connsiteX23" fmla="*/ 7144 w 2552700"/>
                  <a:gd name="connsiteY23" fmla="*/ 14764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552700" h="142875">
                    <a:moveTo>
                      <a:pt x="7144" y="7144"/>
                    </a:moveTo>
                    <a:lnTo>
                      <a:pt x="101441" y="7144"/>
                    </a:lnTo>
                    <a:lnTo>
                      <a:pt x="222409" y="128111"/>
                    </a:lnTo>
                    <a:lnTo>
                      <a:pt x="813911" y="128111"/>
                    </a:lnTo>
                    <a:lnTo>
                      <a:pt x="881539" y="21431"/>
                    </a:lnTo>
                    <a:lnTo>
                      <a:pt x="1284446" y="21431"/>
                    </a:lnTo>
                    <a:lnTo>
                      <a:pt x="1343501" y="129064"/>
                    </a:lnTo>
                    <a:lnTo>
                      <a:pt x="1662589" y="129064"/>
                    </a:lnTo>
                    <a:lnTo>
                      <a:pt x="1739741" y="51911"/>
                    </a:lnTo>
                    <a:lnTo>
                      <a:pt x="2019776" y="51911"/>
                    </a:lnTo>
                    <a:lnTo>
                      <a:pt x="2086451" y="117634"/>
                    </a:lnTo>
                    <a:lnTo>
                      <a:pt x="2551271" y="117634"/>
                    </a:lnTo>
                    <a:lnTo>
                      <a:pt x="2551271" y="125254"/>
                    </a:lnTo>
                    <a:lnTo>
                      <a:pt x="2083594" y="125254"/>
                    </a:lnTo>
                    <a:lnTo>
                      <a:pt x="2016919" y="58579"/>
                    </a:lnTo>
                    <a:lnTo>
                      <a:pt x="1742599" y="58579"/>
                    </a:lnTo>
                    <a:lnTo>
                      <a:pt x="1665446" y="135731"/>
                    </a:lnTo>
                    <a:lnTo>
                      <a:pt x="1340644" y="135731"/>
                    </a:lnTo>
                    <a:lnTo>
                      <a:pt x="1281589" y="29051"/>
                    </a:lnTo>
                    <a:lnTo>
                      <a:pt x="885349" y="29051"/>
                    </a:lnTo>
                    <a:lnTo>
                      <a:pt x="816769" y="134779"/>
                    </a:lnTo>
                    <a:lnTo>
                      <a:pt x="219551" y="134779"/>
                    </a:lnTo>
                    <a:lnTo>
                      <a:pt x="98584" y="14764"/>
                    </a:lnTo>
                    <a:lnTo>
                      <a:pt x="7144" y="14764"/>
                    </a:lnTo>
                    <a:close/>
                  </a:path>
                </a:pathLst>
              </a:custGeom>
              <a:grpFill/>
              <a:ln w="9525" cap="flat">
                <a:noFill/>
                <a:prstDash val="solid"/>
                <a:miter/>
              </a:ln>
            </p:spPr>
            <p:txBody>
              <a:bodyPr rtlCol="0" anchor="ctr"/>
              <a:lstStyle/>
              <a:p>
                <a:endParaRPr lang="en-US"/>
              </a:p>
            </p:txBody>
          </p:sp>
          <p:sp>
            <p:nvSpPr>
              <p:cNvPr id="222" name="Freeform: Shape 221">
                <a:extLst>
                  <a:ext uri="{FF2B5EF4-FFF2-40B4-BE49-F238E27FC236}">
                    <a16:creationId xmlns:a16="http://schemas.microsoft.com/office/drawing/2014/main" id="{F437D5C5-EE11-43BB-8CFE-7DBEE78813D0}"/>
                  </a:ext>
                </a:extLst>
              </p:cNvPr>
              <p:cNvSpPr/>
              <p:nvPr/>
            </p:nvSpPr>
            <p:spPr>
              <a:xfrm>
                <a:off x="7089934" y="3156108"/>
                <a:ext cx="38100" cy="38100"/>
              </a:xfrm>
              <a:custGeom>
                <a:avLst/>
                <a:gdLst>
                  <a:gd name="connsiteX0" fmla="*/ 20479 w 38100"/>
                  <a:gd name="connsiteY0" fmla="*/ 7144 h 38100"/>
                  <a:gd name="connsiteX1" fmla="*/ 33814 w 38100"/>
                  <a:gd name="connsiteY1" fmla="*/ 20479 h 38100"/>
                  <a:gd name="connsiteX2" fmla="*/ 20479 w 38100"/>
                  <a:gd name="connsiteY2" fmla="*/ 33814 h 38100"/>
                  <a:gd name="connsiteX3" fmla="*/ 7144 w 38100"/>
                  <a:gd name="connsiteY3" fmla="*/ 20479 h 38100"/>
                  <a:gd name="connsiteX4" fmla="*/ 20479 w 38100"/>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7144"/>
                    </a:moveTo>
                    <a:cubicBezTo>
                      <a:pt x="28099" y="7144"/>
                      <a:pt x="33814" y="12859"/>
                      <a:pt x="33814" y="20479"/>
                    </a:cubicBezTo>
                    <a:cubicBezTo>
                      <a:pt x="33814" y="28099"/>
                      <a:pt x="28099" y="33814"/>
                      <a:pt x="20479" y="33814"/>
                    </a:cubicBezTo>
                    <a:cubicBezTo>
                      <a:pt x="12859" y="33814"/>
                      <a:pt x="7144" y="28099"/>
                      <a:pt x="7144" y="20479"/>
                    </a:cubicBezTo>
                    <a:cubicBezTo>
                      <a:pt x="7144" y="13811"/>
                      <a:pt x="12859" y="7144"/>
                      <a:pt x="20479" y="7144"/>
                    </a:cubicBezTo>
                    <a:close/>
                  </a:path>
                </a:pathLst>
              </a:custGeom>
              <a:grpFill/>
              <a:ln w="9525" cap="flat">
                <a:noFill/>
                <a:prstDash val="solid"/>
                <a:miter/>
              </a:ln>
            </p:spPr>
            <p:txBody>
              <a:bodyPr rtlCol="0" anchor="ctr"/>
              <a:lstStyle/>
              <a:p>
                <a:endParaRPr lang="en-US"/>
              </a:p>
            </p:txBody>
          </p:sp>
          <p:sp>
            <p:nvSpPr>
              <p:cNvPr id="223" name="Freeform: Shape 222">
                <a:extLst>
                  <a:ext uri="{FF2B5EF4-FFF2-40B4-BE49-F238E27FC236}">
                    <a16:creationId xmlns:a16="http://schemas.microsoft.com/office/drawing/2014/main" id="{33FE45C7-7743-4279-9599-CFD691F575D1}"/>
                  </a:ext>
                </a:extLst>
              </p:cNvPr>
              <p:cNvSpPr/>
              <p:nvPr/>
            </p:nvSpPr>
            <p:spPr>
              <a:xfrm>
                <a:off x="4546759" y="3045618"/>
                <a:ext cx="38100" cy="38100"/>
              </a:xfrm>
              <a:custGeom>
                <a:avLst/>
                <a:gdLst>
                  <a:gd name="connsiteX0" fmla="*/ 20479 w 38100"/>
                  <a:gd name="connsiteY0" fmla="*/ 7144 h 38100"/>
                  <a:gd name="connsiteX1" fmla="*/ 7144 w 38100"/>
                  <a:gd name="connsiteY1" fmla="*/ 20479 h 38100"/>
                  <a:gd name="connsiteX2" fmla="*/ 20479 w 38100"/>
                  <a:gd name="connsiteY2" fmla="*/ 33814 h 38100"/>
                  <a:gd name="connsiteX3" fmla="*/ 33814 w 38100"/>
                  <a:gd name="connsiteY3" fmla="*/ 20479 h 38100"/>
                  <a:gd name="connsiteX4" fmla="*/ 20479 w 38100"/>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7144"/>
                    </a:moveTo>
                    <a:cubicBezTo>
                      <a:pt x="12859" y="7144"/>
                      <a:pt x="7144" y="12859"/>
                      <a:pt x="7144" y="20479"/>
                    </a:cubicBezTo>
                    <a:cubicBezTo>
                      <a:pt x="7144" y="28099"/>
                      <a:pt x="12859" y="33814"/>
                      <a:pt x="20479" y="33814"/>
                    </a:cubicBezTo>
                    <a:cubicBezTo>
                      <a:pt x="28099" y="33814"/>
                      <a:pt x="33814" y="28099"/>
                      <a:pt x="33814" y="20479"/>
                    </a:cubicBezTo>
                    <a:cubicBezTo>
                      <a:pt x="33814" y="12859"/>
                      <a:pt x="28099" y="7144"/>
                      <a:pt x="20479" y="7144"/>
                    </a:cubicBezTo>
                    <a:close/>
                  </a:path>
                </a:pathLst>
              </a:custGeom>
              <a:grpFill/>
              <a:ln w="9525" cap="flat">
                <a:noFill/>
                <a:prstDash val="solid"/>
                <a:miter/>
              </a:ln>
            </p:spPr>
            <p:txBody>
              <a:bodyPr rtlCol="0" anchor="ctr"/>
              <a:lstStyle/>
              <a:p>
                <a:endParaRPr lang="en-US"/>
              </a:p>
            </p:txBody>
          </p:sp>
          <p:sp>
            <p:nvSpPr>
              <p:cNvPr id="224" name="Freeform: Shape 223">
                <a:extLst>
                  <a:ext uri="{FF2B5EF4-FFF2-40B4-BE49-F238E27FC236}">
                    <a16:creationId xmlns:a16="http://schemas.microsoft.com/office/drawing/2014/main" id="{45E7C030-0A90-48B1-937F-520F1B809878}"/>
                  </a:ext>
                </a:extLst>
              </p:cNvPr>
              <p:cNvSpPr/>
              <p:nvPr/>
            </p:nvSpPr>
            <p:spPr>
              <a:xfrm>
                <a:off x="6717506" y="3322796"/>
                <a:ext cx="676275" cy="104775"/>
              </a:xfrm>
              <a:custGeom>
                <a:avLst/>
                <a:gdLst>
                  <a:gd name="connsiteX0" fmla="*/ 668179 w 676275"/>
                  <a:gd name="connsiteY0" fmla="*/ 7144 h 104775"/>
                  <a:gd name="connsiteX1" fmla="*/ 672941 w 676275"/>
                  <a:gd name="connsiteY1" fmla="*/ 11906 h 104775"/>
                  <a:gd name="connsiteX2" fmla="*/ 471964 w 676275"/>
                  <a:gd name="connsiteY2" fmla="*/ 98584 h 104775"/>
                  <a:gd name="connsiteX3" fmla="*/ 7144 w 676275"/>
                  <a:gd name="connsiteY3" fmla="*/ 98584 h 104775"/>
                  <a:gd name="connsiteX4" fmla="*/ 7144 w 676275"/>
                  <a:gd name="connsiteY4" fmla="*/ 91916 h 104775"/>
                  <a:gd name="connsiteX5" fmla="*/ 469106 w 676275"/>
                  <a:gd name="connsiteY5" fmla="*/ 91916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6275" h="104775">
                    <a:moveTo>
                      <a:pt x="668179" y="7144"/>
                    </a:moveTo>
                    <a:lnTo>
                      <a:pt x="672941" y="11906"/>
                    </a:lnTo>
                    <a:lnTo>
                      <a:pt x="471964" y="98584"/>
                    </a:lnTo>
                    <a:lnTo>
                      <a:pt x="7144" y="98584"/>
                    </a:lnTo>
                    <a:lnTo>
                      <a:pt x="7144" y="91916"/>
                    </a:lnTo>
                    <a:lnTo>
                      <a:pt x="469106" y="91916"/>
                    </a:lnTo>
                    <a:close/>
                  </a:path>
                </a:pathLst>
              </a:custGeom>
              <a:grpFill/>
              <a:ln w="9525" cap="flat">
                <a:noFill/>
                <a:prstDash val="solid"/>
                <a:miter/>
              </a:ln>
            </p:spPr>
            <p:txBody>
              <a:bodyPr rtlCol="0" anchor="ctr"/>
              <a:lstStyle/>
              <a:p>
                <a:endParaRPr lang="en-US"/>
              </a:p>
            </p:txBody>
          </p:sp>
          <p:sp>
            <p:nvSpPr>
              <p:cNvPr id="225" name="Freeform: Shape 224">
                <a:extLst>
                  <a:ext uri="{FF2B5EF4-FFF2-40B4-BE49-F238E27FC236}">
                    <a16:creationId xmlns:a16="http://schemas.microsoft.com/office/drawing/2014/main" id="{3BDE8C39-785B-46E9-AAF8-25DC0AC99815}"/>
                  </a:ext>
                </a:extLst>
              </p:cNvPr>
              <p:cNvSpPr/>
              <p:nvPr/>
            </p:nvSpPr>
            <p:spPr>
              <a:xfrm>
                <a:off x="6705124" y="3398043"/>
                <a:ext cx="38100" cy="38100"/>
              </a:xfrm>
              <a:custGeom>
                <a:avLst/>
                <a:gdLst>
                  <a:gd name="connsiteX0" fmla="*/ 20479 w 38100"/>
                  <a:gd name="connsiteY0" fmla="*/ 7144 h 38100"/>
                  <a:gd name="connsiteX1" fmla="*/ 7144 w 38100"/>
                  <a:gd name="connsiteY1" fmla="*/ 20479 h 38100"/>
                  <a:gd name="connsiteX2" fmla="*/ 20479 w 38100"/>
                  <a:gd name="connsiteY2" fmla="*/ 33814 h 38100"/>
                  <a:gd name="connsiteX3" fmla="*/ 33814 w 38100"/>
                  <a:gd name="connsiteY3" fmla="*/ 20479 h 38100"/>
                  <a:gd name="connsiteX4" fmla="*/ 20479 w 38100"/>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7144"/>
                    </a:moveTo>
                    <a:cubicBezTo>
                      <a:pt x="12859" y="7144"/>
                      <a:pt x="7144" y="12859"/>
                      <a:pt x="7144" y="20479"/>
                    </a:cubicBezTo>
                    <a:cubicBezTo>
                      <a:pt x="7144" y="28099"/>
                      <a:pt x="12859" y="33814"/>
                      <a:pt x="20479" y="33814"/>
                    </a:cubicBezTo>
                    <a:cubicBezTo>
                      <a:pt x="28099" y="33814"/>
                      <a:pt x="33814" y="28099"/>
                      <a:pt x="33814" y="20479"/>
                    </a:cubicBezTo>
                    <a:cubicBezTo>
                      <a:pt x="33814" y="12859"/>
                      <a:pt x="27146" y="7144"/>
                      <a:pt x="20479" y="7144"/>
                    </a:cubicBezTo>
                    <a:close/>
                  </a:path>
                </a:pathLst>
              </a:custGeom>
              <a:grpFill/>
              <a:ln w="9525" cap="flat">
                <a:noFill/>
                <a:prstDash val="solid"/>
                <a:miter/>
              </a:ln>
            </p:spPr>
            <p:txBody>
              <a:bodyPr rtlCol="0" anchor="ctr"/>
              <a:lstStyle/>
              <a:p>
                <a:endParaRPr lang="en-US"/>
              </a:p>
            </p:txBody>
          </p:sp>
          <p:sp>
            <p:nvSpPr>
              <p:cNvPr id="226" name="Freeform: Shape 225">
                <a:extLst>
                  <a:ext uri="{FF2B5EF4-FFF2-40B4-BE49-F238E27FC236}">
                    <a16:creationId xmlns:a16="http://schemas.microsoft.com/office/drawing/2014/main" id="{7D2CFCE9-4A76-4C62-AE02-F9D55300A536}"/>
                  </a:ext>
                </a:extLst>
              </p:cNvPr>
              <p:cNvSpPr/>
              <p:nvPr/>
            </p:nvSpPr>
            <p:spPr>
              <a:xfrm>
                <a:off x="5352574" y="3312318"/>
                <a:ext cx="742950" cy="485775"/>
              </a:xfrm>
              <a:custGeom>
                <a:avLst/>
                <a:gdLst>
                  <a:gd name="connsiteX0" fmla="*/ 736759 w 742950"/>
                  <a:gd name="connsiteY0" fmla="*/ 7144 h 485775"/>
                  <a:gd name="connsiteX1" fmla="*/ 741521 w 742950"/>
                  <a:gd name="connsiteY1" fmla="*/ 11906 h 485775"/>
                  <a:gd name="connsiteX2" fmla="*/ 552926 w 742950"/>
                  <a:gd name="connsiteY2" fmla="*/ 200501 h 485775"/>
                  <a:gd name="connsiteX3" fmla="*/ 260509 w 742950"/>
                  <a:gd name="connsiteY3" fmla="*/ 200501 h 485775"/>
                  <a:gd name="connsiteX4" fmla="*/ 12859 w 742950"/>
                  <a:gd name="connsiteY4" fmla="*/ 486251 h 485775"/>
                  <a:gd name="connsiteX5" fmla="*/ 7144 w 742950"/>
                  <a:gd name="connsiteY5" fmla="*/ 481489 h 485775"/>
                  <a:gd name="connsiteX6" fmla="*/ 257651 w 742950"/>
                  <a:gd name="connsiteY6" fmla="*/ 192881 h 485775"/>
                  <a:gd name="connsiteX7" fmla="*/ 550069 w 742950"/>
                  <a:gd name="connsiteY7" fmla="*/ 192881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2950" h="485775">
                    <a:moveTo>
                      <a:pt x="736759" y="7144"/>
                    </a:moveTo>
                    <a:lnTo>
                      <a:pt x="741521" y="11906"/>
                    </a:lnTo>
                    <a:lnTo>
                      <a:pt x="552926" y="200501"/>
                    </a:lnTo>
                    <a:lnTo>
                      <a:pt x="260509" y="200501"/>
                    </a:lnTo>
                    <a:lnTo>
                      <a:pt x="12859" y="486251"/>
                    </a:lnTo>
                    <a:lnTo>
                      <a:pt x="7144" y="481489"/>
                    </a:lnTo>
                    <a:lnTo>
                      <a:pt x="257651" y="192881"/>
                    </a:lnTo>
                    <a:lnTo>
                      <a:pt x="550069" y="192881"/>
                    </a:lnTo>
                    <a:close/>
                  </a:path>
                </a:pathLst>
              </a:custGeom>
              <a:grpFill/>
              <a:ln w="9525" cap="flat">
                <a:noFill/>
                <a:prstDash val="solid"/>
                <a:miter/>
              </a:ln>
            </p:spPr>
            <p:txBody>
              <a:bodyPr rtlCol="0" anchor="ctr"/>
              <a:lstStyle/>
              <a:p>
                <a:endParaRPr lang="en-US"/>
              </a:p>
            </p:txBody>
          </p:sp>
          <p:sp>
            <p:nvSpPr>
              <p:cNvPr id="227" name="Freeform: Shape 226">
                <a:extLst>
                  <a:ext uri="{FF2B5EF4-FFF2-40B4-BE49-F238E27FC236}">
                    <a16:creationId xmlns:a16="http://schemas.microsoft.com/office/drawing/2014/main" id="{47D7CCC1-F881-4ABF-AECE-D88DBC94EFC3}"/>
                  </a:ext>
                </a:extLst>
              </p:cNvPr>
              <p:cNvSpPr/>
              <p:nvPr/>
            </p:nvSpPr>
            <p:spPr>
              <a:xfrm>
                <a:off x="5343287" y="3775709"/>
                <a:ext cx="38100" cy="38100"/>
              </a:xfrm>
              <a:custGeom>
                <a:avLst/>
                <a:gdLst>
                  <a:gd name="connsiteX0" fmla="*/ 10716 w 38100"/>
                  <a:gd name="connsiteY0" fmla="*/ 11430 h 38100"/>
                  <a:gd name="connsiteX1" fmla="*/ 10716 w 38100"/>
                  <a:gd name="connsiteY1" fmla="*/ 30480 h 38100"/>
                  <a:gd name="connsiteX2" fmla="*/ 29766 w 38100"/>
                  <a:gd name="connsiteY2" fmla="*/ 30480 h 38100"/>
                  <a:gd name="connsiteX3" fmla="*/ 29766 w 38100"/>
                  <a:gd name="connsiteY3" fmla="*/ 11430 h 38100"/>
                  <a:gd name="connsiteX4" fmla="*/ 10716 w 38100"/>
                  <a:gd name="connsiteY4" fmla="*/ 11430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0716" y="11430"/>
                    </a:moveTo>
                    <a:cubicBezTo>
                      <a:pt x="5953" y="16192"/>
                      <a:pt x="5953" y="24765"/>
                      <a:pt x="10716" y="30480"/>
                    </a:cubicBezTo>
                    <a:cubicBezTo>
                      <a:pt x="15478" y="35242"/>
                      <a:pt x="24051" y="35242"/>
                      <a:pt x="29766" y="30480"/>
                    </a:cubicBezTo>
                    <a:cubicBezTo>
                      <a:pt x="34528" y="25717"/>
                      <a:pt x="34528" y="17145"/>
                      <a:pt x="29766" y="11430"/>
                    </a:cubicBezTo>
                    <a:cubicBezTo>
                      <a:pt x="24051" y="5715"/>
                      <a:pt x="15478" y="5715"/>
                      <a:pt x="10716" y="11430"/>
                    </a:cubicBezTo>
                    <a:close/>
                  </a:path>
                </a:pathLst>
              </a:custGeom>
              <a:grpFill/>
              <a:ln w="9525" cap="flat">
                <a:noFill/>
                <a:prstDash val="solid"/>
                <a:miter/>
              </a:ln>
            </p:spPr>
            <p:txBody>
              <a:bodyPr rtlCol="0" anchor="ctr"/>
              <a:lstStyle/>
              <a:p>
                <a:endParaRPr lang="en-US"/>
              </a:p>
            </p:txBody>
          </p:sp>
          <p:sp>
            <p:nvSpPr>
              <p:cNvPr id="228" name="Freeform: Shape 227">
                <a:extLst>
                  <a:ext uri="{FF2B5EF4-FFF2-40B4-BE49-F238E27FC236}">
                    <a16:creationId xmlns:a16="http://schemas.microsoft.com/office/drawing/2014/main" id="{94DE75FA-1EA7-4225-A57A-25BDB3025F06}"/>
                  </a:ext>
                </a:extLst>
              </p:cNvPr>
              <p:cNvSpPr/>
              <p:nvPr/>
            </p:nvSpPr>
            <p:spPr>
              <a:xfrm>
                <a:off x="4308634" y="3313271"/>
                <a:ext cx="1009650" cy="428625"/>
              </a:xfrm>
              <a:custGeom>
                <a:avLst/>
                <a:gdLst>
                  <a:gd name="connsiteX0" fmla="*/ 998696 w 1009650"/>
                  <a:gd name="connsiteY0" fmla="*/ 7144 h 428625"/>
                  <a:gd name="connsiteX1" fmla="*/ 1003459 w 1009650"/>
                  <a:gd name="connsiteY1" fmla="*/ 11906 h 428625"/>
                  <a:gd name="connsiteX2" fmla="*/ 912019 w 1009650"/>
                  <a:gd name="connsiteY2" fmla="*/ 103346 h 428625"/>
                  <a:gd name="connsiteX3" fmla="*/ 646271 w 1009650"/>
                  <a:gd name="connsiteY3" fmla="*/ 103346 h 428625"/>
                  <a:gd name="connsiteX4" fmla="*/ 476726 w 1009650"/>
                  <a:gd name="connsiteY4" fmla="*/ 272891 h 428625"/>
                  <a:gd name="connsiteX5" fmla="*/ 306229 w 1009650"/>
                  <a:gd name="connsiteY5" fmla="*/ 272891 h 428625"/>
                  <a:gd name="connsiteX6" fmla="*/ 11906 w 1009650"/>
                  <a:gd name="connsiteY6" fmla="*/ 424339 h 428625"/>
                  <a:gd name="connsiteX7" fmla="*/ 7144 w 1009650"/>
                  <a:gd name="connsiteY7" fmla="*/ 419576 h 428625"/>
                  <a:gd name="connsiteX8" fmla="*/ 303371 w 1009650"/>
                  <a:gd name="connsiteY8" fmla="*/ 266224 h 428625"/>
                  <a:gd name="connsiteX9" fmla="*/ 472916 w 1009650"/>
                  <a:gd name="connsiteY9" fmla="*/ 266224 h 428625"/>
                  <a:gd name="connsiteX10" fmla="*/ 643414 w 1009650"/>
                  <a:gd name="connsiteY10" fmla="*/ 95726 h 428625"/>
                  <a:gd name="connsiteX11" fmla="*/ 909161 w 1009650"/>
                  <a:gd name="connsiteY11" fmla="*/ 95726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650" h="428625">
                    <a:moveTo>
                      <a:pt x="998696" y="7144"/>
                    </a:moveTo>
                    <a:lnTo>
                      <a:pt x="1003459" y="11906"/>
                    </a:lnTo>
                    <a:lnTo>
                      <a:pt x="912019" y="103346"/>
                    </a:lnTo>
                    <a:lnTo>
                      <a:pt x="646271" y="103346"/>
                    </a:lnTo>
                    <a:lnTo>
                      <a:pt x="476726" y="272891"/>
                    </a:lnTo>
                    <a:lnTo>
                      <a:pt x="306229" y="272891"/>
                    </a:lnTo>
                    <a:lnTo>
                      <a:pt x="11906" y="424339"/>
                    </a:lnTo>
                    <a:lnTo>
                      <a:pt x="7144" y="419576"/>
                    </a:lnTo>
                    <a:lnTo>
                      <a:pt x="303371" y="266224"/>
                    </a:lnTo>
                    <a:lnTo>
                      <a:pt x="472916" y="266224"/>
                    </a:lnTo>
                    <a:lnTo>
                      <a:pt x="643414" y="95726"/>
                    </a:lnTo>
                    <a:lnTo>
                      <a:pt x="909161" y="95726"/>
                    </a:lnTo>
                    <a:close/>
                  </a:path>
                </a:pathLst>
              </a:custGeom>
              <a:grpFill/>
              <a:ln w="9525" cap="flat">
                <a:noFill/>
                <a:prstDash val="solid"/>
                <a:miter/>
              </a:ln>
            </p:spPr>
            <p:txBody>
              <a:bodyPr rtlCol="0" anchor="ctr"/>
              <a:lstStyle/>
              <a:p>
                <a:endParaRPr lang="en-US"/>
              </a:p>
            </p:txBody>
          </p:sp>
          <p:sp>
            <p:nvSpPr>
              <p:cNvPr id="229" name="Freeform: Shape 228">
                <a:extLst>
                  <a:ext uri="{FF2B5EF4-FFF2-40B4-BE49-F238E27FC236}">
                    <a16:creationId xmlns:a16="http://schemas.microsoft.com/office/drawing/2014/main" id="{1279FD30-1398-48F1-A83C-BFF6FCEC5138}"/>
                  </a:ext>
                </a:extLst>
              </p:cNvPr>
              <p:cNvSpPr/>
              <p:nvPr/>
            </p:nvSpPr>
            <p:spPr>
              <a:xfrm>
                <a:off x="4298394" y="3714511"/>
                <a:ext cx="38100" cy="38100"/>
              </a:xfrm>
              <a:custGeom>
                <a:avLst/>
                <a:gdLst>
                  <a:gd name="connsiteX0" fmla="*/ 10716 w 38100"/>
                  <a:gd name="connsiteY0" fmla="*/ 10716 h 38100"/>
                  <a:gd name="connsiteX1" fmla="*/ 10716 w 38100"/>
                  <a:gd name="connsiteY1" fmla="*/ 29766 h 38100"/>
                  <a:gd name="connsiteX2" fmla="*/ 29766 w 38100"/>
                  <a:gd name="connsiteY2" fmla="*/ 29766 h 38100"/>
                  <a:gd name="connsiteX3" fmla="*/ 29766 w 38100"/>
                  <a:gd name="connsiteY3" fmla="*/ 10716 h 38100"/>
                  <a:gd name="connsiteX4" fmla="*/ 10716 w 38100"/>
                  <a:gd name="connsiteY4" fmla="*/ 1071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0716" y="10716"/>
                    </a:moveTo>
                    <a:cubicBezTo>
                      <a:pt x="5953" y="15478"/>
                      <a:pt x="5953" y="24051"/>
                      <a:pt x="10716" y="29766"/>
                    </a:cubicBezTo>
                    <a:cubicBezTo>
                      <a:pt x="15478" y="34528"/>
                      <a:pt x="24051" y="34528"/>
                      <a:pt x="29766" y="29766"/>
                    </a:cubicBezTo>
                    <a:cubicBezTo>
                      <a:pt x="34528" y="25003"/>
                      <a:pt x="34528" y="16431"/>
                      <a:pt x="29766" y="10716"/>
                    </a:cubicBezTo>
                    <a:cubicBezTo>
                      <a:pt x="24051" y="5953"/>
                      <a:pt x="15478" y="5953"/>
                      <a:pt x="10716" y="10716"/>
                    </a:cubicBezTo>
                    <a:close/>
                  </a:path>
                </a:pathLst>
              </a:custGeom>
              <a:grpFill/>
              <a:ln w="9525" cap="flat">
                <a:noFill/>
                <a:prstDash val="solid"/>
                <a:miter/>
              </a:ln>
            </p:spPr>
            <p:txBody>
              <a:bodyPr rtlCol="0" anchor="ctr"/>
              <a:lstStyle/>
              <a:p>
                <a:endParaRPr lang="en-US"/>
              </a:p>
            </p:txBody>
          </p:sp>
          <p:sp>
            <p:nvSpPr>
              <p:cNvPr id="230" name="Freeform: Shape 229">
                <a:extLst>
                  <a:ext uri="{FF2B5EF4-FFF2-40B4-BE49-F238E27FC236}">
                    <a16:creationId xmlns:a16="http://schemas.microsoft.com/office/drawing/2014/main" id="{CBC0C658-C164-4854-B9CA-48A7CE2357A7}"/>
                  </a:ext>
                </a:extLst>
              </p:cNvPr>
              <p:cNvSpPr/>
              <p:nvPr/>
            </p:nvSpPr>
            <p:spPr>
              <a:xfrm>
                <a:off x="6470809" y="3194208"/>
                <a:ext cx="1076325" cy="142875"/>
              </a:xfrm>
              <a:custGeom>
                <a:avLst/>
                <a:gdLst>
                  <a:gd name="connsiteX0" fmla="*/ 11906 w 1076325"/>
                  <a:gd name="connsiteY0" fmla="*/ 7144 h 142875"/>
                  <a:gd name="connsiteX1" fmla="*/ 50006 w 1076325"/>
                  <a:gd name="connsiteY1" fmla="*/ 45244 h 142875"/>
                  <a:gd name="connsiteX2" fmla="*/ 869156 w 1076325"/>
                  <a:gd name="connsiteY2" fmla="*/ 45244 h 142875"/>
                  <a:gd name="connsiteX3" fmla="*/ 1072991 w 1076325"/>
                  <a:gd name="connsiteY3" fmla="*/ 134779 h 142875"/>
                  <a:gd name="connsiteX4" fmla="*/ 1068229 w 1076325"/>
                  <a:gd name="connsiteY4" fmla="*/ 139541 h 142875"/>
                  <a:gd name="connsiteX5" fmla="*/ 866299 w 1076325"/>
                  <a:gd name="connsiteY5" fmla="*/ 51911 h 142875"/>
                  <a:gd name="connsiteX6" fmla="*/ 47149 w 1076325"/>
                  <a:gd name="connsiteY6" fmla="*/ 51911 h 142875"/>
                  <a:gd name="connsiteX7" fmla="*/ 7144 w 1076325"/>
                  <a:gd name="connsiteY7" fmla="*/ 12859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6325" h="142875">
                    <a:moveTo>
                      <a:pt x="11906" y="7144"/>
                    </a:moveTo>
                    <a:lnTo>
                      <a:pt x="50006" y="45244"/>
                    </a:lnTo>
                    <a:lnTo>
                      <a:pt x="869156" y="45244"/>
                    </a:lnTo>
                    <a:lnTo>
                      <a:pt x="1072991" y="134779"/>
                    </a:lnTo>
                    <a:lnTo>
                      <a:pt x="1068229" y="139541"/>
                    </a:lnTo>
                    <a:lnTo>
                      <a:pt x="866299" y="51911"/>
                    </a:lnTo>
                    <a:lnTo>
                      <a:pt x="47149" y="51911"/>
                    </a:lnTo>
                    <a:lnTo>
                      <a:pt x="7144" y="12859"/>
                    </a:lnTo>
                    <a:close/>
                  </a:path>
                </a:pathLst>
              </a:custGeom>
              <a:grpFill/>
              <a:ln w="9525" cap="flat">
                <a:noFill/>
                <a:prstDash val="solid"/>
                <a:miter/>
              </a:ln>
            </p:spPr>
            <p:txBody>
              <a:bodyPr rtlCol="0" anchor="ctr"/>
              <a:lstStyle/>
              <a:p>
                <a:endParaRPr lang="en-US"/>
              </a:p>
            </p:txBody>
          </p:sp>
          <p:sp>
            <p:nvSpPr>
              <p:cNvPr id="231" name="Freeform: Shape 230">
                <a:extLst>
                  <a:ext uri="{FF2B5EF4-FFF2-40B4-BE49-F238E27FC236}">
                    <a16:creationId xmlns:a16="http://schemas.microsoft.com/office/drawing/2014/main" id="{CDD35EAA-05AE-467C-8616-2A559406A9B3}"/>
                  </a:ext>
                </a:extLst>
              </p:cNvPr>
              <p:cNvSpPr/>
              <p:nvPr/>
            </p:nvSpPr>
            <p:spPr>
              <a:xfrm>
                <a:off x="6460569" y="3184921"/>
                <a:ext cx="38100" cy="38100"/>
              </a:xfrm>
              <a:custGeom>
                <a:avLst/>
                <a:gdLst>
                  <a:gd name="connsiteX0" fmla="*/ 29766 w 38100"/>
                  <a:gd name="connsiteY0" fmla="*/ 10716 h 38100"/>
                  <a:gd name="connsiteX1" fmla="*/ 10716 w 38100"/>
                  <a:gd name="connsiteY1" fmla="*/ 10716 h 38100"/>
                  <a:gd name="connsiteX2" fmla="*/ 10716 w 38100"/>
                  <a:gd name="connsiteY2" fmla="*/ 29766 h 38100"/>
                  <a:gd name="connsiteX3" fmla="*/ 29766 w 38100"/>
                  <a:gd name="connsiteY3" fmla="*/ 29766 h 38100"/>
                  <a:gd name="connsiteX4" fmla="*/ 29766 w 38100"/>
                  <a:gd name="connsiteY4" fmla="*/ 1071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9766" y="10716"/>
                    </a:moveTo>
                    <a:cubicBezTo>
                      <a:pt x="25003" y="5953"/>
                      <a:pt x="16431" y="5953"/>
                      <a:pt x="10716" y="10716"/>
                    </a:cubicBezTo>
                    <a:cubicBezTo>
                      <a:pt x="5953" y="15478"/>
                      <a:pt x="5953" y="24051"/>
                      <a:pt x="10716" y="29766"/>
                    </a:cubicBezTo>
                    <a:cubicBezTo>
                      <a:pt x="15478" y="34528"/>
                      <a:pt x="24051" y="34528"/>
                      <a:pt x="29766" y="29766"/>
                    </a:cubicBezTo>
                    <a:cubicBezTo>
                      <a:pt x="34528" y="24051"/>
                      <a:pt x="34528" y="15478"/>
                      <a:pt x="29766" y="10716"/>
                    </a:cubicBezTo>
                    <a:close/>
                  </a:path>
                </a:pathLst>
              </a:custGeom>
              <a:grpFill/>
              <a:ln w="9525" cap="flat">
                <a:noFill/>
                <a:prstDash val="solid"/>
                <a:miter/>
              </a:ln>
            </p:spPr>
            <p:txBody>
              <a:bodyPr rtlCol="0" anchor="ctr"/>
              <a:lstStyle/>
              <a:p>
                <a:endParaRPr lang="en-US"/>
              </a:p>
            </p:txBody>
          </p:sp>
          <p:sp>
            <p:nvSpPr>
              <p:cNvPr id="232" name="Freeform: Shape 231">
                <a:extLst>
                  <a:ext uri="{FF2B5EF4-FFF2-40B4-BE49-F238E27FC236}">
                    <a16:creationId xmlns:a16="http://schemas.microsoft.com/office/drawing/2014/main" id="{C293E587-D473-40B1-9D2C-47C318FDEB18}"/>
                  </a:ext>
                </a:extLst>
              </p:cNvPr>
              <p:cNvSpPr/>
              <p:nvPr/>
            </p:nvSpPr>
            <p:spPr>
              <a:xfrm>
                <a:off x="5156359" y="3240881"/>
                <a:ext cx="590550" cy="190500"/>
              </a:xfrm>
              <a:custGeom>
                <a:avLst/>
                <a:gdLst>
                  <a:gd name="connsiteX0" fmla="*/ 7144 w 590550"/>
                  <a:gd name="connsiteY0" fmla="*/ 7144 h 190500"/>
                  <a:gd name="connsiteX1" fmla="*/ 408146 w 590550"/>
                  <a:gd name="connsiteY1" fmla="*/ 7144 h 190500"/>
                  <a:gd name="connsiteX2" fmla="*/ 585311 w 590550"/>
                  <a:gd name="connsiteY2" fmla="*/ 184309 h 190500"/>
                  <a:gd name="connsiteX3" fmla="*/ 580549 w 590550"/>
                  <a:gd name="connsiteY3" fmla="*/ 189071 h 190500"/>
                  <a:gd name="connsiteX4" fmla="*/ 405289 w 590550"/>
                  <a:gd name="connsiteY4" fmla="*/ 13811 h 190500"/>
                  <a:gd name="connsiteX5" fmla="*/ 7144 w 590550"/>
                  <a:gd name="connsiteY5" fmla="*/ 13811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550" h="190500">
                    <a:moveTo>
                      <a:pt x="7144" y="7144"/>
                    </a:moveTo>
                    <a:lnTo>
                      <a:pt x="408146" y="7144"/>
                    </a:lnTo>
                    <a:lnTo>
                      <a:pt x="585311" y="184309"/>
                    </a:lnTo>
                    <a:lnTo>
                      <a:pt x="580549" y="189071"/>
                    </a:lnTo>
                    <a:lnTo>
                      <a:pt x="405289" y="13811"/>
                    </a:lnTo>
                    <a:lnTo>
                      <a:pt x="7144" y="13811"/>
                    </a:lnTo>
                    <a:close/>
                  </a:path>
                </a:pathLst>
              </a:custGeom>
              <a:grpFill/>
              <a:ln w="9525" cap="flat">
                <a:noFill/>
                <a:prstDash val="solid"/>
                <a:miter/>
              </a:ln>
            </p:spPr>
            <p:txBody>
              <a:bodyPr rtlCol="0" anchor="ctr"/>
              <a:lstStyle/>
              <a:p>
                <a:endParaRPr lang="en-US"/>
              </a:p>
            </p:txBody>
          </p:sp>
          <p:sp>
            <p:nvSpPr>
              <p:cNvPr id="233" name="Freeform: Shape 232">
                <a:extLst>
                  <a:ext uri="{FF2B5EF4-FFF2-40B4-BE49-F238E27FC236}">
                    <a16:creationId xmlns:a16="http://schemas.microsoft.com/office/drawing/2014/main" id="{28CFF37B-A016-4F71-A8E3-FBFE29F03E9B}"/>
                  </a:ext>
                </a:extLst>
              </p:cNvPr>
              <p:cNvSpPr/>
              <p:nvPr/>
            </p:nvSpPr>
            <p:spPr>
              <a:xfrm>
                <a:off x="5134451" y="3231356"/>
                <a:ext cx="38100" cy="38100"/>
              </a:xfrm>
              <a:custGeom>
                <a:avLst/>
                <a:gdLst>
                  <a:gd name="connsiteX0" fmla="*/ 20479 w 38100"/>
                  <a:gd name="connsiteY0" fmla="*/ 7144 h 38100"/>
                  <a:gd name="connsiteX1" fmla="*/ 7144 w 38100"/>
                  <a:gd name="connsiteY1" fmla="*/ 20479 h 38100"/>
                  <a:gd name="connsiteX2" fmla="*/ 20479 w 38100"/>
                  <a:gd name="connsiteY2" fmla="*/ 33814 h 38100"/>
                  <a:gd name="connsiteX3" fmla="*/ 33814 w 38100"/>
                  <a:gd name="connsiteY3" fmla="*/ 20479 h 38100"/>
                  <a:gd name="connsiteX4" fmla="*/ 20479 w 38100"/>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7144"/>
                    </a:moveTo>
                    <a:cubicBezTo>
                      <a:pt x="12859" y="7144"/>
                      <a:pt x="7144" y="12859"/>
                      <a:pt x="7144" y="20479"/>
                    </a:cubicBezTo>
                    <a:cubicBezTo>
                      <a:pt x="7144" y="28099"/>
                      <a:pt x="12859" y="33814"/>
                      <a:pt x="20479" y="33814"/>
                    </a:cubicBezTo>
                    <a:cubicBezTo>
                      <a:pt x="28099" y="33814"/>
                      <a:pt x="33814" y="28099"/>
                      <a:pt x="33814" y="20479"/>
                    </a:cubicBezTo>
                    <a:cubicBezTo>
                      <a:pt x="33814" y="12859"/>
                      <a:pt x="28099" y="7144"/>
                      <a:pt x="20479" y="7144"/>
                    </a:cubicBezTo>
                    <a:close/>
                  </a:path>
                </a:pathLst>
              </a:custGeom>
              <a:grpFill/>
              <a:ln w="9525" cap="flat">
                <a:noFill/>
                <a:prstDash val="solid"/>
                <a:miter/>
              </a:ln>
            </p:spPr>
            <p:txBody>
              <a:bodyPr rtlCol="0" anchor="ctr"/>
              <a:lstStyle/>
              <a:p>
                <a:endParaRPr lang="en-US"/>
              </a:p>
            </p:txBody>
          </p:sp>
          <p:sp>
            <p:nvSpPr>
              <p:cNvPr id="234" name="Freeform: Shape 233">
                <a:extLst>
                  <a:ext uri="{FF2B5EF4-FFF2-40B4-BE49-F238E27FC236}">
                    <a16:creationId xmlns:a16="http://schemas.microsoft.com/office/drawing/2014/main" id="{85DBBD7E-EF65-47BA-80AE-33A4F245A9E6}"/>
                  </a:ext>
                </a:extLst>
              </p:cNvPr>
              <p:cNvSpPr/>
              <p:nvPr/>
            </p:nvSpPr>
            <p:spPr>
              <a:xfrm>
                <a:off x="5084921" y="3377088"/>
                <a:ext cx="361950" cy="95250"/>
              </a:xfrm>
              <a:custGeom>
                <a:avLst/>
                <a:gdLst>
                  <a:gd name="connsiteX0" fmla="*/ 349091 w 361950"/>
                  <a:gd name="connsiteY0" fmla="*/ 7144 h 95250"/>
                  <a:gd name="connsiteX1" fmla="*/ 354806 w 361950"/>
                  <a:gd name="connsiteY1" fmla="*/ 12859 h 95250"/>
                  <a:gd name="connsiteX2" fmla="*/ 271939 w 361950"/>
                  <a:gd name="connsiteY2" fmla="*/ 94774 h 95250"/>
                  <a:gd name="connsiteX3" fmla="*/ 7144 w 361950"/>
                  <a:gd name="connsiteY3" fmla="*/ 94774 h 95250"/>
                  <a:gd name="connsiteX4" fmla="*/ 7144 w 361950"/>
                  <a:gd name="connsiteY4" fmla="*/ 88106 h 95250"/>
                  <a:gd name="connsiteX5" fmla="*/ 269081 w 361950"/>
                  <a:gd name="connsiteY5" fmla="*/ 88106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1950" h="95250">
                    <a:moveTo>
                      <a:pt x="349091" y="7144"/>
                    </a:moveTo>
                    <a:lnTo>
                      <a:pt x="354806" y="12859"/>
                    </a:lnTo>
                    <a:lnTo>
                      <a:pt x="271939" y="94774"/>
                    </a:lnTo>
                    <a:lnTo>
                      <a:pt x="7144" y="94774"/>
                    </a:lnTo>
                    <a:lnTo>
                      <a:pt x="7144" y="88106"/>
                    </a:lnTo>
                    <a:lnTo>
                      <a:pt x="269081" y="88106"/>
                    </a:lnTo>
                    <a:close/>
                  </a:path>
                </a:pathLst>
              </a:custGeom>
              <a:grpFill/>
              <a:ln w="9525" cap="flat">
                <a:noFill/>
                <a:prstDash val="solid"/>
                <a:miter/>
              </a:ln>
            </p:spPr>
            <p:txBody>
              <a:bodyPr rtlCol="0" anchor="ctr"/>
              <a:lstStyle/>
              <a:p>
                <a:endParaRPr lang="en-US"/>
              </a:p>
            </p:txBody>
          </p:sp>
          <p:sp>
            <p:nvSpPr>
              <p:cNvPr id="235" name="Freeform: Shape 234">
                <a:extLst>
                  <a:ext uri="{FF2B5EF4-FFF2-40B4-BE49-F238E27FC236}">
                    <a16:creationId xmlns:a16="http://schemas.microsoft.com/office/drawing/2014/main" id="{CC42ECB2-55FD-4854-AB69-0D3E661F3F98}"/>
                  </a:ext>
                </a:extLst>
              </p:cNvPr>
              <p:cNvSpPr/>
              <p:nvPr/>
            </p:nvSpPr>
            <p:spPr>
              <a:xfrm>
                <a:off x="5072539" y="3448526"/>
                <a:ext cx="38100" cy="38100"/>
              </a:xfrm>
              <a:custGeom>
                <a:avLst/>
                <a:gdLst>
                  <a:gd name="connsiteX0" fmla="*/ 20479 w 38100"/>
                  <a:gd name="connsiteY0" fmla="*/ 7144 h 38100"/>
                  <a:gd name="connsiteX1" fmla="*/ 7144 w 38100"/>
                  <a:gd name="connsiteY1" fmla="*/ 20479 h 38100"/>
                  <a:gd name="connsiteX2" fmla="*/ 20479 w 38100"/>
                  <a:gd name="connsiteY2" fmla="*/ 33814 h 38100"/>
                  <a:gd name="connsiteX3" fmla="*/ 33814 w 38100"/>
                  <a:gd name="connsiteY3" fmla="*/ 20479 h 38100"/>
                  <a:gd name="connsiteX4" fmla="*/ 20479 w 38100"/>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7144"/>
                    </a:moveTo>
                    <a:cubicBezTo>
                      <a:pt x="12859" y="7144"/>
                      <a:pt x="7144" y="12859"/>
                      <a:pt x="7144" y="20479"/>
                    </a:cubicBezTo>
                    <a:cubicBezTo>
                      <a:pt x="7144" y="28099"/>
                      <a:pt x="12859" y="33814"/>
                      <a:pt x="20479" y="33814"/>
                    </a:cubicBezTo>
                    <a:cubicBezTo>
                      <a:pt x="28099" y="33814"/>
                      <a:pt x="33814" y="28099"/>
                      <a:pt x="33814" y="20479"/>
                    </a:cubicBezTo>
                    <a:cubicBezTo>
                      <a:pt x="32861" y="12859"/>
                      <a:pt x="27146" y="7144"/>
                      <a:pt x="20479" y="7144"/>
                    </a:cubicBezTo>
                    <a:close/>
                  </a:path>
                </a:pathLst>
              </a:custGeom>
              <a:grpFill/>
              <a:ln w="9525" cap="flat">
                <a:noFill/>
                <a:prstDash val="solid"/>
                <a:miter/>
              </a:ln>
            </p:spPr>
            <p:txBody>
              <a:bodyPr rtlCol="0" anchor="ctr"/>
              <a:lstStyle/>
              <a:p>
                <a:endParaRPr lang="en-US"/>
              </a:p>
            </p:txBody>
          </p:sp>
          <p:sp>
            <p:nvSpPr>
              <p:cNvPr id="236" name="Freeform: Shape 235">
                <a:extLst>
                  <a:ext uri="{FF2B5EF4-FFF2-40B4-BE49-F238E27FC236}">
                    <a16:creationId xmlns:a16="http://schemas.microsoft.com/office/drawing/2014/main" id="{9A1734F4-3CAA-48BF-BA98-9A10C038B700}"/>
                  </a:ext>
                </a:extLst>
              </p:cNvPr>
              <p:cNvSpPr/>
              <p:nvPr/>
            </p:nvSpPr>
            <p:spPr>
              <a:xfrm>
                <a:off x="5571649" y="3071336"/>
                <a:ext cx="809625" cy="200025"/>
              </a:xfrm>
              <a:custGeom>
                <a:avLst/>
                <a:gdLst>
                  <a:gd name="connsiteX0" fmla="*/ 11906 w 809625"/>
                  <a:gd name="connsiteY0" fmla="*/ 7144 h 200025"/>
                  <a:gd name="connsiteX1" fmla="*/ 192881 w 809625"/>
                  <a:gd name="connsiteY1" fmla="*/ 188119 h 200025"/>
                  <a:gd name="connsiteX2" fmla="*/ 808196 w 809625"/>
                  <a:gd name="connsiteY2" fmla="*/ 188119 h 200025"/>
                  <a:gd name="connsiteX3" fmla="*/ 808196 w 809625"/>
                  <a:gd name="connsiteY3" fmla="*/ 195739 h 200025"/>
                  <a:gd name="connsiteX4" fmla="*/ 190024 w 809625"/>
                  <a:gd name="connsiteY4" fmla="*/ 194786 h 200025"/>
                  <a:gd name="connsiteX5" fmla="*/ 7144 w 809625"/>
                  <a:gd name="connsiteY5" fmla="*/ 11906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9625" h="200025">
                    <a:moveTo>
                      <a:pt x="11906" y="7144"/>
                    </a:moveTo>
                    <a:lnTo>
                      <a:pt x="192881" y="188119"/>
                    </a:lnTo>
                    <a:lnTo>
                      <a:pt x="808196" y="188119"/>
                    </a:lnTo>
                    <a:lnTo>
                      <a:pt x="808196" y="195739"/>
                    </a:lnTo>
                    <a:lnTo>
                      <a:pt x="190024" y="194786"/>
                    </a:lnTo>
                    <a:lnTo>
                      <a:pt x="7144" y="11906"/>
                    </a:lnTo>
                    <a:close/>
                  </a:path>
                </a:pathLst>
              </a:custGeom>
              <a:grpFill/>
              <a:ln w="9525" cap="flat">
                <a:noFill/>
                <a:prstDash val="solid"/>
                <a:miter/>
              </a:ln>
            </p:spPr>
            <p:txBody>
              <a:bodyPr rtlCol="0" anchor="ctr"/>
              <a:lstStyle/>
              <a:p>
                <a:endParaRPr lang="en-US"/>
              </a:p>
            </p:txBody>
          </p:sp>
          <p:sp>
            <p:nvSpPr>
              <p:cNvPr id="237" name="Freeform: Shape 236">
                <a:extLst>
                  <a:ext uri="{FF2B5EF4-FFF2-40B4-BE49-F238E27FC236}">
                    <a16:creationId xmlns:a16="http://schemas.microsoft.com/office/drawing/2014/main" id="{CE1322D1-740B-4847-88F0-6EC72D2F41E9}"/>
                  </a:ext>
                </a:extLst>
              </p:cNvPr>
              <p:cNvSpPr/>
              <p:nvPr/>
            </p:nvSpPr>
            <p:spPr>
              <a:xfrm>
                <a:off x="6358414" y="3242786"/>
                <a:ext cx="38100" cy="38100"/>
              </a:xfrm>
              <a:custGeom>
                <a:avLst/>
                <a:gdLst>
                  <a:gd name="connsiteX0" fmla="*/ 20479 w 38100"/>
                  <a:gd name="connsiteY0" fmla="*/ 33814 h 38100"/>
                  <a:gd name="connsiteX1" fmla="*/ 33814 w 38100"/>
                  <a:gd name="connsiteY1" fmla="*/ 20479 h 38100"/>
                  <a:gd name="connsiteX2" fmla="*/ 20479 w 38100"/>
                  <a:gd name="connsiteY2" fmla="*/ 7144 h 38100"/>
                  <a:gd name="connsiteX3" fmla="*/ 7144 w 38100"/>
                  <a:gd name="connsiteY3" fmla="*/ 20479 h 38100"/>
                  <a:gd name="connsiteX4" fmla="*/ 20479 w 38100"/>
                  <a:gd name="connsiteY4" fmla="*/ 3381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33814"/>
                    </a:moveTo>
                    <a:cubicBezTo>
                      <a:pt x="28099" y="33814"/>
                      <a:pt x="33814" y="28099"/>
                      <a:pt x="33814" y="20479"/>
                    </a:cubicBezTo>
                    <a:cubicBezTo>
                      <a:pt x="33814" y="12859"/>
                      <a:pt x="28099" y="7144"/>
                      <a:pt x="20479" y="7144"/>
                    </a:cubicBezTo>
                    <a:cubicBezTo>
                      <a:pt x="12859" y="7144"/>
                      <a:pt x="7144" y="12859"/>
                      <a:pt x="7144" y="20479"/>
                    </a:cubicBezTo>
                    <a:cubicBezTo>
                      <a:pt x="7144" y="28099"/>
                      <a:pt x="13811" y="33814"/>
                      <a:pt x="20479" y="33814"/>
                    </a:cubicBezTo>
                    <a:close/>
                  </a:path>
                </a:pathLst>
              </a:custGeom>
              <a:grpFill/>
              <a:ln w="9525" cap="flat">
                <a:noFill/>
                <a:prstDash val="solid"/>
                <a:miter/>
              </a:ln>
            </p:spPr>
            <p:txBody>
              <a:bodyPr rtlCol="0" anchor="ctr"/>
              <a:lstStyle/>
              <a:p>
                <a:endParaRPr lang="en-US"/>
              </a:p>
            </p:txBody>
          </p:sp>
        </p:grpSp>
        <p:pic>
          <p:nvPicPr>
            <p:cNvPr id="17" name="Graphic 16">
              <a:extLst>
                <a:ext uri="{FF2B5EF4-FFF2-40B4-BE49-F238E27FC236}">
                  <a16:creationId xmlns:a16="http://schemas.microsoft.com/office/drawing/2014/main" id="{30F04740-12EB-497B-8B91-51D4B31E7DF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491486" y="3466203"/>
              <a:ext cx="3600450" cy="771525"/>
            </a:xfrm>
            <a:prstGeom prst="rect">
              <a:avLst/>
            </a:prstGeom>
          </p:spPr>
        </p:pic>
        <p:pic>
          <p:nvPicPr>
            <p:cNvPr id="18" name="Graphic 17">
              <a:extLst>
                <a:ext uri="{FF2B5EF4-FFF2-40B4-BE49-F238E27FC236}">
                  <a16:creationId xmlns:a16="http://schemas.microsoft.com/office/drawing/2014/main" id="{8ECA97C9-D664-4952-9EC2-18F60B03BD6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593436" y="3868249"/>
              <a:ext cx="3600450" cy="771525"/>
            </a:xfrm>
            <a:prstGeom prst="rect">
              <a:avLst/>
            </a:prstGeom>
          </p:spPr>
        </p:pic>
        <p:pic>
          <p:nvPicPr>
            <p:cNvPr id="19" name="Graphic 18">
              <a:extLst>
                <a:ext uri="{FF2B5EF4-FFF2-40B4-BE49-F238E27FC236}">
                  <a16:creationId xmlns:a16="http://schemas.microsoft.com/office/drawing/2014/main" id="{15AE8B53-1976-4CC1-8501-44A62C40EBA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276578" y="4508639"/>
              <a:ext cx="3600450" cy="771525"/>
            </a:xfrm>
            <a:prstGeom prst="rect">
              <a:avLst/>
            </a:prstGeom>
          </p:spPr>
        </p:pic>
        <p:grpSp>
          <p:nvGrpSpPr>
            <p:cNvPr id="20" name="Graphic 166">
              <a:extLst>
                <a:ext uri="{FF2B5EF4-FFF2-40B4-BE49-F238E27FC236}">
                  <a16:creationId xmlns:a16="http://schemas.microsoft.com/office/drawing/2014/main" id="{8D1099EE-B7D4-471F-BF10-B35A2B31867D}"/>
                </a:ext>
              </a:extLst>
            </p:cNvPr>
            <p:cNvGrpSpPr/>
            <p:nvPr/>
          </p:nvGrpSpPr>
          <p:grpSpPr>
            <a:xfrm rot="10800000">
              <a:off x="2854450" y="3801472"/>
              <a:ext cx="3581400" cy="752475"/>
              <a:chOff x="4305300" y="3052762"/>
              <a:chExt cx="3581400" cy="752475"/>
            </a:xfrm>
            <a:grpFill/>
          </p:grpSpPr>
          <p:sp>
            <p:nvSpPr>
              <p:cNvPr id="198" name="Freeform: Shape 197">
                <a:extLst>
                  <a:ext uri="{FF2B5EF4-FFF2-40B4-BE49-F238E27FC236}">
                    <a16:creationId xmlns:a16="http://schemas.microsoft.com/office/drawing/2014/main" id="{3CDC641A-4F40-4017-BD1B-202F15753539}"/>
                  </a:ext>
                </a:extLst>
              </p:cNvPr>
              <p:cNvSpPr/>
              <p:nvPr/>
            </p:nvSpPr>
            <p:spPr>
              <a:xfrm>
                <a:off x="4401979" y="3311366"/>
                <a:ext cx="3476625" cy="200025"/>
              </a:xfrm>
              <a:custGeom>
                <a:avLst/>
                <a:gdLst>
                  <a:gd name="connsiteX0" fmla="*/ 1497806 w 3476625"/>
                  <a:gd name="connsiteY0" fmla="*/ 7144 h 200025"/>
                  <a:gd name="connsiteX1" fmla="*/ 1822609 w 3476625"/>
                  <a:gd name="connsiteY1" fmla="*/ 7144 h 200025"/>
                  <a:gd name="connsiteX2" fmla="*/ 1899761 w 3476625"/>
                  <a:gd name="connsiteY2" fmla="*/ 84296 h 200025"/>
                  <a:gd name="connsiteX3" fmla="*/ 2174081 w 3476625"/>
                  <a:gd name="connsiteY3" fmla="*/ 84296 h 200025"/>
                  <a:gd name="connsiteX4" fmla="*/ 2240756 w 3476625"/>
                  <a:gd name="connsiteY4" fmla="*/ 17621 h 200025"/>
                  <a:gd name="connsiteX5" fmla="*/ 3470434 w 3476625"/>
                  <a:gd name="connsiteY5" fmla="*/ 17621 h 200025"/>
                  <a:gd name="connsiteX6" fmla="*/ 3470434 w 3476625"/>
                  <a:gd name="connsiteY6" fmla="*/ 24289 h 200025"/>
                  <a:gd name="connsiteX7" fmla="*/ 2243614 w 3476625"/>
                  <a:gd name="connsiteY7" fmla="*/ 24289 h 200025"/>
                  <a:gd name="connsiteX8" fmla="*/ 2176939 w 3476625"/>
                  <a:gd name="connsiteY8" fmla="*/ 90964 h 200025"/>
                  <a:gd name="connsiteX9" fmla="*/ 1896904 w 3476625"/>
                  <a:gd name="connsiteY9" fmla="*/ 90964 h 200025"/>
                  <a:gd name="connsiteX10" fmla="*/ 1819751 w 3476625"/>
                  <a:gd name="connsiteY10" fmla="*/ 13811 h 200025"/>
                  <a:gd name="connsiteX11" fmla="*/ 1500664 w 3476625"/>
                  <a:gd name="connsiteY11" fmla="*/ 13811 h 200025"/>
                  <a:gd name="connsiteX12" fmla="*/ 1432084 w 3476625"/>
                  <a:gd name="connsiteY12" fmla="*/ 120491 h 200025"/>
                  <a:gd name="connsiteX13" fmla="*/ 1057751 w 3476625"/>
                  <a:gd name="connsiteY13" fmla="*/ 120491 h 200025"/>
                  <a:gd name="connsiteX14" fmla="*/ 971074 w 3476625"/>
                  <a:gd name="connsiteY14" fmla="*/ 14764 h 200025"/>
                  <a:gd name="connsiteX15" fmla="*/ 379571 w 3476625"/>
                  <a:gd name="connsiteY15" fmla="*/ 14764 h 200025"/>
                  <a:gd name="connsiteX16" fmla="*/ 11906 w 3476625"/>
                  <a:gd name="connsiteY16" fmla="*/ 201454 h 200025"/>
                  <a:gd name="connsiteX17" fmla="*/ 7144 w 3476625"/>
                  <a:gd name="connsiteY17" fmla="*/ 196691 h 200025"/>
                  <a:gd name="connsiteX18" fmla="*/ 376714 w 3476625"/>
                  <a:gd name="connsiteY18" fmla="*/ 8096 h 200025"/>
                  <a:gd name="connsiteX19" fmla="*/ 973931 w 3476625"/>
                  <a:gd name="connsiteY19" fmla="*/ 8096 h 200025"/>
                  <a:gd name="connsiteX20" fmla="*/ 1061561 w 3476625"/>
                  <a:gd name="connsiteY20" fmla="*/ 113824 h 200025"/>
                  <a:gd name="connsiteX21" fmla="*/ 1429226 w 3476625"/>
                  <a:gd name="connsiteY21" fmla="*/ 113824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476625" h="200025">
                    <a:moveTo>
                      <a:pt x="1497806" y="7144"/>
                    </a:moveTo>
                    <a:lnTo>
                      <a:pt x="1822609" y="7144"/>
                    </a:lnTo>
                    <a:lnTo>
                      <a:pt x="1899761" y="84296"/>
                    </a:lnTo>
                    <a:lnTo>
                      <a:pt x="2174081" y="84296"/>
                    </a:lnTo>
                    <a:lnTo>
                      <a:pt x="2240756" y="17621"/>
                    </a:lnTo>
                    <a:lnTo>
                      <a:pt x="3470434" y="17621"/>
                    </a:lnTo>
                    <a:lnTo>
                      <a:pt x="3470434" y="24289"/>
                    </a:lnTo>
                    <a:lnTo>
                      <a:pt x="2243614" y="24289"/>
                    </a:lnTo>
                    <a:lnTo>
                      <a:pt x="2176939" y="90964"/>
                    </a:lnTo>
                    <a:lnTo>
                      <a:pt x="1896904" y="90964"/>
                    </a:lnTo>
                    <a:lnTo>
                      <a:pt x="1819751" y="13811"/>
                    </a:lnTo>
                    <a:lnTo>
                      <a:pt x="1500664" y="13811"/>
                    </a:lnTo>
                    <a:lnTo>
                      <a:pt x="1432084" y="120491"/>
                    </a:lnTo>
                    <a:lnTo>
                      <a:pt x="1057751" y="120491"/>
                    </a:lnTo>
                    <a:lnTo>
                      <a:pt x="971074" y="14764"/>
                    </a:lnTo>
                    <a:lnTo>
                      <a:pt x="379571" y="14764"/>
                    </a:lnTo>
                    <a:lnTo>
                      <a:pt x="11906" y="201454"/>
                    </a:lnTo>
                    <a:lnTo>
                      <a:pt x="7144" y="196691"/>
                    </a:lnTo>
                    <a:lnTo>
                      <a:pt x="376714" y="8096"/>
                    </a:lnTo>
                    <a:lnTo>
                      <a:pt x="973931" y="8096"/>
                    </a:lnTo>
                    <a:lnTo>
                      <a:pt x="1061561" y="113824"/>
                    </a:lnTo>
                    <a:lnTo>
                      <a:pt x="1429226" y="113824"/>
                    </a:lnTo>
                    <a:close/>
                  </a:path>
                </a:pathLst>
              </a:custGeom>
              <a:grpFill/>
              <a:ln w="9525" cap="flat">
                <a:noFill/>
                <a:prstDash val="solid"/>
                <a:miter/>
              </a:ln>
            </p:spPr>
            <p:txBody>
              <a:bodyPr rtlCol="0" anchor="ctr"/>
              <a:lstStyle/>
              <a:p>
                <a:endParaRPr lang="en-US"/>
              </a:p>
            </p:txBody>
          </p:sp>
          <p:sp>
            <p:nvSpPr>
              <p:cNvPr id="199" name="Freeform: Shape 198">
                <a:extLst>
                  <a:ext uri="{FF2B5EF4-FFF2-40B4-BE49-F238E27FC236}">
                    <a16:creationId xmlns:a16="http://schemas.microsoft.com/office/drawing/2014/main" id="{0ED0D901-344C-4A93-B612-ACF6ABD620BF}"/>
                  </a:ext>
                </a:extLst>
              </p:cNvPr>
              <p:cNvSpPr/>
              <p:nvPr/>
            </p:nvSpPr>
            <p:spPr>
              <a:xfrm>
                <a:off x="7851934" y="3312318"/>
                <a:ext cx="38100" cy="38100"/>
              </a:xfrm>
              <a:custGeom>
                <a:avLst/>
                <a:gdLst>
                  <a:gd name="connsiteX0" fmla="*/ 20479 w 38100"/>
                  <a:gd name="connsiteY0" fmla="*/ 7144 h 38100"/>
                  <a:gd name="connsiteX1" fmla="*/ 33814 w 38100"/>
                  <a:gd name="connsiteY1" fmla="*/ 20479 h 38100"/>
                  <a:gd name="connsiteX2" fmla="*/ 20479 w 38100"/>
                  <a:gd name="connsiteY2" fmla="*/ 33814 h 38100"/>
                  <a:gd name="connsiteX3" fmla="*/ 7144 w 38100"/>
                  <a:gd name="connsiteY3" fmla="*/ 20479 h 38100"/>
                  <a:gd name="connsiteX4" fmla="*/ 20479 w 38100"/>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7144"/>
                    </a:moveTo>
                    <a:cubicBezTo>
                      <a:pt x="28099" y="7144"/>
                      <a:pt x="33814" y="12859"/>
                      <a:pt x="33814" y="20479"/>
                    </a:cubicBezTo>
                    <a:cubicBezTo>
                      <a:pt x="33814" y="28099"/>
                      <a:pt x="28099" y="33814"/>
                      <a:pt x="20479" y="33814"/>
                    </a:cubicBezTo>
                    <a:cubicBezTo>
                      <a:pt x="12859" y="33814"/>
                      <a:pt x="7144" y="28099"/>
                      <a:pt x="7144" y="20479"/>
                    </a:cubicBezTo>
                    <a:cubicBezTo>
                      <a:pt x="7144" y="12859"/>
                      <a:pt x="12859" y="7144"/>
                      <a:pt x="20479" y="7144"/>
                    </a:cubicBezTo>
                    <a:close/>
                  </a:path>
                </a:pathLst>
              </a:custGeom>
              <a:grpFill/>
              <a:ln w="9525" cap="flat">
                <a:noFill/>
                <a:prstDash val="solid"/>
                <a:miter/>
              </a:ln>
            </p:spPr>
            <p:txBody>
              <a:bodyPr rtlCol="0" anchor="ctr"/>
              <a:lstStyle/>
              <a:p>
                <a:endParaRPr lang="en-US"/>
              </a:p>
            </p:txBody>
          </p:sp>
          <p:sp>
            <p:nvSpPr>
              <p:cNvPr id="200" name="Freeform: Shape 199">
                <a:extLst>
                  <a:ext uri="{FF2B5EF4-FFF2-40B4-BE49-F238E27FC236}">
                    <a16:creationId xmlns:a16="http://schemas.microsoft.com/office/drawing/2014/main" id="{D76E62BE-68EA-401C-92CA-3588760BF1B5}"/>
                  </a:ext>
                </a:extLst>
              </p:cNvPr>
              <p:cNvSpPr/>
              <p:nvPr/>
            </p:nvSpPr>
            <p:spPr>
              <a:xfrm>
                <a:off x="4391739" y="3489721"/>
                <a:ext cx="38100" cy="38100"/>
              </a:xfrm>
              <a:custGeom>
                <a:avLst/>
                <a:gdLst>
                  <a:gd name="connsiteX0" fmla="*/ 10716 w 38100"/>
                  <a:gd name="connsiteY0" fmla="*/ 10716 h 38100"/>
                  <a:gd name="connsiteX1" fmla="*/ 10716 w 38100"/>
                  <a:gd name="connsiteY1" fmla="*/ 29766 h 38100"/>
                  <a:gd name="connsiteX2" fmla="*/ 29766 w 38100"/>
                  <a:gd name="connsiteY2" fmla="*/ 29766 h 38100"/>
                  <a:gd name="connsiteX3" fmla="*/ 29766 w 38100"/>
                  <a:gd name="connsiteY3" fmla="*/ 10716 h 38100"/>
                  <a:gd name="connsiteX4" fmla="*/ 10716 w 38100"/>
                  <a:gd name="connsiteY4" fmla="*/ 1071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0716" y="10716"/>
                    </a:moveTo>
                    <a:cubicBezTo>
                      <a:pt x="5953" y="15478"/>
                      <a:pt x="5953" y="24051"/>
                      <a:pt x="10716" y="29766"/>
                    </a:cubicBezTo>
                    <a:cubicBezTo>
                      <a:pt x="15478" y="34528"/>
                      <a:pt x="24051" y="34528"/>
                      <a:pt x="29766" y="29766"/>
                    </a:cubicBezTo>
                    <a:cubicBezTo>
                      <a:pt x="34528" y="25003"/>
                      <a:pt x="34528" y="16431"/>
                      <a:pt x="29766" y="10716"/>
                    </a:cubicBezTo>
                    <a:cubicBezTo>
                      <a:pt x="24051" y="5953"/>
                      <a:pt x="15478" y="5953"/>
                      <a:pt x="10716" y="10716"/>
                    </a:cubicBezTo>
                    <a:close/>
                  </a:path>
                </a:pathLst>
              </a:custGeom>
              <a:grpFill/>
              <a:ln w="9525" cap="flat">
                <a:noFill/>
                <a:prstDash val="solid"/>
                <a:miter/>
              </a:ln>
            </p:spPr>
            <p:txBody>
              <a:bodyPr rtlCol="0" anchor="ctr"/>
              <a:lstStyle/>
              <a:p>
                <a:endParaRPr lang="en-US"/>
              </a:p>
            </p:txBody>
          </p:sp>
          <p:sp>
            <p:nvSpPr>
              <p:cNvPr id="201" name="Freeform: Shape 200">
                <a:extLst>
                  <a:ext uri="{FF2B5EF4-FFF2-40B4-BE49-F238E27FC236}">
                    <a16:creationId xmlns:a16="http://schemas.microsoft.com/office/drawing/2014/main" id="{4A2DB005-CDA6-49F9-A1A0-159D3B4FF439}"/>
                  </a:ext>
                </a:extLst>
              </p:cNvPr>
              <p:cNvSpPr/>
              <p:nvPr/>
            </p:nvSpPr>
            <p:spPr>
              <a:xfrm>
                <a:off x="4559141" y="3055143"/>
                <a:ext cx="2552700" cy="142875"/>
              </a:xfrm>
              <a:custGeom>
                <a:avLst/>
                <a:gdLst>
                  <a:gd name="connsiteX0" fmla="*/ 7144 w 2552700"/>
                  <a:gd name="connsiteY0" fmla="*/ 7144 h 142875"/>
                  <a:gd name="connsiteX1" fmla="*/ 101441 w 2552700"/>
                  <a:gd name="connsiteY1" fmla="*/ 7144 h 142875"/>
                  <a:gd name="connsiteX2" fmla="*/ 222409 w 2552700"/>
                  <a:gd name="connsiteY2" fmla="*/ 128111 h 142875"/>
                  <a:gd name="connsiteX3" fmla="*/ 813911 w 2552700"/>
                  <a:gd name="connsiteY3" fmla="*/ 128111 h 142875"/>
                  <a:gd name="connsiteX4" fmla="*/ 881539 w 2552700"/>
                  <a:gd name="connsiteY4" fmla="*/ 21431 h 142875"/>
                  <a:gd name="connsiteX5" fmla="*/ 1284446 w 2552700"/>
                  <a:gd name="connsiteY5" fmla="*/ 21431 h 142875"/>
                  <a:gd name="connsiteX6" fmla="*/ 1343501 w 2552700"/>
                  <a:gd name="connsiteY6" fmla="*/ 129064 h 142875"/>
                  <a:gd name="connsiteX7" fmla="*/ 1662589 w 2552700"/>
                  <a:gd name="connsiteY7" fmla="*/ 129064 h 142875"/>
                  <a:gd name="connsiteX8" fmla="*/ 1739741 w 2552700"/>
                  <a:gd name="connsiteY8" fmla="*/ 51911 h 142875"/>
                  <a:gd name="connsiteX9" fmla="*/ 2019776 w 2552700"/>
                  <a:gd name="connsiteY9" fmla="*/ 51911 h 142875"/>
                  <a:gd name="connsiteX10" fmla="*/ 2086451 w 2552700"/>
                  <a:gd name="connsiteY10" fmla="*/ 117634 h 142875"/>
                  <a:gd name="connsiteX11" fmla="*/ 2551271 w 2552700"/>
                  <a:gd name="connsiteY11" fmla="*/ 117634 h 142875"/>
                  <a:gd name="connsiteX12" fmla="*/ 2551271 w 2552700"/>
                  <a:gd name="connsiteY12" fmla="*/ 125254 h 142875"/>
                  <a:gd name="connsiteX13" fmla="*/ 2083594 w 2552700"/>
                  <a:gd name="connsiteY13" fmla="*/ 125254 h 142875"/>
                  <a:gd name="connsiteX14" fmla="*/ 2016919 w 2552700"/>
                  <a:gd name="connsiteY14" fmla="*/ 58579 h 142875"/>
                  <a:gd name="connsiteX15" fmla="*/ 1742599 w 2552700"/>
                  <a:gd name="connsiteY15" fmla="*/ 58579 h 142875"/>
                  <a:gd name="connsiteX16" fmla="*/ 1665446 w 2552700"/>
                  <a:gd name="connsiteY16" fmla="*/ 135731 h 142875"/>
                  <a:gd name="connsiteX17" fmla="*/ 1340644 w 2552700"/>
                  <a:gd name="connsiteY17" fmla="*/ 135731 h 142875"/>
                  <a:gd name="connsiteX18" fmla="*/ 1281589 w 2552700"/>
                  <a:gd name="connsiteY18" fmla="*/ 29051 h 142875"/>
                  <a:gd name="connsiteX19" fmla="*/ 885349 w 2552700"/>
                  <a:gd name="connsiteY19" fmla="*/ 29051 h 142875"/>
                  <a:gd name="connsiteX20" fmla="*/ 816769 w 2552700"/>
                  <a:gd name="connsiteY20" fmla="*/ 134779 h 142875"/>
                  <a:gd name="connsiteX21" fmla="*/ 219551 w 2552700"/>
                  <a:gd name="connsiteY21" fmla="*/ 134779 h 142875"/>
                  <a:gd name="connsiteX22" fmla="*/ 98584 w 2552700"/>
                  <a:gd name="connsiteY22" fmla="*/ 14764 h 142875"/>
                  <a:gd name="connsiteX23" fmla="*/ 7144 w 2552700"/>
                  <a:gd name="connsiteY23" fmla="*/ 14764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552700" h="142875">
                    <a:moveTo>
                      <a:pt x="7144" y="7144"/>
                    </a:moveTo>
                    <a:lnTo>
                      <a:pt x="101441" y="7144"/>
                    </a:lnTo>
                    <a:lnTo>
                      <a:pt x="222409" y="128111"/>
                    </a:lnTo>
                    <a:lnTo>
                      <a:pt x="813911" y="128111"/>
                    </a:lnTo>
                    <a:lnTo>
                      <a:pt x="881539" y="21431"/>
                    </a:lnTo>
                    <a:lnTo>
                      <a:pt x="1284446" y="21431"/>
                    </a:lnTo>
                    <a:lnTo>
                      <a:pt x="1343501" y="129064"/>
                    </a:lnTo>
                    <a:lnTo>
                      <a:pt x="1662589" y="129064"/>
                    </a:lnTo>
                    <a:lnTo>
                      <a:pt x="1739741" y="51911"/>
                    </a:lnTo>
                    <a:lnTo>
                      <a:pt x="2019776" y="51911"/>
                    </a:lnTo>
                    <a:lnTo>
                      <a:pt x="2086451" y="117634"/>
                    </a:lnTo>
                    <a:lnTo>
                      <a:pt x="2551271" y="117634"/>
                    </a:lnTo>
                    <a:lnTo>
                      <a:pt x="2551271" y="125254"/>
                    </a:lnTo>
                    <a:lnTo>
                      <a:pt x="2083594" y="125254"/>
                    </a:lnTo>
                    <a:lnTo>
                      <a:pt x="2016919" y="58579"/>
                    </a:lnTo>
                    <a:lnTo>
                      <a:pt x="1742599" y="58579"/>
                    </a:lnTo>
                    <a:lnTo>
                      <a:pt x="1665446" y="135731"/>
                    </a:lnTo>
                    <a:lnTo>
                      <a:pt x="1340644" y="135731"/>
                    </a:lnTo>
                    <a:lnTo>
                      <a:pt x="1281589" y="29051"/>
                    </a:lnTo>
                    <a:lnTo>
                      <a:pt x="885349" y="29051"/>
                    </a:lnTo>
                    <a:lnTo>
                      <a:pt x="816769" y="134779"/>
                    </a:lnTo>
                    <a:lnTo>
                      <a:pt x="219551" y="134779"/>
                    </a:lnTo>
                    <a:lnTo>
                      <a:pt x="98584" y="14764"/>
                    </a:lnTo>
                    <a:lnTo>
                      <a:pt x="7144" y="14764"/>
                    </a:lnTo>
                    <a:close/>
                  </a:path>
                </a:pathLst>
              </a:custGeom>
              <a:grpFill/>
              <a:ln w="9525" cap="flat">
                <a:noFill/>
                <a:prstDash val="solid"/>
                <a:miter/>
              </a:ln>
            </p:spPr>
            <p:txBody>
              <a:bodyPr rtlCol="0" anchor="ctr"/>
              <a:lstStyle/>
              <a:p>
                <a:endParaRPr lang="en-US"/>
              </a:p>
            </p:txBody>
          </p:sp>
          <p:sp>
            <p:nvSpPr>
              <p:cNvPr id="202" name="Freeform: Shape 201">
                <a:extLst>
                  <a:ext uri="{FF2B5EF4-FFF2-40B4-BE49-F238E27FC236}">
                    <a16:creationId xmlns:a16="http://schemas.microsoft.com/office/drawing/2014/main" id="{BE6DB662-7BE4-408B-8D05-2F00EA92E9AA}"/>
                  </a:ext>
                </a:extLst>
              </p:cNvPr>
              <p:cNvSpPr/>
              <p:nvPr/>
            </p:nvSpPr>
            <p:spPr>
              <a:xfrm>
                <a:off x="7089934" y="3156108"/>
                <a:ext cx="38100" cy="38100"/>
              </a:xfrm>
              <a:custGeom>
                <a:avLst/>
                <a:gdLst>
                  <a:gd name="connsiteX0" fmla="*/ 20479 w 38100"/>
                  <a:gd name="connsiteY0" fmla="*/ 7144 h 38100"/>
                  <a:gd name="connsiteX1" fmla="*/ 33814 w 38100"/>
                  <a:gd name="connsiteY1" fmla="*/ 20479 h 38100"/>
                  <a:gd name="connsiteX2" fmla="*/ 20479 w 38100"/>
                  <a:gd name="connsiteY2" fmla="*/ 33814 h 38100"/>
                  <a:gd name="connsiteX3" fmla="*/ 7144 w 38100"/>
                  <a:gd name="connsiteY3" fmla="*/ 20479 h 38100"/>
                  <a:gd name="connsiteX4" fmla="*/ 20479 w 38100"/>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7144"/>
                    </a:moveTo>
                    <a:cubicBezTo>
                      <a:pt x="28099" y="7144"/>
                      <a:pt x="33814" y="12859"/>
                      <a:pt x="33814" y="20479"/>
                    </a:cubicBezTo>
                    <a:cubicBezTo>
                      <a:pt x="33814" y="28099"/>
                      <a:pt x="28099" y="33814"/>
                      <a:pt x="20479" y="33814"/>
                    </a:cubicBezTo>
                    <a:cubicBezTo>
                      <a:pt x="12859" y="33814"/>
                      <a:pt x="7144" y="28099"/>
                      <a:pt x="7144" y="20479"/>
                    </a:cubicBezTo>
                    <a:cubicBezTo>
                      <a:pt x="7144" y="13811"/>
                      <a:pt x="12859" y="7144"/>
                      <a:pt x="20479" y="7144"/>
                    </a:cubicBezTo>
                    <a:close/>
                  </a:path>
                </a:pathLst>
              </a:custGeom>
              <a:grpFill/>
              <a:ln w="9525" cap="flat">
                <a:noFill/>
                <a:prstDash val="solid"/>
                <a:miter/>
              </a:ln>
            </p:spPr>
            <p:txBody>
              <a:bodyPr rtlCol="0" anchor="ctr"/>
              <a:lstStyle/>
              <a:p>
                <a:endParaRPr lang="en-US"/>
              </a:p>
            </p:txBody>
          </p:sp>
          <p:sp>
            <p:nvSpPr>
              <p:cNvPr id="203" name="Freeform: Shape 202">
                <a:extLst>
                  <a:ext uri="{FF2B5EF4-FFF2-40B4-BE49-F238E27FC236}">
                    <a16:creationId xmlns:a16="http://schemas.microsoft.com/office/drawing/2014/main" id="{ABF88796-79B6-4671-B97D-210D5B3B95E1}"/>
                  </a:ext>
                </a:extLst>
              </p:cNvPr>
              <p:cNvSpPr/>
              <p:nvPr/>
            </p:nvSpPr>
            <p:spPr>
              <a:xfrm>
                <a:off x="4546759" y="3045618"/>
                <a:ext cx="38100" cy="38100"/>
              </a:xfrm>
              <a:custGeom>
                <a:avLst/>
                <a:gdLst>
                  <a:gd name="connsiteX0" fmla="*/ 20479 w 38100"/>
                  <a:gd name="connsiteY0" fmla="*/ 7144 h 38100"/>
                  <a:gd name="connsiteX1" fmla="*/ 7144 w 38100"/>
                  <a:gd name="connsiteY1" fmla="*/ 20479 h 38100"/>
                  <a:gd name="connsiteX2" fmla="*/ 20479 w 38100"/>
                  <a:gd name="connsiteY2" fmla="*/ 33814 h 38100"/>
                  <a:gd name="connsiteX3" fmla="*/ 33814 w 38100"/>
                  <a:gd name="connsiteY3" fmla="*/ 20479 h 38100"/>
                  <a:gd name="connsiteX4" fmla="*/ 20479 w 38100"/>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7144"/>
                    </a:moveTo>
                    <a:cubicBezTo>
                      <a:pt x="12859" y="7144"/>
                      <a:pt x="7144" y="12859"/>
                      <a:pt x="7144" y="20479"/>
                    </a:cubicBezTo>
                    <a:cubicBezTo>
                      <a:pt x="7144" y="28099"/>
                      <a:pt x="12859" y="33814"/>
                      <a:pt x="20479" y="33814"/>
                    </a:cubicBezTo>
                    <a:cubicBezTo>
                      <a:pt x="28099" y="33814"/>
                      <a:pt x="33814" y="28099"/>
                      <a:pt x="33814" y="20479"/>
                    </a:cubicBezTo>
                    <a:cubicBezTo>
                      <a:pt x="33814" y="12859"/>
                      <a:pt x="28099" y="7144"/>
                      <a:pt x="20479" y="7144"/>
                    </a:cubicBezTo>
                    <a:close/>
                  </a:path>
                </a:pathLst>
              </a:custGeom>
              <a:grpFill/>
              <a:ln w="9525" cap="flat">
                <a:noFill/>
                <a:prstDash val="solid"/>
                <a:miter/>
              </a:ln>
            </p:spPr>
            <p:txBody>
              <a:bodyPr rtlCol="0" anchor="ctr"/>
              <a:lstStyle/>
              <a:p>
                <a:endParaRPr lang="en-US"/>
              </a:p>
            </p:txBody>
          </p:sp>
          <p:sp>
            <p:nvSpPr>
              <p:cNvPr id="204" name="Freeform: Shape 203">
                <a:extLst>
                  <a:ext uri="{FF2B5EF4-FFF2-40B4-BE49-F238E27FC236}">
                    <a16:creationId xmlns:a16="http://schemas.microsoft.com/office/drawing/2014/main" id="{AC6B51A1-D75D-461D-ACE9-383CE899A2C4}"/>
                  </a:ext>
                </a:extLst>
              </p:cNvPr>
              <p:cNvSpPr/>
              <p:nvPr/>
            </p:nvSpPr>
            <p:spPr>
              <a:xfrm>
                <a:off x="6717506" y="3322796"/>
                <a:ext cx="676275" cy="104775"/>
              </a:xfrm>
              <a:custGeom>
                <a:avLst/>
                <a:gdLst>
                  <a:gd name="connsiteX0" fmla="*/ 668179 w 676275"/>
                  <a:gd name="connsiteY0" fmla="*/ 7144 h 104775"/>
                  <a:gd name="connsiteX1" fmla="*/ 672941 w 676275"/>
                  <a:gd name="connsiteY1" fmla="*/ 11906 h 104775"/>
                  <a:gd name="connsiteX2" fmla="*/ 471964 w 676275"/>
                  <a:gd name="connsiteY2" fmla="*/ 98584 h 104775"/>
                  <a:gd name="connsiteX3" fmla="*/ 7144 w 676275"/>
                  <a:gd name="connsiteY3" fmla="*/ 98584 h 104775"/>
                  <a:gd name="connsiteX4" fmla="*/ 7144 w 676275"/>
                  <a:gd name="connsiteY4" fmla="*/ 91916 h 104775"/>
                  <a:gd name="connsiteX5" fmla="*/ 469106 w 676275"/>
                  <a:gd name="connsiteY5" fmla="*/ 91916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6275" h="104775">
                    <a:moveTo>
                      <a:pt x="668179" y="7144"/>
                    </a:moveTo>
                    <a:lnTo>
                      <a:pt x="672941" y="11906"/>
                    </a:lnTo>
                    <a:lnTo>
                      <a:pt x="471964" y="98584"/>
                    </a:lnTo>
                    <a:lnTo>
                      <a:pt x="7144" y="98584"/>
                    </a:lnTo>
                    <a:lnTo>
                      <a:pt x="7144" y="91916"/>
                    </a:lnTo>
                    <a:lnTo>
                      <a:pt x="469106" y="91916"/>
                    </a:lnTo>
                    <a:close/>
                  </a:path>
                </a:pathLst>
              </a:custGeom>
              <a:grpFill/>
              <a:ln w="9525" cap="flat">
                <a:noFill/>
                <a:prstDash val="solid"/>
                <a:miter/>
              </a:ln>
            </p:spPr>
            <p:txBody>
              <a:bodyPr rtlCol="0" anchor="ctr"/>
              <a:lstStyle/>
              <a:p>
                <a:endParaRPr lang="en-US"/>
              </a:p>
            </p:txBody>
          </p:sp>
          <p:sp>
            <p:nvSpPr>
              <p:cNvPr id="205" name="Freeform: Shape 204">
                <a:extLst>
                  <a:ext uri="{FF2B5EF4-FFF2-40B4-BE49-F238E27FC236}">
                    <a16:creationId xmlns:a16="http://schemas.microsoft.com/office/drawing/2014/main" id="{3B86DBE1-D05E-4718-AD02-9F8C213E57A3}"/>
                  </a:ext>
                </a:extLst>
              </p:cNvPr>
              <p:cNvSpPr/>
              <p:nvPr/>
            </p:nvSpPr>
            <p:spPr>
              <a:xfrm>
                <a:off x="6705124" y="3398043"/>
                <a:ext cx="38100" cy="38100"/>
              </a:xfrm>
              <a:custGeom>
                <a:avLst/>
                <a:gdLst>
                  <a:gd name="connsiteX0" fmla="*/ 20479 w 38100"/>
                  <a:gd name="connsiteY0" fmla="*/ 7144 h 38100"/>
                  <a:gd name="connsiteX1" fmla="*/ 7144 w 38100"/>
                  <a:gd name="connsiteY1" fmla="*/ 20479 h 38100"/>
                  <a:gd name="connsiteX2" fmla="*/ 20479 w 38100"/>
                  <a:gd name="connsiteY2" fmla="*/ 33814 h 38100"/>
                  <a:gd name="connsiteX3" fmla="*/ 33814 w 38100"/>
                  <a:gd name="connsiteY3" fmla="*/ 20479 h 38100"/>
                  <a:gd name="connsiteX4" fmla="*/ 20479 w 38100"/>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7144"/>
                    </a:moveTo>
                    <a:cubicBezTo>
                      <a:pt x="12859" y="7144"/>
                      <a:pt x="7144" y="12859"/>
                      <a:pt x="7144" y="20479"/>
                    </a:cubicBezTo>
                    <a:cubicBezTo>
                      <a:pt x="7144" y="28099"/>
                      <a:pt x="12859" y="33814"/>
                      <a:pt x="20479" y="33814"/>
                    </a:cubicBezTo>
                    <a:cubicBezTo>
                      <a:pt x="28099" y="33814"/>
                      <a:pt x="33814" y="28099"/>
                      <a:pt x="33814" y="20479"/>
                    </a:cubicBezTo>
                    <a:cubicBezTo>
                      <a:pt x="33814" y="12859"/>
                      <a:pt x="27146" y="7144"/>
                      <a:pt x="20479" y="7144"/>
                    </a:cubicBezTo>
                    <a:close/>
                  </a:path>
                </a:pathLst>
              </a:custGeom>
              <a:grpFill/>
              <a:ln w="9525" cap="flat">
                <a:noFill/>
                <a:prstDash val="solid"/>
                <a:miter/>
              </a:ln>
            </p:spPr>
            <p:txBody>
              <a:bodyPr rtlCol="0" anchor="ctr"/>
              <a:lstStyle/>
              <a:p>
                <a:endParaRPr lang="en-US"/>
              </a:p>
            </p:txBody>
          </p:sp>
          <p:sp>
            <p:nvSpPr>
              <p:cNvPr id="206" name="Freeform: Shape 205">
                <a:extLst>
                  <a:ext uri="{FF2B5EF4-FFF2-40B4-BE49-F238E27FC236}">
                    <a16:creationId xmlns:a16="http://schemas.microsoft.com/office/drawing/2014/main" id="{FB5A3C0A-F51C-406C-903A-81EC28413ED3}"/>
                  </a:ext>
                </a:extLst>
              </p:cNvPr>
              <p:cNvSpPr/>
              <p:nvPr/>
            </p:nvSpPr>
            <p:spPr>
              <a:xfrm>
                <a:off x="5352574" y="3312318"/>
                <a:ext cx="742950" cy="485775"/>
              </a:xfrm>
              <a:custGeom>
                <a:avLst/>
                <a:gdLst>
                  <a:gd name="connsiteX0" fmla="*/ 736759 w 742950"/>
                  <a:gd name="connsiteY0" fmla="*/ 7144 h 485775"/>
                  <a:gd name="connsiteX1" fmla="*/ 741521 w 742950"/>
                  <a:gd name="connsiteY1" fmla="*/ 11906 h 485775"/>
                  <a:gd name="connsiteX2" fmla="*/ 552926 w 742950"/>
                  <a:gd name="connsiteY2" fmla="*/ 200501 h 485775"/>
                  <a:gd name="connsiteX3" fmla="*/ 260509 w 742950"/>
                  <a:gd name="connsiteY3" fmla="*/ 200501 h 485775"/>
                  <a:gd name="connsiteX4" fmla="*/ 12859 w 742950"/>
                  <a:gd name="connsiteY4" fmla="*/ 486251 h 485775"/>
                  <a:gd name="connsiteX5" fmla="*/ 7144 w 742950"/>
                  <a:gd name="connsiteY5" fmla="*/ 481489 h 485775"/>
                  <a:gd name="connsiteX6" fmla="*/ 257651 w 742950"/>
                  <a:gd name="connsiteY6" fmla="*/ 192881 h 485775"/>
                  <a:gd name="connsiteX7" fmla="*/ 550069 w 742950"/>
                  <a:gd name="connsiteY7" fmla="*/ 192881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2950" h="485775">
                    <a:moveTo>
                      <a:pt x="736759" y="7144"/>
                    </a:moveTo>
                    <a:lnTo>
                      <a:pt x="741521" y="11906"/>
                    </a:lnTo>
                    <a:lnTo>
                      <a:pt x="552926" y="200501"/>
                    </a:lnTo>
                    <a:lnTo>
                      <a:pt x="260509" y="200501"/>
                    </a:lnTo>
                    <a:lnTo>
                      <a:pt x="12859" y="486251"/>
                    </a:lnTo>
                    <a:lnTo>
                      <a:pt x="7144" y="481489"/>
                    </a:lnTo>
                    <a:lnTo>
                      <a:pt x="257651" y="192881"/>
                    </a:lnTo>
                    <a:lnTo>
                      <a:pt x="550069" y="192881"/>
                    </a:lnTo>
                    <a:close/>
                  </a:path>
                </a:pathLst>
              </a:custGeom>
              <a:grpFill/>
              <a:ln w="9525" cap="flat">
                <a:noFill/>
                <a:prstDash val="solid"/>
                <a:miter/>
              </a:ln>
            </p:spPr>
            <p:txBody>
              <a:bodyPr rtlCol="0" anchor="ctr"/>
              <a:lstStyle/>
              <a:p>
                <a:endParaRPr lang="en-US"/>
              </a:p>
            </p:txBody>
          </p:sp>
          <p:sp>
            <p:nvSpPr>
              <p:cNvPr id="207" name="Freeform: Shape 206">
                <a:extLst>
                  <a:ext uri="{FF2B5EF4-FFF2-40B4-BE49-F238E27FC236}">
                    <a16:creationId xmlns:a16="http://schemas.microsoft.com/office/drawing/2014/main" id="{CA2672FA-B090-443C-B8A7-37F5F9E30E4B}"/>
                  </a:ext>
                </a:extLst>
              </p:cNvPr>
              <p:cNvSpPr/>
              <p:nvPr/>
            </p:nvSpPr>
            <p:spPr>
              <a:xfrm>
                <a:off x="5343287" y="3775709"/>
                <a:ext cx="38100" cy="38100"/>
              </a:xfrm>
              <a:custGeom>
                <a:avLst/>
                <a:gdLst>
                  <a:gd name="connsiteX0" fmla="*/ 10716 w 38100"/>
                  <a:gd name="connsiteY0" fmla="*/ 11430 h 38100"/>
                  <a:gd name="connsiteX1" fmla="*/ 10716 w 38100"/>
                  <a:gd name="connsiteY1" fmla="*/ 30480 h 38100"/>
                  <a:gd name="connsiteX2" fmla="*/ 29766 w 38100"/>
                  <a:gd name="connsiteY2" fmla="*/ 30480 h 38100"/>
                  <a:gd name="connsiteX3" fmla="*/ 29766 w 38100"/>
                  <a:gd name="connsiteY3" fmla="*/ 11430 h 38100"/>
                  <a:gd name="connsiteX4" fmla="*/ 10716 w 38100"/>
                  <a:gd name="connsiteY4" fmla="*/ 11430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0716" y="11430"/>
                    </a:moveTo>
                    <a:cubicBezTo>
                      <a:pt x="5953" y="16192"/>
                      <a:pt x="5953" y="24765"/>
                      <a:pt x="10716" y="30480"/>
                    </a:cubicBezTo>
                    <a:cubicBezTo>
                      <a:pt x="15478" y="35242"/>
                      <a:pt x="24051" y="35242"/>
                      <a:pt x="29766" y="30480"/>
                    </a:cubicBezTo>
                    <a:cubicBezTo>
                      <a:pt x="34528" y="25717"/>
                      <a:pt x="34528" y="17145"/>
                      <a:pt x="29766" y="11430"/>
                    </a:cubicBezTo>
                    <a:cubicBezTo>
                      <a:pt x="24051" y="5715"/>
                      <a:pt x="15478" y="5715"/>
                      <a:pt x="10716" y="11430"/>
                    </a:cubicBezTo>
                    <a:close/>
                  </a:path>
                </a:pathLst>
              </a:custGeom>
              <a:grpFill/>
              <a:ln w="9525" cap="flat">
                <a:noFill/>
                <a:prstDash val="solid"/>
                <a:miter/>
              </a:ln>
            </p:spPr>
            <p:txBody>
              <a:bodyPr rtlCol="0" anchor="ctr"/>
              <a:lstStyle/>
              <a:p>
                <a:endParaRPr lang="en-US"/>
              </a:p>
            </p:txBody>
          </p:sp>
          <p:sp>
            <p:nvSpPr>
              <p:cNvPr id="208" name="Freeform: Shape 207">
                <a:extLst>
                  <a:ext uri="{FF2B5EF4-FFF2-40B4-BE49-F238E27FC236}">
                    <a16:creationId xmlns:a16="http://schemas.microsoft.com/office/drawing/2014/main" id="{6532AE46-43A4-4B05-9928-DD3C0E4ED06B}"/>
                  </a:ext>
                </a:extLst>
              </p:cNvPr>
              <p:cNvSpPr/>
              <p:nvPr/>
            </p:nvSpPr>
            <p:spPr>
              <a:xfrm>
                <a:off x="4308634" y="3313271"/>
                <a:ext cx="1009650" cy="428625"/>
              </a:xfrm>
              <a:custGeom>
                <a:avLst/>
                <a:gdLst>
                  <a:gd name="connsiteX0" fmla="*/ 998696 w 1009650"/>
                  <a:gd name="connsiteY0" fmla="*/ 7144 h 428625"/>
                  <a:gd name="connsiteX1" fmla="*/ 1003459 w 1009650"/>
                  <a:gd name="connsiteY1" fmla="*/ 11906 h 428625"/>
                  <a:gd name="connsiteX2" fmla="*/ 912019 w 1009650"/>
                  <a:gd name="connsiteY2" fmla="*/ 103346 h 428625"/>
                  <a:gd name="connsiteX3" fmla="*/ 646271 w 1009650"/>
                  <a:gd name="connsiteY3" fmla="*/ 103346 h 428625"/>
                  <a:gd name="connsiteX4" fmla="*/ 476726 w 1009650"/>
                  <a:gd name="connsiteY4" fmla="*/ 272891 h 428625"/>
                  <a:gd name="connsiteX5" fmla="*/ 306229 w 1009650"/>
                  <a:gd name="connsiteY5" fmla="*/ 272891 h 428625"/>
                  <a:gd name="connsiteX6" fmla="*/ 11906 w 1009650"/>
                  <a:gd name="connsiteY6" fmla="*/ 424339 h 428625"/>
                  <a:gd name="connsiteX7" fmla="*/ 7144 w 1009650"/>
                  <a:gd name="connsiteY7" fmla="*/ 419576 h 428625"/>
                  <a:gd name="connsiteX8" fmla="*/ 303371 w 1009650"/>
                  <a:gd name="connsiteY8" fmla="*/ 266224 h 428625"/>
                  <a:gd name="connsiteX9" fmla="*/ 472916 w 1009650"/>
                  <a:gd name="connsiteY9" fmla="*/ 266224 h 428625"/>
                  <a:gd name="connsiteX10" fmla="*/ 643414 w 1009650"/>
                  <a:gd name="connsiteY10" fmla="*/ 95726 h 428625"/>
                  <a:gd name="connsiteX11" fmla="*/ 909161 w 1009650"/>
                  <a:gd name="connsiteY11" fmla="*/ 95726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650" h="428625">
                    <a:moveTo>
                      <a:pt x="998696" y="7144"/>
                    </a:moveTo>
                    <a:lnTo>
                      <a:pt x="1003459" y="11906"/>
                    </a:lnTo>
                    <a:lnTo>
                      <a:pt x="912019" y="103346"/>
                    </a:lnTo>
                    <a:lnTo>
                      <a:pt x="646271" y="103346"/>
                    </a:lnTo>
                    <a:lnTo>
                      <a:pt x="476726" y="272891"/>
                    </a:lnTo>
                    <a:lnTo>
                      <a:pt x="306229" y="272891"/>
                    </a:lnTo>
                    <a:lnTo>
                      <a:pt x="11906" y="424339"/>
                    </a:lnTo>
                    <a:lnTo>
                      <a:pt x="7144" y="419576"/>
                    </a:lnTo>
                    <a:lnTo>
                      <a:pt x="303371" y="266224"/>
                    </a:lnTo>
                    <a:lnTo>
                      <a:pt x="472916" y="266224"/>
                    </a:lnTo>
                    <a:lnTo>
                      <a:pt x="643414" y="95726"/>
                    </a:lnTo>
                    <a:lnTo>
                      <a:pt x="909161" y="95726"/>
                    </a:lnTo>
                    <a:close/>
                  </a:path>
                </a:pathLst>
              </a:custGeom>
              <a:grpFill/>
              <a:ln w="9525" cap="flat">
                <a:noFill/>
                <a:prstDash val="solid"/>
                <a:miter/>
              </a:ln>
            </p:spPr>
            <p:txBody>
              <a:bodyPr rtlCol="0" anchor="ctr"/>
              <a:lstStyle/>
              <a:p>
                <a:endParaRPr lang="en-US"/>
              </a:p>
            </p:txBody>
          </p:sp>
          <p:sp>
            <p:nvSpPr>
              <p:cNvPr id="209" name="Freeform: Shape 208">
                <a:extLst>
                  <a:ext uri="{FF2B5EF4-FFF2-40B4-BE49-F238E27FC236}">
                    <a16:creationId xmlns:a16="http://schemas.microsoft.com/office/drawing/2014/main" id="{D344CFFD-4038-43A9-A5CA-5B07A92C928F}"/>
                  </a:ext>
                </a:extLst>
              </p:cNvPr>
              <p:cNvSpPr/>
              <p:nvPr/>
            </p:nvSpPr>
            <p:spPr>
              <a:xfrm>
                <a:off x="4298394" y="3714511"/>
                <a:ext cx="38100" cy="38100"/>
              </a:xfrm>
              <a:custGeom>
                <a:avLst/>
                <a:gdLst>
                  <a:gd name="connsiteX0" fmla="*/ 10716 w 38100"/>
                  <a:gd name="connsiteY0" fmla="*/ 10716 h 38100"/>
                  <a:gd name="connsiteX1" fmla="*/ 10716 w 38100"/>
                  <a:gd name="connsiteY1" fmla="*/ 29766 h 38100"/>
                  <a:gd name="connsiteX2" fmla="*/ 29766 w 38100"/>
                  <a:gd name="connsiteY2" fmla="*/ 29766 h 38100"/>
                  <a:gd name="connsiteX3" fmla="*/ 29766 w 38100"/>
                  <a:gd name="connsiteY3" fmla="*/ 10716 h 38100"/>
                  <a:gd name="connsiteX4" fmla="*/ 10716 w 38100"/>
                  <a:gd name="connsiteY4" fmla="*/ 1071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0716" y="10716"/>
                    </a:moveTo>
                    <a:cubicBezTo>
                      <a:pt x="5953" y="15478"/>
                      <a:pt x="5953" y="24051"/>
                      <a:pt x="10716" y="29766"/>
                    </a:cubicBezTo>
                    <a:cubicBezTo>
                      <a:pt x="15478" y="34528"/>
                      <a:pt x="24051" y="34528"/>
                      <a:pt x="29766" y="29766"/>
                    </a:cubicBezTo>
                    <a:cubicBezTo>
                      <a:pt x="34528" y="25003"/>
                      <a:pt x="34528" y="16431"/>
                      <a:pt x="29766" y="10716"/>
                    </a:cubicBezTo>
                    <a:cubicBezTo>
                      <a:pt x="24051" y="5953"/>
                      <a:pt x="15478" y="5953"/>
                      <a:pt x="10716" y="10716"/>
                    </a:cubicBezTo>
                    <a:close/>
                  </a:path>
                </a:pathLst>
              </a:custGeom>
              <a:grpFill/>
              <a:ln w="9525" cap="flat">
                <a:noFill/>
                <a:prstDash val="solid"/>
                <a:miter/>
              </a:ln>
            </p:spPr>
            <p:txBody>
              <a:bodyPr rtlCol="0" anchor="ctr"/>
              <a:lstStyle/>
              <a:p>
                <a:endParaRPr lang="en-US"/>
              </a:p>
            </p:txBody>
          </p:sp>
          <p:sp>
            <p:nvSpPr>
              <p:cNvPr id="210" name="Freeform: Shape 209">
                <a:extLst>
                  <a:ext uri="{FF2B5EF4-FFF2-40B4-BE49-F238E27FC236}">
                    <a16:creationId xmlns:a16="http://schemas.microsoft.com/office/drawing/2014/main" id="{624B330C-474E-4999-BA9B-8F048E81DC74}"/>
                  </a:ext>
                </a:extLst>
              </p:cNvPr>
              <p:cNvSpPr/>
              <p:nvPr/>
            </p:nvSpPr>
            <p:spPr>
              <a:xfrm>
                <a:off x="6470809" y="3194208"/>
                <a:ext cx="1076325" cy="142875"/>
              </a:xfrm>
              <a:custGeom>
                <a:avLst/>
                <a:gdLst>
                  <a:gd name="connsiteX0" fmla="*/ 11906 w 1076325"/>
                  <a:gd name="connsiteY0" fmla="*/ 7144 h 142875"/>
                  <a:gd name="connsiteX1" fmla="*/ 50006 w 1076325"/>
                  <a:gd name="connsiteY1" fmla="*/ 45244 h 142875"/>
                  <a:gd name="connsiteX2" fmla="*/ 869156 w 1076325"/>
                  <a:gd name="connsiteY2" fmla="*/ 45244 h 142875"/>
                  <a:gd name="connsiteX3" fmla="*/ 1072991 w 1076325"/>
                  <a:gd name="connsiteY3" fmla="*/ 134779 h 142875"/>
                  <a:gd name="connsiteX4" fmla="*/ 1068229 w 1076325"/>
                  <a:gd name="connsiteY4" fmla="*/ 139541 h 142875"/>
                  <a:gd name="connsiteX5" fmla="*/ 866299 w 1076325"/>
                  <a:gd name="connsiteY5" fmla="*/ 51911 h 142875"/>
                  <a:gd name="connsiteX6" fmla="*/ 47149 w 1076325"/>
                  <a:gd name="connsiteY6" fmla="*/ 51911 h 142875"/>
                  <a:gd name="connsiteX7" fmla="*/ 7144 w 1076325"/>
                  <a:gd name="connsiteY7" fmla="*/ 12859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6325" h="142875">
                    <a:moveTo>
                      <a:pt x="11906" y="7144"/>
                    </a:moveTo>
                    <a:lnTo>
                      <a:pt x="50006" y="45244"/>
                    </a:lnTo>
                    <a:lnTo>
                      <a:pt x="869156" y="45244"/>
                    </a:lnTo>
                    <a:lnTo>
                      <a:pt x="1072991" y="134779"/>
                    </a:lnTo>
                    <a:lnTo>
                      <a:pt x="1068229" y="139541"/>
                    </a:lnTo>
                    <a:lnTo>
                      <a:pt x="866299" y="51911"/>
                    </a:lnTo>
                    <a:lnTo>
                      <a:pt x="47149" y="51911"/>
                    </a:lnTo>
                    <a:lnTo>
                      <a:pt x="7144" y="12859"/>
                    </a:lnTo>
                    <a:close/>
                  </a:path>
                </a:pathLst>
              </a:custGeom>
              <a:grpFill/>
              <a:ln w="9525" cap="flat">
                <a:noFill/>
                <a:prstDash val="solid"/>
                <a:miter/>
              </a:ln>
            </p:spPr>
            <p:txBody>
              <a:bodyPr rtlCol="0" anchor="ctr"/>
              <a:lstStyle/>
              <a:p>
                <a:endParaRPr lang="en-US"/>
              </a:p>
            </p:txBody>
          </p:sp>
          <p:sp>
            <p:nvSpPr>
              <p:cNvPr id="211" name="Freeform: Shape 210">
                <a:extLst>
                  <a:ext uri="{FF2B5EF4-FFF2-40B4-BE49-F238E27FC236}">
                    <a16:creationId xmlns:a16="http://schemas.microsoft.com/office/drawing/2014/main" id="{FA1AEEF2-F04B-45A5-9054-A46D60512E5D}"/>
                  </a:ext>
                </a:extLst>
              </p:cNvPr>
              <p:cNvSpPr/>
              <p:nvPr/>
            </p:nvSpPr>
            <p:spPr>
              <a:xfrm>
                <a:off x="6460569" y="3184921"/>
                <a:ext cx="38100" cy="38100"/>
              </a:xfrm>
              <a:custGeom>
                <a:avLst/>
                <a:gdLst>
                  <a:gd name="connsiteX0" fmla="*/ 29766 w 38100"/>
                  <a:gd name="connsiteY0" fmla="*/ 10716 h 38100"/>
                  <a:gd name="connsiteX1" fmla="*/ 10716 w 38100"/>
                  <a:gd name="connsiteY1" fmla="*/ 10716 h 38100"/>
                  <a:gd name="connsiteX2" fmla="*/ 10716 w 38100"/>
                  <a:gd name="connsiteY2" fmla="*/ 29766 h 38100"/>
                  <a:gd name="connsiteX3" fmla="*/ 29766 w 38100"/>
                  <a:gd name="connsiteY3" fmla="*/ 29766 h 38100"/>
                  <a:gd name="connsiteX4" fmla="*/ 29766 w 38100"/>
                  <a:gd name="connsiteY4" fmla="*/ 1071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9766" y="10716"/>
                    </a:moveTo>
                    <a:cubicBezTo>
                      <a:pt x="25003" y="5953"/>
                      <a:pt x="16431" y="5953"/>
                      <a:pt x="10716" y="10716"/>
                    </a:cubicBezTo>
                    <a:cubicBezTo>
                      <a:pt x="5953" y="15478"/>
                      <a:pt x="5953" y="24051"/>
                      <a:pt x="10716" y="29766"/>
                    </a:cubicBezTo>
                    <a:cubicBezTo>
                      <a:pt x="15478" y="34528"/>
                      <a:pt x="24051" y="34528"/>
                      <a:pt x="29766" y="29766"/>
                    </a:cubicBezTo>
                    <a:cubicBezTo>
                      <a:pt x="34528" y="24051"/>
                      <a:pt x="34528" y="15478"/>
                      <a:pt x="29766" y="10716"/>
                    </a:cubicBezTo>
                    <a:close/>
                  </a:path>
                </a:pathLst>
              </a:custGeom>
              <a:grpFill/>
              <a:ln w="9525" cap="flat">
                <a:noFill/>
                <a:prstDash val="solid"/>
                <a:miter/>
              </a:ln>
            </p:spPr>
            <p:txBody>
              <a:bodyPr rtlCol="0" anchor="ctr"/>
              <a:lstStyle/>
              <a:p>
                <a:endParaRPr lang="en-US"/>
              </a:p>
            </p:txBody>
          </p:sp>
          <p:sp>
            <p:nvSpPr>
              <p:cNvPr id="212" name="Freeform: Shape 211">
                <a:extLst>
                  <a:ext uri="{FF2B5EF4-FFF2-40B4-BE49-F238E27FC236}">
                    <a16:creationId xmlns:a16="http://schemas.microsoft.com/office/drawing/2014/main" id="{137509FC-32AF-4044-A39F-219F1F3C00F0}"/>
                  </a:ext>
                </a:extLst>
              </p:cNvPr>
              <p:cNvSpPr/>
              <p:nvPr/>
            </p:nvSpPr>
            <p:spPr>
              <a:xfrm>
                <a:off x="5156359" y="3240881"/>
                <a:ext cx="590550" cy="190500"/>
              </a:xfrm>
              <a:custGeom>
                <a:avLst/>
                <a:gdLst>
                  <a:gd name="connsiteX0" fmla="*/ 7144 w 590550"/>
                  <a:gd name="connsiteY0" fmla="*/ 7144 h 190500"/>
                  <a:gd name="connsiteX1" fmla="*/ 408146 w 590550"/>
                  <a:gd name="connsiteY1" fmla="*/ 7144 h 190500"/>
                  <a:gd name="connsiteX2" fmla="*/ 585311 w 590550"/>
                  <a:gd name="connsiteY2" fmla="*/ 184309 h 190500"/>
                  <a:gd name="connsiteX3" fmla="*/ 580549 w 590550"/>
                  <a:gd name="connsiteY3" fmla="*/ 189071 h 190500"/>
                  <a:gd name="connsiteX4" fmla="*/ 405289 w 590550"/>
                  <a:gd name="connsiteY4" fmla="*/ 13811 h 190500"/>
                  <a:gd name="connsiteX5" fmla="*/ 7144 w 590550"/>
                  <a:gd name="connsiteY5" fmla="*/ 13811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550" h="190500">
                    <a:moveTo>
                      <a:pt x="7144" y="7144"/>
                    </a:moveTo>
                    <a:lnTo>
                      <a:pt x="408146" y="7144"/>
                    </a:lnTo>
                    <a:lnTo>
                      <a:pt x="585311" y="184309"/>
                    </a:lnTo>
                    <a:lnTo>
                      <a:pt x="580549" y="189071"/>
                    </a:lnTo>
                    <a:lnTo>
                      <a:pt x="405289" y="13811"/>
                    </a:lnTo>
                    <a:lnTo>
                      <a:pt x="7144" y="13811"/>
                    </a:lnTo>
                    <a:close/>
                  </a:path>
                </a:pathLst>
              </a:custGeom>
              <a:grpFill/>
              <a:ln w="9525" cap="flat">
                <a:noFill/>
                <a:prstDash val="solid"/>
                <a:miter/>
              </a:ln>
            </p:spPr>
            <p:txBody>
              <a:bodyPr rtlCol="0" anchor="ctr"/>
              <a:lstStyle/>
              <a:p>
                <a:endParaRPr lang="en-US"/>
              </a:p>
            </p:txBody>
          </p:sp>
          <p:sp>
            <p:nvSpPr>
              <p:cNvPr id="213" name="Freeform: Shape 212">
                <a:extLst>
                  <a:ext uri="{FF2B5EF4-FFF2-40B4-BE49-F238E27FC236}">
                    <a16:creationId xmlns:a16="http://schemas.microsoft.com/office/drawing/2014/main" id="{FE839D09-DE1A-4E16-A06E-0D4B748DD1C5}"/>
                  </a:ext>
                </a:extLst>
              </p:cNvPr>
              <p:cNvSpPr/>
              <p:nvPr/>
            </p:nvSpPr>
            <p:spPr>
              <a:xfrm>
                <a:off x="5134451" y="3231356"/>
                <a:ext cx="38100" cy="38100"/>
              </a:xfrm>
              <a:custGeom>
                <a:avLst/>
                <a:gdLst>
                  <a:gd name="connsiteX0" fmla="*/ 20479 w 38100"/>
                  <a:gd name="connsiteY0" fmla="*/ 7144 h 38100"/>
                  <a:gd name="connsiteX1" fmla="*/ 7144 w 38100"/>
                  <a:gd name="connsiteY1" fmla="*/ 20479 h 38100"/>
                  <a:gd name="connsiteX2" fmla="*/ 20479 w 38100"/>
                  <a:gd name="connsiteY2" fmla="*/ 33814 h 38100"/>
                  <a:gd name="connsiteX3" fmla="*/ 33814 w 38100"/>
                  <a:gd name="connsiteY3" fmla="*/ 20479 h 38100"/>
                  <a:gd name="connsiteX4" fmla="*/ 20479 w 38100"/>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7144"/>
                    </a:moveTo>
                    <a:cubicBezTo>
                      <a:pt x="12859" y="7144"/>
                      <a:pt x="7144" y="12859"/>
                      <a:pt x="7144" y="20479"/>
                    </a:cubicBezTo>
                    <a:cubicBezTo>
                      <a:pt x="7144" y="28099"/>
                      <a:pt x="12859" y="33814"/>
                      <a:pt x="20479" y="33814"/>
                    </a:cubicBezTo>
                    <a:cubicBezTo>
                      <a:pt x="28099" y="33814"/>
                      <a:pt x="33814" y="28099"/>
                      <a:pt x="33814" y="20479"/>
                    </a:cubicBezTo>
                    <a:cubicBezTo>
                      <a:pt x="33814" y="12859"/>
                      <a:pt x="28099" y="7144"/>
                      <a:pt x="20479" y="7144"/>
                    </a:cubicBezTo>
                    <a:close/>
                  </a:path>
                </a:pathLst>
              </a:custGeom>
              <a:grpFill/>
              <a:ln w="9525" cap="flat">
                <a:noFill/>
                <a:prstDash val="solid"/>
                <a:miter/>
              </a:ln>
            </p:spPr>
            <p:txBody>
              <a:bodyPr rtlCol="0" anchor="ctr"/>
              <a:lstStyle/>
              <a:p>
                <a:endParaRPr lang="en-US"/>
              </a:p>
            </p:txBody>
          </p:sp>
          <p:sp>
            <p:nvSpPr>
              <p:cNvPr id="214" name="Freeform: Shape 213">
                <a:extLst>
                  <a:ext uri="{FF2B5EF4-FFF2-40B4-BE49-F238E27FC236}">
                    <a16:creationId xmlns:a16="http://schemas.microsoft.com/office/drawing/2014/main" id="{F9ABAC86-6FA1-49A0-9795-68885474762A}"/>
                  </a:ext>
                </a:extLst>
              </p:cNvPr>
              <p:cNvSpPr/>
              <p:nvPr/>
            </p:nvSpPr>
            <p:spPr>
              <a:xfrm>
                <a:off x="5084921" y="3377088"/>
                <a:ext cx="361950" cy="95250"/>
              </a:xfrm>
              <a:custGeom>
                <a:avLst/>
                <a:gdLst>
                  <a:gd name="connsiteX0" fmla="*/ 349091 w 361950"/>
                  <a:gd name="connsiteY0" fmla="*/ 7144 h 95250"/>
                  <a:gd name="connsiteX1" fmla="*/ 354806 w 361950"/>
                  <a:gd name="connsiteY1" fmla="*/ 12859 h 95250"/>
                  <a:gd name="connsiteX2" fmla="*/ 271939 w 361950"/>
                  <a:gd name="connsiteY2" fmla="*/ 94774 h 95250"/>
                  <a:gd name="connsiteX3" fmla="*/ 7144 w 361950"/>
                  <a:gd name="connsiteY3" fmla="*/ 94774 h 95250"/>
                  <a:gd name="connsiteX4" fmla="*/ 7144 w 361950"/>
                  <a:gd name="connsiteY4" fmla="*/ 88106 h 95250"/>
                  <a:gd name="connsiteX5" fmla="*/ 269081 w 361950"/>
                  <a:gd name="connsiteY5" fmla="*/ 88106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1950" h="95250">
                    <a:moveTo>
                      <a:pt x="349091" y="7144"/>
                    </a:moveTo>
                    <a:lnTo>
                      <a:pt x="354806" y="12859"/>
                    </a:lnTo>
                    <a:lnTo>
                      <a:pt x="271939" y="94774"/>
                    </a:lnTo>
                    <a:lnTo>
                      <a:pt x="7144" y="94774"/>
                    </a:lnTo>
                    <a:lnTo>
                      <a:pt x="7144" y="88106"/>
                    </a:lnTo>
                    <a:lnTo>
                      <a:pt x="269081" y="88106"/>
                    </a:lnTo>
                    <a:close/>
                  </a:path>
                </a:pathLst>
              </a:custGeom>
              <a:grpFill/>
              <a:ln w="9525" cap="flat">
                <a:noFill/>
                <a:prstDash val="solid"/>
                <a:miter/>
              </a:ln>
            </p:spPr>
            <p:txBody>
              <a:bodyPr rtlCol="0" anchor="ctr"/>
              <a:lstStyle/>
              <a:p>
                <a:endParaRPr lang="en-US"/>
              </a:p>
            </p:txBody>
          </p:sp>
          <p:sp>
            <p:nvSpPr>
              <p:cNvPr id="215" name="Freeform: Shape 214">
                <a:extLst>
                  <a:ext uri="{FF2B5EF4-FFF2-40B4-BE49-F238E27FC236}">
                    <a16:creationId xmlns:a16="http://schemas.microsoft.com/office/drawing/2014/main" id="{300D4050-0144-4A34-8927-846E6A2EA3F0}"/>
                  </a:ext>
                </a:extLst>
              </p:cNvPr>
              <p:cNvSpPr/>
              <p:nvPr/>
            </p:nvSpPr>
            <p:spPr>
              <a:xfrm>
                <a:off x="5072539" y="3448526"/>
                <a:ext cx="38100" cy="38100"/>
              </a:xfrm>
              <a:custGeom>
                <a:avLst/>
                <a:gdLst>
                  <a:gd name="connsiteX0" fmla="*/ 20479 w 38100"/>
                  <a:gd name="connsiteY0" fmla="*/ 7144 h 38100"/>
                  <a:gd name="connsiteX1" fmla="*/ 7144 w 38100"/>
                  <a:gd name="connsiteY1" fmla="*/ 20479 h 38100"/>
                  <a:gd name="connsiteX2" fmla="*/ 20479 w 38100"/>
                  <a:gd name="connsiteY2" fmla="*/ 33814 h 38100"/>
                  <a:gd name="connsiteX3" fmla="*/ 33814 w 38100"/>
                  <a:gd name="connsiteY3" fmla="*/ 20479 h 38100"/>
                  <a:gd name="connsiteX4" fmla="*/ 20479 w 38100"/>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7144"/>
                    </a:moveTo>
                    <a:cubicBezTo>
                      <a:pt x="12859" y="7144"/>
                      <a:pt x="7144" y="12859"/>
                      <a:pt x="7144" y="20479"/>
                    </a:cubicBezTo>
                    <a:cubicBezTo>
                      <a:pt x="7144" y="28099"/>
                      <a:pt x="12859" y="33814"/>
                      <a:pt x="20479" y="33814"/>
                    </a:cubicBezTo>
                    <a:cubicBezTo>
                      <a:pt x="28099" y="33814"/>
                      <a:pt x="33814" y="28099"/>
                      <a:pt x="33814" y="20479"/>
                    </a:cubicBezTo>
                    <a:cubicBezTo>
                      <a:pt x="32861" y="12859"/>
                      <a:pt x="27146" y="7144"/>
                      <a:pt x="20479" y="7144"/>
                    </a:cubicBezTo>
                    <a:close/>
                  </a:path>
                </a:pathLst>
              </a:custGeom>
              <a:grpFill/>
              <a:ln w="9525" cap="flat">
                <a:noFill/>
                <a:prstDash val="solid"/>
                <a:miter/>
              </a:ln>
            </p:spPr>
            <p:txBody>
              <a:bodyPr rtlCol="0" anchor="ctr"/>
              <a:lstStyle/>
              <a:p>
                <a:endParaRPr lang="en-US"/>
              </a:p>
            </p:txBody>
          </p:sp>
          <p:sp>
            <p:nvSpPr>
              <p:cNvPr id="216" name="Freeform: Shape 215">
                <a:extLst>
                  <a:ext uri="{FF2B5EF4-FFF2-40B4-BE49-F238E27FC236}">
                    <a16:creationId xmlns:a16="http://schemas.microsoft.com/office/drawing/2014/main" id="{EBC56B67-1AC9-4E2C-997D-0A7334E794D3}"/>
                  </a:ext>
                </a:extLst>
              </p:cNvPr>
              <p:cNvSpPr/>
              <p:nvPr/>
            </p:nvSpPr>
            <p:spPr>
              <a:xfrm>
                <a:off x="5571649" y="3071336"/>
                <a:ext cx="809625" cy="200025"/>
              </a:xfrm>
              <a:custGeom>
                <a:avLst/>
                <a:gdLst>
                  <a:gd name="connsiteX0" fmla="*/ 11906 w 809625"/>
                  <a:gd name="connsiteY0" fmla="*/ 7144 h 200025"/>
                  <a:gd name="connsiteX1" fmla="*/ 192881 w 809625"/>
                  <a:gd name="connsiteY1" fmla="*/ 188119 h 200025"/>
                  <a:gd name="connsiteX2" fmla="*/ 808196 w 809625"/>
                  <a:gd name="connsiteY2" fmla="*/ 188119 h 200025"/>
                  <a:gd name="connsiteX3" fmla="*/ 808196 w 809625"/>
                  <a:gd name="connsiteY3" fmla="*/ 195739 h 200025"/>
                  <a:gd name="connsiteX4" fmla="*/ 190024 w 809625"/>
                  <a:gd name="connsiteY4" fmla="*/ 194786 h 200025"/>
                  <a:gd name="connsiteX5" fmla="*/ 7144 w 809625"/>
                  <a:gd name="connsiteY5" fmla="*/ 11906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9625" h="200025">
                    <a:moveTo>
                      <a:pt x="11906" y="7144"/>
                    </a:moveTo>
                    <a:lnTo>
                      <a:pt x="192881" y="188119"/>
                    </a:lnTo>
                    <a:lnTo>
                      <a:pt x="808196" y="188119"/>
                    </a:lnTo>
                    <a:lnTo>
                      <a:pt x="808196" y="195739"/>
                    </a:lnTo>
                    <a:lnTo>
                      <a:pt x="190024" y="194786"/>
                    </a:lnTo>
                    <a:lnTo>
                      <a:pt x="7144" y="11906"/>
                    </a:lnTo>
                    <a:close/>
                  </a:path>
                </a:pathLst>
              </a:custGeom>
              <a:grpFill/>
              <a:ln w="9525" cap="flat">
                <a:noFill/>
                <a:prstDash val="solid"/>
                <a:miter/>
              </a:ln>
            </p:spPr>
            <p:txBody>
              <a:bodyPr rtlCol="0" anchor="ctr"/>
              <a:lstStyle/>
              <a:p>
                <a:endParaRPr lang="en-US"/>
              </a:p>
            </p:txBody>
          </p:sp>
          <p:sp>
            <p:nvSpPr>
              <p:cNvPr id="217" name="Freeform: Shape 216">
                <a:extLst>
                  <a:ext uri="{FF2B5EF4-FFF2-40B4-BE49-F238E27FC236}">
                    <a16:creationId xmlns:a16="http://schemas.microsoft.com/office/drawing/2014/main" id="{297E33E8-0E89-4392-B96A-C698A4C4F6F8}"/>
                  </a:ext>
                </a:extLst>
              </p:cNvPr>
              <p:cNvSpPr/>
              <p:nvPr/>
            </p:nvSpPr>
            <p:spPr>
              <a:xfrm>
                <a:off x="6358414" y="3242786"/>
                <a:ext cx="38100" cy="38100"/>
              </a:xfrm>
              <a:custGeom>
                <a:avLst/>
                <a:gdLst>
                  <a:gd name="connsiteX0" fmla="*/ 20479 w 38100"/>
                  <a:gd name="connsiteY0" fmla="*/ 33814 h 38100"/>
                  <a:gd name="connsiteX1" fmla="*/ 33814 w 38100"/>
                  <a:gd name="connsiteY1" fmla="*/ 20479 h 38100"/>
                  <a:gd name="connsiteX2" fmla="*/ 20479 w 38100"/>
                  <a:gd name="connsiteY2" fmla="*/ 7144 h 38100"/>
                  <a:gd name="connsiteX3" fmla="*/ 7144 w 38100"/>
                  <a:gd name="connsiteY3" fmla="*/ 20479 h 38100"/>
                  <a:gd name="connsiteX4" fmla="*/ 20479 w 38100"/>
                  <a:gd name="connsiteY4" fmla="*/ 3381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33814"/>
                    </a:moveTo>
                    <a:cubicBezTo>
                      <a:pt x="28099" y="33814"/>
                      <a:pt x="33814" y="28099"/>
                      <a:pt x="33814" y="20479"/>
                    </a:cubicBezTo>
                    <a:cubicBezTo>
                      <a:pt x="33814" y="12859"/>
                      <a:pt x="28099" y="7144"/>
                      <a:pt x="20479" y="7144"/>
                    </a:cubicBezTo>
                    <a:cubicBezTo>
                      <a:pt x="12859" y="7144"/>
                      <a:pt x="7144" y="12859"/>
                      <a:pt x="7144" y="20479"/>
                    </a:cubicBezTo>
                    <a:cubicBezTo>
                      <a:pt x="7144" y="28099"/>
                      <a:pt x="13811" y="33814"/>
                      <a:pt x="20479" y="33814"/>
                    </a:cubicBezTo>
                    <a:close/>
                  </a:path>
                </a:pathLst>
              </a:custGeom>
              <a:grpFill/>
              <a:ln w="9525" cap="flat">
                <a:noFill/>
                <a:prstDash val="solid"/>
                <a:miter/>
              </a:ln>
            </p:spPr>
            <p:txBody>
              <a:bodyPr rtlCol="0" anchor="ctr"/>
              <a:lstStyle/>
              <a:p>
                <a:endParaRPr lang="en-US"/>
              </a:p>
            </p:txBody>
          </p:sp>
        </p:grpSp>
        <p:grpSp>
          <p:nvGrpSpPr>
            <p:cNvPr id="21" name="Graphic 166">
              <a:extLst>
                <a:ext uri="{FF2B5EF4-FFF2-40B4-BE49-F238E27FC236}">
                  <a16:creationId xmlns:a16="http://schemas.microsoft.com/office/drawing/2014/main" id="{F9141121-0887-4503-8F6F-E910C6356BEF}"/>
                </a:ext>
              </a:extLst>
            </p:cNvPr>
            <p:cNvGrpSpPr/>
            <p:nvPr/>
          </p:nvGrpSpPr>
          <p:grpSpPr>
            <a:xfrm>
              <a:off x="3823543" y="2188695"/>
              <a:ext cx="2667773" cy="560516"/>
              <a:chOff x="4305300" y="3052762"/>
              <a:chExt cx="3581400" cy="752475"/>
            </a:xfrm>
            <a:grpFill/>
          </p:grpSpPr>
          <p:sp>
            <p:nvSpPr>
              <p:cNvPr id="178" name="Freeform: Shape 177">
                <a:extLst>
                  <a:ext uri="{FF2B5EF4-FFF2-40B4-BE49-F238E27FC236}">
                    <a16:creationId xmlns:a16="http://schemas.microsoft.com/office/drawing/2014/main" id="{BFE743C3-C9CB-4F8D-B83C-FFD63D87EA77}"/>
                  </a:ext>
                </a:extLst>
              </p:cNvPr>
              <p:cNvSpPr/>
              <p:nvPr/>
            </p:nvSpPr>
            <p:spPr>
              <a:xfrm>
                <a:off x="4401979" y="3311366"/>
                <a:ext cx="3476625" cy="200025"/>
              </a:xfrm>
              <a:custGeom>
                <a:avLst/>
                <a:gdLst>
                  <a:gd name="connsiteX0" fmla="*/ 1497806 w 3476625"/>
                  <a:gd name="connsiteY0" fmla="*/ 7144 h 200025"/>
                  <a:gd name="connsiteX1" fmla="*/ 1822609 w 3476625"/>
                  <a:gd name="connsiteY1" fmla="*/ 7144 h 200025"/>
                  <a:gd name="connsiteX2" fmla="*/ 1899761 w 3476625"/>
                  <a:gd name="connsiteY2" fmla="*/ 84296 h 200025"/>
                  <a:gd name="connsiteX3" fmla="*/ 2174081 w 3476625"/>
                  <a:gd name="connsiteY3" fmla="*/ 84296 h 200025"/>
                  <a:gd name="connsiteX4" fmla="*/ 2240756 w 3476625"/>
                  <a:gd name="connsiteY4" fmla="*/ 17621 h 200025"/>
                  <a:gd name="connsiteX5" fmla="*/ 3470434 w 3476625"/>
                  <a:gd name="connsiteY5" fmla="*/ 17621 h 200025"/>
                  <a:gd name="connsiteX6" fmla="*/ 3470434 w 3476625"/>
                  <a:gd name="connsiteY6" fmla="*/ 24289 h 200025"/>
                  <a:gd name="connsiteX7" fmla="*/ 2243614 w 3476625"/>
                  <a:gd name="connsiteY7" fmla="*/ 24289 h 200025"/>
                  <a:gd name="connsiteX8" fmla="*/ 2176939 w 3476625"/>
                  <a:gd name="connsiteY8" fmla="*/ 90964 h 200025"/>
                  <a:gd name="connsiteX9" fmla="*/ 1896904 w 3476625"/>
                  <a:gd name="connsiteY9" fmla="*/ 90964 h 200025"/>
                  <a:gd name="connsiteX10" fmla="*/ 1819751 w 3476625"/>
                  <a:gd name="connsiteY10" fmla="*/ 13811 h 200025"/>
                  <a:gd name="connsiteX11" fmla="*/ 1500664 w 3476625"/>
                  <a:gd name="connsiteY11" fmla="*/ 13811 h 200025"/>
                  <a:gd name="connsiteX12" fmla="*/ 1432084 w 3476625"/>
                  <a:gd name="connsiteY12" fmla="*/ 120491 h 200025"/>
                  <a:gd name="connsiteX13" fmla="*/ 1057751 w 3476625"/>
                  <a:gd name="connsiteY13" fmla="*/ 120491 h 200025"/>
                  <a:gd name="connsiteX14" fmla="*/ 971074 w 3476625"/>
                  <a:gd name="connsiteY14" fmla="*/ 14764 h 200025"/>
                  <a:gd name="connsiteX15" fmla="*/ 379571 w 3476625"/>
                  <a:gd name="connsiteY15" fmla="*/ 14764 h 200025"/>
                  <a:gd name="connsiteX16" fmla="*/ 11906 w 3476625"/>
                  <a:gd name="connsiteY16" fmla="*/ 201454 h 200025"/>
                  <a:gd name="connsiteX17" fmla="*/ 7144 w 3476625"/>
                  <a:gd name="connsiteY17" fmla="*/ 196691 h 200025"/>
                  <a:gd name="connsiteX18" fmla="*/ 376714 w 3476625"/>
                  <a:gd name="connsiteY18" fmla="*/ 8096 h 200025"/>
                  <a:gd name="connsiteX19" fmla="*/ 973931 w 3476625"/>
                  <a:gd name="connsiteY19" fmla="*/ 8096 h 200025"/>
                  <a:gd name="connsiteX20" fmla="*/ 1061561 w 3476625"/>
                  <a:gd name="connsiteY20" fmla="*/ 113824 h 200025"/>
                  <a:gd name="connsiteX21" fmla="*/ 1429226 w 3476625"/>
                  <a:gd name="connsiteY21" fmla="*/ 113824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476625" h="200025">
                    <a:moveTo>
                      <a:pt x="1497806" y="7144"/>
                    </a:moveTo>
                    <a:lnTo>
                      <a:pt x="1822609" y="7144"/>
                    </a:lnTo>
                    <a:lnTo>
                      <a:pt x="1899761" y="84296"/>
                    </a:lnTo>
                    <a:lnTo>
                      <a:pt x="2174081" y="84296"/>
                    </a:lnTo>
                    <a:lnTo>
                      <a:pt x="2240756" y="17621"/>
                    </a:lnTo>
                    <a:lnTo>
                      <a:pt x="3470434" y="17621"/>
                    </a:lnTo>
                    <a:lnTo>
                      <a:pt x="3470434" y="24289"/>
                    </a:lnTo>
                    <a:lnTo>
                      <a:pt x="2243614" y="24289"/>
                    </a:lnTo>
                    <a:lnTo>
                      <a:pt x="2176939" y="90964"/>
                    </a:lnTo>
                    <a:lnTo>
                      <a:pt x="1896904" y="90964"/>
                    </a:lnTo>
                    <a:lnTo>
                      <a:pt x="1819751" y="13811"/>
                    </a:lnTo>
                    <a:lnTo>
                      <a:pt x="1500664" y="13811"/>
                    </a:lnTo>
                    <a:lnTo>
                      <a:pt x="1432084" y="120491"/>
                    </a:lnTo>
                    <a:lnTo>
                      <a:pt x="1057751" y="120491"/>
                    </a:lnTo>
                    <a:lnTo>
                      <a:pt x="971074" y="14764"/>
                    </a:lnTo>
                    <a:lnTo>
                      <a:pt x="379571" y="14764"/>
                    </a:lnTo>
                    <a:lnTo>
                      <a:pt x="11906" y="201454"/>
                    </a:lnTo>
                    <a:lnTo>
                      <a:pt x="7144" y="196691"/>
                    </a:lnTo>
                    <a:lnTo>
                      <a:pt x="376714" y="8096"/>
                    </a:lnTo>
                    <a:lnTo>
                      <a:pt x="973931" y="8096"/>
                    </a:lnTo>
                    <a:lnTo>
                      <a:pt x="1061561" y="113824"/>
                    </a:lnTo>
                    <a:lnTo>
                      <a:pt x="1429226" y="113824"/>
                    </a:lnTo>
                    <a:close/>
                  </a:path>
                </a:pathLst>
              </a:custGeom>
              <a:grpFill/>
              <a:ln w="9525" cap="flat">
                <a:noFill/>
                <a:prstDash val="solid"/>
                <a:miter/>
              </a:ln>
            </p:spPr>
            <p:txBody>
              <a:bodyPr rtlCol="0" anchor="ctr"/>
              <a:lstStyle/>
              <a:p>
                <a:endParaRPr lang="en-US"/>
              </a:p>
            </p:txBody>
          </p:sp>
          <p:sp>
            <p:nvSpPr>
              <p:cNvPr id="179" name="Freeform: Shape 178">
                <a:extLst>
                  <a:ext uri="{FF2B5EF4-FFF2-40B4-BE49-F238E27FC236}">
                    <a16:creationId xmlns:a16="http://schemas.microsoft.com/office/drawing/2014/main" id="{3A02079A-A908-4D69-9E5C-27041294C01D}"/>
                  </a:ext>
                </a:extLst>
              </p:cNvPr>
              <p:cNvSpPr/>
              <p:nvPr/>
            </p:nvSpPr>
            <p:spPr>
              <a:xfrm>
                <a:off x="7851934" y="3312318"/>
                <a:ext cx="38100" cy="38100"/>
              </a:xfrm>
              <a:custGeom>
                <a:avLst/>
                <a:gdLst>
                  <a:gd name="connsiteX0" fmla="*/ 20479 w 38100"/>
                  <a:gd name="connsiteY0" fmla="*/ 7144 h 38100"/>
                  <a:gd name="connsiteX1" fmla="*/ 33814 w 38100"/>
                  <a:gd name="connsiteY1" fmla="*/ 20479 h 38100"/>
                  <a:gd name="connsiteX2" fmla="*/ 20479 w 38100"/>
                  <a:gd name="connsiteY2" fmla="*/ 33814 h 38100"/>
                  <a:gd name="connsiteX3" fmla="*/ 7144 w 38100"/>
                  <a:gd name="connsiteY3" fmla="*/ 20479 h 38100"/>
                  <a:gd name="connsiteX4" fmla="*/ 20479 w 38100"/>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7144"/>
                    </a:moveTo>
                    <a:cubicBezTo>
                      <a:pt x="28099" y="7144"/>
                      <a:pt x="33814" y="12859"/>
                      <a:pt x="33814" y="20479"/>
                    </a:cubicBezTo>
                    <a:cubicBezTo>
                      <a:pt x="33814" y="28099"/>
                      <a:pt x="28099" y="33814"/>
                      <a:pt x="20479" y="33814"/>
                    </a:cubicBezTo>
                    <a:cubicBezTo>
                      <a:pt x="12859" y="33814"/>
                      <a:pt x="7144" y="28099"/>
                      <a:pt x="7144" y="20479"/>
                    </a:cubicBezTo>
                    <a:cubicBezTo>
                      <a:pt x="7144" y="12859"/>
                      <a:pt x="12859" y="7144"/>
                      <a:pt x="20479" y="7144"/>
                    </a:cubicBezTo>
                    <a:close/>
                  </a:path>
                </a:pathLst>
              </a:custGeom>
              <a:grpFill/>
              <a:ln w="9525" cap="flat">
                <a:noFill/>
                <a:prstDash val="solid"/>
                <a:miter/>
              </a:ln>
            </p:spPr>
            <p:txBody>
              <a:bodyPr rtlCol="0" anchor="ctr"/>
              <a:lstStyle/>
              <a:p>
                <a:endParaRPr lang="en-US"/>
              </a:p>
            </p:txBody>
          </p:sp>
          <p:sp>
            <p:nvSpPr>
              <p:cNvPr id="180" name="Freeform: Shape 179">
                <a:extLst>
                  <a:ext uri="{FF2B5EF4-FFF2-40B4-BE49-F238E27FC236}">
                    <a16:creationId xmlns:a16="http://schemas.microsoft.com/office/drawing/2014/main" id="{82CA9E4E-E851-4F0C-8944-4E54BF49EF16}"/>
                  </a:ext>
                </a:extLst>
              </p:cNvPr>
              <p:cNvSpPr/>
              <p:nvPr/>
            </p:nvSpPr>
            <p:spPr>
              <a:xfrm>
                <a:off x="4391739" y="3489721"/>
                <a:ext cx="38100" cy="38100"/>
              </a:xfrm>
              <a:custGeom>
                <a:avLst/>
                <a:gdLst>
                  <a:gd name="connsiteX0" fmla="*/ 10716 w 38100"/>
                  <a:gd name="connsiteY0" fmla="*/ 10716 h 38100"/>
                  <a:gd name="connsiteX1" fmla="*/ 10716 w 38100"/>
                  <a:gd name="connsiteY1" fmla="*/ 29766 h 38100"/>
                  <a:gd name="connsiteX2" fmla="*/ 29766 w 38100"/>
                  <a:gd name="connsiteY2" fmla="*/ 29766 h 38100"/>
                  <a:gd name="connsiteX3" fmla="*/ 29766 w 38100"/>
                  <a:gd name="connsiteY3" fmla="*/ 10716 h 38100"/>
                  <a:gd name="connsiteX4" fmla="*/ 10716 w 38100"/>
                  <a:gd name="connsiteY4" fmla="*/ 1071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0716" y="10716"/>
                    </a:moveTo>
                    <a:cubicBezTo>
                      <a:pt x="5953" y="15478"/>
                      <a:pt x="5953" y="24051"/>
                      <a:pt x="10716" y="29766"/>
                    </a:cubicBezTo>
                    <a:cubicBezTo>
                      <a:pt x="15478" y="34528"/>
                      <a:pt x="24051" y="34528"/>
                      <a:pt x="29766" y="29766"/>
                    </a:cubicBezTo>
                    <a:cubicBezTo>
                      <a:pt x="34528" y="25003"/>
                      <a:pt x="34528" y="16431"/>
                      <a:pt x="29766" y="10716"/>
                    </a:cubicBezTo>
                    <a:cubicBezTo>
                      <a:pt x="24051" y="5953"/>
                      <a:pt x="15478" y="5953"/>
                      <a:pt x="10716" y="10716"/>
                    </a:cubicBezTo>
                    <a:close/>
                  </a:path>
                </a:pathLst>
              </a:custGeom>
              <a:grpFill/>
              <a:ln w="9525" cap="flat">
                <a:noFill/>
                <a:prstDash val="solid"/>
                <a:miter/>
              </a:ln>
            </p:spPr>
            <p:txBody>
              <a:bodyPr rtlCol="0" anchor="ctr"/>
              <a:lstStyle/>
              <a:p>
                <a:endParaRPr lang="en-US"/>
              </a:p>
            </p:txBody>
          </p:sp>
          <p:sp>
            <p:nvSpPr>
              <p:cNvPr id="181" name="Freeform: Shape 180">
                <a:extLst>
                  <a:ext uri="{FF2B5EF4-FFF2-40B4-BE49-F238E27FC236}">
                    <a16:creationId xmlns:a16="http://schemas.microsoft.com/office/drawing/2014/main" id="{C01AC133-BFF8-4799-8BC0-258CEF5959E7}"/>
                  </a:ext>
                </a:extLst>
              </p:cNvPr>
              <p:cNvSpPr/>
              <p:nvPr/>
            </p:nvSpPr>
            <p:spPr>
              <a:xfrm>
                <a:off x="4559141" y="3055143"/>
                <a:ext cx="2552700" cy="142875"/>
              </a:xfrm>
              <a:custGeom>
                <a:avLst/>
                <a:gdLst>
                  <a:gd name="connsiteX0" fmla="*/ 7144 w 2552700"/>
                  <a:gd name="connsiteY0" fmla="*/ 7144 h 142875"/>
                  <a:gd name="connsiteX1" fmla="*/ 101441 w 2552700"/>
                  <a:gd name="connsiteY1" fmla="*/ 7144 h 142875"/>
                  <a:gd name="connsiteX2" fmla="*/ 222409 w 2552700"/>
                  <a:gd name="connsiteY2" fmla="*/ 128111 h 142875"/>
                  <a:gd name="connsiteX3" fmla="*/ 813911 w 2552700"/>
                  <a:gd name="connsiteY3" fmla="*/ 128111 h 142875"/>
                  <a:gd name="connsiteX4" fmla="*/ 881539 w 2552700"/>
                  <a:gd name="connsiteY4" fmla="*/ 21431 h 142875"/>
                  <a:gd name="connsiteX5" fmla="*/ 1284446 w 2552700"/>
                  <a:gd name="connsiteY5" fmla="*/ 21431 h 142875"/>
                  <a:gd name="connsiteX6" fmla="*/ 1343501 w 2552700"/>
                  <a:gd name="connsiteY6" fmla="*/ 129064 h 142875"/>
                  <a:gd name="connsiteX7" fmla="*/ 1662589 w 2552700"/>
                  <a:gd name="connsiteY7" fmla="*/ 129064 h 142875"/>
                  <a:gd name="connsiteX8" fmla="*/ 1739741 w 2552700"/>
                  <a:gd name="connsiteY8" fmla="*/ 51911 h 142875"/>
                  <a:gd name="connsiteX9" fmla="*/ 2019776 w 2552700"/>
                  <a:gd name="connsiteY9" fmla="*/ 51911 h 142875"/>
                  <a:gd name="connsiteX10" fmla="*/ 2086451 w 2552700"/>
                  <a:gd name="connsiteY10" fmla="*/ 117634 h 142875"/>
                  <a:gd name="connsiteX11" fmla="*/ 2551271 w 2552700"/>
                  <a:gd name="connsiteY11" fmla="*/ 117634 h 142875"/>
                  <a:gd name="connsiteX12" fmla="*/ 2551271 w 2552700"/>
                  <a:gd name="connsiteY12" fmla="*/ 125254 h 142875"/>
                  <a:gd name="connsiteX13" fmla="*/ 2083594 w 2552700"/>
                  <a:gd name="connsiteY13" fmla="*/ 125254 h 142875"/>
                  <a:gd name="connsiteX14" fmla="*/ 2016919 w 2552700"/>
                  <a:gd name="connsiteY14" fmla="*/ 58579 h 142875"/>
                  <a:gd name="connsiteX15" fmla="*/ 1742599 w 2552700"/>
                  <a:gd name="connsiteY15" fmla="*/ 58579 h 142875"/>
                  <a:gd name="connsiteX16" fmla="*/ 1665446 w 2552700"/>
                  <a:gd name="connsiteY16" fmla="*/ 135731 h 142875"/>
                  <a:gd name="connsiteX17" fmla="*/ 1340644 w 2552700"/>
                  <a:gd name="connsiteY17" fmla="*/ 135731 h 142875"/>
                  <a:gd name="connsiteX18" fmla="*/ 1281589 w 2552700"/>
                  <a:gd name="connsiteY18" fmla="*/ 29051 h 142875"/>
                  <a:gd name="connsiteX19" fmla="*/ 885349 w 2552700"/>
                  <a:gd name="connsiteY19" fmla="*/ 29051 h 142875"/>
                  <a:gd name="connsiteX20" fmla="*/ 816769 w 2552700"/>
                  <a:gd name="connsiteY20" fmla="*/ 134779 h 142875"/>
                  <a:gd name="connsiteX21" fmla="*/ 219551 w 2552700"/>
                  <a:gd name="connsiteY21" fmla="*/ 134779 h 142875"/>
                  <a:gd name="connsiteX22" fmla="*/ 98584 w 2552700"/>
                  <a:gd name="connsiteY22" fmla="*/ 14764 h 142875"/>
                  <a:gd name="connsiteX23" fmla="*/ 7144 w 2552700"/>
                  <a:gd name="connsiteY23" fmla="*/ 14764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552700" h="142875">
                    <a:moveTo>
                      <a:pt x="7144" y="7144"/>
                    </a:moveTo>
                    <a:lnTo>
                      <a:pt x="101441" y="7144"/>
                    </a:lnTo>
                    <a:lnTo>
                      <a:pt x="222409" y="128111"/>
                    </a:lnTo>
                    <a:lnTo>
                      <a:pt x="813911" y="128111"/>
                    </a:lnTo>
                    <a:lnTo>
                      <a:pt x="881539" y="21431"/>
                    </a:lnTo>
                    <a:lnTo>
                      <a:pt x="1284446" y="21431"/>
                    </a:lnTo>
                    <a:lnTo>
                      <a:pt x="1343501" y="129064"/>
                    </a:lnTo>
                    <a:lnTo>
                      <a:pt x="1662589" y="129064"/>
                    </a:lnTo>
                    <a:lnTo>
                      <a:pt x="1739741" y="51911"/>
                    </a:lnTo>
                    <a:lnTo>
                      <a:pt x="2019776" y="51911"/>
                    </a:lnTo>
                    <a:lnTo>
                      <a:pt x="2086451" y="117634"/>
                    </a:lnTo>
                    <a:lnTo>
                      <a:pt x="2551271" y="117634"/>
                    </a:lnTo>
                    <a:lnTo>
                      <a:pt x="2551271" y="125254"/>
                    </a:lnTo>
                    <a:lnTo>
                      <a:pt x="2083594" y="125254"/>
                    </a:lnTo>
                    <a:lnTo>
                      <a:pt x="2016919" y="58579"/>
                    </a:lnTo>
                    <a:lnTo>
                      <a:pt x="1742599" y="58579"/>
                    </a:lnTo>
                    <a:lnTo>
                      <a:pt x="1665446" y="135731"/>
                    </a:lnTo>
                    <a:lnTo>
                      <a:pt x="1340644" y="135731"/>
                    </a:lnTo>
                    <a:lnTo>
                      <a:pt x="1281589" y="29051"/>
                    </a:lnTo>
                    <a:lnTo>
                      <a:pt x="885349" y="29051"/>
                    </a:lnTo>
                    <a:lnTo>
                      <a:pt x="816769" y="134779"/>
                    </a:lnTo>
                    <a:lnTo>
                      <a:pt x="219551" y="134779"/>
                    </a:lnTo>
                    <a:lnTo>
                      <a:pt x="98584" y="14764"/>
                    </a:lnTo>
                    <a:lnTo>
                      <a:pt x="7144" y="14764"/>
                    </a:lnTo>
                    <a:close/>
                  </a:path>
                </a:pathLst>
              </a:custGeom>
              <a:grpFill/>
              <a:ln w="9525" cap="flat">
                <a:noFill/>
                <a:prstDash val="solid"/>
                <a:miter/>
              </a:ln>
            </p:spPr>
            <p:txBody>
              <a:bodyPr rtlCol="0" anchor="ctr"/>
              <a:lstStyle/>
              <a:p>
                <a:endParaRPr lang="en-US"/>
              </a:p>
            </p:txBody>
          </p:sp>
          <p:sp>
            <p:nvSpPr>
              <p:cNvPr id="182" name="Freeform: Shape 181">
                <a:extLst>
                  <a:ext uri="{FF2B5EF4-FFF2-40B4-BE49-F238E27FC236}">
                    <a16:creationId xmlns:a16="http://schemas.microsoft.com/office/drawing/2014/main" id="{E0A308CB-E865-4BE4-835E-67F5AFD8E08C}"/>
                  </a:ext>
                </a:extLst>
              </p:cNvPr>
              <p:cNvSpPr/>
              <p:nvPr/>
            </p:nvSpPr>
            <p:spPr>
              <a:xfrm>
                <a:off x="7089934" y="3156108"/>
                <a:ext cx="38100" cy="38100"/>
              </a:xfrm>
              <a:custGeom>
                <a:avLst/>
                <a:gdLst>
                  <a:gd name="connsiteX0" fmla="*/ 20479 w 38100"/>
                  <a:gd name="connsiteY0" fmla="*/ 7144 h 38100"/>
                  <a:gd name="connsiteX1" fmla="*/ 33814 w 38100"/>
                  <a:gd name="connsiteY1" fmla="*/ 20479 h 38100"/>
                  <a:gd name="connsiteX2" fmla="*/ 20479 w 38100"/>
                  <a:gd name="connsiteY2" fmla="*/ 33814 h 38100"/>
                  <a:gd name="connsiteX3" fmla="*/ 7144 w 38100"/>
                  <a:gd name="connsiteY3" fmla="*/ 20479 h 38100"/>
                  <a:gd name="connsiteX4" fmla="*/ 20479 w 38100"/>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7144"/>
                    </a:moveTo>
                    <a:cubicBezTo>
                      <a:pt x="28099" y="7144"/>
                      <a:pt x="33814" y="12859"/>
                      <a:pt x="33814" y="20479"/>
                    </a:cubicBezTo>
                    <a:cubicBezTo>
                      <a:pt x="33814" y="28099"/>
                      <a:pt x="28099" y="33814"/>
                      <a:pt x="20479" y="33814"/>
                    </a:cubicBezTo>
                    <a:cubicBezTo>
                      <a:pt x="12859" y="33814"/>
                      <a:pt x="7144" y="28099"/>
                      <a:pt x="7144" y="20479"/>
                    </a:cubicBezTo>
                    <a:cubicBezTo>
                      <a:pt x="7144" y="13811"/>
                      <a:pt x="12859" y="7144"/>
                      <a:pt x="20479" y="7144"/>
                    </a:cubicBezTo>
                    <a:close/>
                  </a:path>
                </a:pathLst>
              </a:custGeom>
              <a:grpFill/>
              <a:ln w="9525" cap="flat">
                <a:noFill/>
                <a:prstDash val="solid"/>
                <a:miter/>
              </a:ln>
            </p:spPr>
            <p:txBody>
              <a:bodyPr rtlCol="0" anchor="ctr"/>
              <a:lstStyle/>
              <a:p>
                <a:endParaRPr lang="en-US"/>
              </a:p>
            </p:txBody>
          </p:sp>
          <p:sp>
            <p:nvSpPr>
              <p:cNvPr id="183" name="Freeform: Shape 182">
                <a:extLst>
                  <a:ext uri="{FF2B5EF4-FFF2-40B4-BE49-F238E27FC236}">
                    <a16:creationId xmlns:a16="http://schemas.microsoft.com/office/drawing/2014/main" id="{BBFE1FF2-4B02-470F-9692-611D559364FA}"/>
                  </a:ext>
                </a:extLst>
              </p:cNvPr>
              <p:cNvSpPr/>
              <p:nvPr/>
            </p:nvSpPr>
            <p:spPr>
              <a:xfrm>
                <a:off x="4546759" y="3045618"/>
                <a:ext cx="38100" cy="38100"/>
              </a:xfrm>
              <a:custGeom>
                <a:avLst/>
                <a:gdLst>
                  <a:gd name="connsiteX0" fmla="*/ 20479 w 38100"/>
                  <a:gd name="connsiteY0" fmla="*/ 7144 h 38100"/>
                  <a:gd name="connsiteX1" fmla="*/ 7144 w 38100"/>
                  <a:gd name="connsiteY1" fmla="*/ 20479 h 38100"/>
                  <a:gd name="connsiteX2" fmla="*/ 20479 w 38100"/>
                  <a:gd name="connsiteY2" fmla="*/ 33814 h 38100"/>
                  <a:gd name="connsiteX3" fmla="*/ 33814 w 38100"/>
                  <a:gd name="connsiteY3" fmla="*/ 20479 h 38100"/>
                  <a:gd name="connsiteX4" fmla="*/ 20479 w 38100"/>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7144"/>
                    </a:moveTo>
                    <a:cubicBezTo>
                      <a:pt x="12859" y="7144"/>
                      <a:pt x="7144" y="12859"/>
                      <a:pt x="7144" y="20479"/>
                    </a:cubicBezTo>
                    <a:cubicBezTo>
                      <a:pt x="7144" y="28099"/>
                      <a:pt x="12859" y="33814"/>
                      <a:pt x="20479" y="33814"/>
                    </a:cubicBezTo>
                    <a:cubicBezTo>
                      <a:pt x="28099" y="33814"/>
                      <a:pt x="33814" y="28099"/>
                      <a:pt x="33814" y="20479"/>
                    </a:cubicBezTo>
                    <a:cubicBezTo>
                      <a:pt x="33814" y="12859"/>
                      <a:pt x="28099" y="7144"/>
                      <a:pt x="20479" y="7144"/>
                    </a:cubicBezTo>
                    <a:close/>
                  </a:path>
                </a:pathLst>
              </a:custGeom>
              <a:grpFill/>
              <a:ln w="9525" cap="flat">
                <a:noFill/>
                <a:prstDash val="solid"/>
                <a:miter/>
              </a:ln>
            </p:spPr>
            <p:txBody>
              <a:bodyPr rtlCol="0" anchor="ctr"/>
              <a:lstStyle/>
              <a:p>
                <a:endParaRPr lang="en-US"/>
              </a:p>
            </p:txBody>
          </p:sp>
          <p:sp>
            <p:nvSpPr>
              <p:cNvPr id="184" name="Freeform: Shape 183">
                <a:extLst>
                  <a:ext uri="{FF2B5EF4-FFF2-40B4-BE49-F238E27FC236}">
                    <a16:creationId xmlns:a16="http://schemas.microsoft.com/office/drawing/2014/main" id="{90A4245A-9E01-4413-A377-4DE08CE19346}"/>
                  </a:ext>
                </a:extLst>
              </p:cNvPr>
              <p:cNvSpPr/>
              <p:nvPr/>
            </p:nvSpPr>
            <p:spPr>
              <a:xfrm>
                <a:off x="6717506" y="3322796"/>
                <a:ext cx="676275" cy="104775"/>
              </a:xfrm>
              <a:custGeom>
                <a:avLst/>
                <a:gdLst>
                  <a:gd name="connsiteX0" fmla="*/ 668179 w 676275"/>
                  <a:gd name="connsiteY0" fmla="*/ 7144 h 104775"/>
                  <a:gd name="connsiteX1" fmla="*/ 672941 w 676275"/>
                  <a:gd name="connsiteY1" fmla="*/ 11906 h 104775"/>
                  <a:gd name="connsiteX2" fmla="*/ 471964 w 676275"/>
                  <a:gd name="connsiteY2" fmla="*/ 98584 h 104775"/>
                  <a:gd name="connsiteX3" fmla="*/ 7144 w 676275"/>
                  <a:gd name="connsiteY3" fmla="*/ 98584 h 104775"/>
                  <a:gd name="connsiteX4" fmla="*/ 7144 w 676275"/>
                  <a:gd name="connsiteY4" fmla="*/ 91916 h 104775"/>
                  <a:gd name="connsiteX5" fmla="*/ 469106 w 676275"/>
                  <a:gd name="connsiteY5" fmla="*/ 91916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6275" h="104775">
                    <a:moveTo>
                      <a:pt x="668179" y="7144"/>
                    </a:moveTo>
                    <a:lnTo>
                      <a:pt x="672941" y="11906"/>
                    </a:lnTo>
                    <a:lnTo>
                      <a:pt x="471964" y="98584"/>
                    </a:lnTo>
                    <a:lnTo>
                      <a:pt x="7144" y="98584"/>
                    </a:lnTo>
                    <a:lnTo>
                      <a:pt x="7144" y="91916"/>
                    </a:lnTo>
                    <a:lnTo>
                      <a:pt x="469106" y="91916"/>
                    </a:lnTo>
                    <a:close/>
                  </a:path>
                </a:pathLst>
              </a:custGeom>
              <a:grpFill/>
              <a:ln w="9525" cap="flat">
                <a:noFill/>
                <a:prstDash val="solid"/>
                <a:miter/>
              </a:ln>
            </p:spPr>
            <p:txBody>
              <a:bodyPr rtlCol="0" anchor="ctr"/>
              <a:lstStyle/>
              <a:p>
                <a:endParaRPr lang="en-US"/>
              </a:p>
            </p:txBody>
          </p:sp>
          <p:sp>
            <p:nvSpPr>
              <p:cNvPr id="185" name="Freeform: Shape 184">
                <a:extLst>
                  <a:ext uri="{FF2B5EF4-FFF2-40B4-BE49-F238E27FC236}">
                    <a16:creationId xmlns:a16="http://schemas.microsoft.com/office/drawing/2014/main" id="{8BDBAE93-F6C7-4BBA-8648-68BE38BB7E84}"/>
                  </a:ext>
                </a:extLst>
              </p:cNvPr>
              <p:cNvSpPr/>
              <p:nvPr/>
            </p:nvSpPr>
            <p:spPr>
              <a:xfrm>
                <a:off x="6705124" y="3398043"/>
                <a:ext cx="38100" cy="38100"/>
              </a:xfrm>
              <a:custGeom>
                <a:avLst/>
                <a:gdLst>
                  <a:gd name="connsiteX0" fmla="*/ 20479 w 38100"/>
                  <a:gd name="connsiteY0" fmla="*/ 7144 h 38100"/>
                  <a:gd name="connsiteX1" fmla="*/ 7144 w 38100"/>
                  <a:gd name="connsiteY1" fmla="*/ 20479 h 38100"/>
                  <a:gd name="connsiteX2" fmla="*/ 20479 w 38100"/>
                  <a:gd name="connsiteY2" fmla="*/ 33814 h 38100"/>
                  <a:gd name="connsiteX3" fmla="*/ 33814 w 38100"/>
                  <a:gd name="connsiteY3" fmla="*/ 20479 h 38100"/>
                  <a:gd name="connsiteX4" fmla="*/ 20479 w 38100"/>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7144"/>
                    </a:moveTo>
                    <a:cubicBezTo>
                      <a:pt x="12859" y="7144"/>
                      <a:pt x="7144" y="12859"/>
                      <a:pt x="7144" y="20479"/>
                    </a:cubicBezTo>
                    <a:cubicBezTo>
                      <a:pt x="7144" y="28099"/>
                      <a:pt x="12859" y="33814"/>
                      <a:pt x="20479" y="33814"/>
                    </a:cubicBezTo>
                    <a:cubicBezTo>
                      <a:pt x="28099" y="33814"/>
                      <a:pt x="33814" y="28099"/>
                      <a:pt x="33814" y="20479"/>
                    </a:cubicBezTo>
                    <a:cubicBezTo>
                      <a:pt x="33814" y="12859"/>
                      <a:pt x="27146" y="7144"/>
                      <a:pt x="20479" y="7144"/>
                    </a:cubicBezTo>
                    <a:close/>
                  </a:path>
                </a:pathLst>
              </a:custGeom>
              <a:grpFill/>
              <a:ln w="9525" cap="flat">
                <a:noFill/>
                <a:prstDash val="solid"/>
                <a:miter/>
              </a:ln>
            </p:spPr>
            <p:txBody>
              <a:bodyPr rtlCol="0" anchor="ctr"/>
              <a:lstStyle/>
              <a:p>
                <a:endParaRPr lang="en-US"/>
              </a:p>
            </p:txBody>
          </p:sp>
          <p:sp>
            <p:nvSpPr>
              <p:cNvPr id="186" name="Freeform: Shape 185">
                <a:extLst>
                  <a:ext uri="{FF2B5EF4-FFF2-40B4-BE49-F238E27FC236}">
                    <a16:creationId xmlns:a16="http://schemas.microsoft.com/office/drawing/2014/main" id="{03CCA2E8-9C2A-4C3B-B0A4-ACBB56BEB9C1}"/>
                  </a:ext>
                </a:extLst>
              </p:cNvPr>
              <p:cNvSpPr/>
              <p:nvPr/>
            </p:nvSpPr>
            <p:spPr>
              <a:xfrm>
                <a:off x="5352574" y="3312318"/>
                <a:ext cx="742950" cy="485775"/>
              </a:xfrm>
              <a:custGeom>
                <a:avLst/>
                <a:gdLst>
                  <a:gd name="connsiteX0" fmla="*/ 736759 w 742950"/>
                  <a:gd name="connsiteY0" fmla="*/ 7144 h 485775"/>
                  <a:gd name="connsiteX1" fmla="*/ 741521 w 742950"/>
                  <a:gd name="connsiteY1" fmla="*/ 11906 h 485775"/>
                  <a:gd name="connsiteX2" fmla="*/ 552926 w 742950"/>
                  <a:gd name="connsiteY2" fmla="*/ 200501 h 485775"/>
                  <a:gd name="connsiteX3" fmla="*/ 260509 w 742950"/>
                  <a:gd name="connsiteY3" fmla="*/ 200501 h 485775"/>
                  <a:gd name="connsiteX4" fmla="*/ 12859 w 742950"/>
                  <a:gd name="connsiteY4" fmla="*/ 486251 h 485775"/>
                  <a:gd name="connsiteX5" fmla="*/ 7144 w 742950"/>
                  <a:gd name="connsiteY5" fmla="*/ 481489 h 485775"/>
                  <a:gd name="connsiteX6" fmla="*/ 257651 w 742950"/>
                  <a:gd name="connsiteY6" fmla="*/ 192881 h 485775"/>
                  <a:gd name="connsiteX7" fmla="*/ 550069 w 742950"/>
                  <a:gd name="connsiteY7" fmla="*/ 192881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2950" h="485775">
                    <a:moveTo>
                      <a:pt x="736759" y="7144"/>
                    </a:moveTo>
                    <a:lnTo>
                      <a:pt x="741521" y="11906"/>
                    </a:lnTo>
                    <a:lnTo>
                      <a:pt x="552926" y="200501"/>
                    </a:lnTo>
                    <a:lnTo>
                      <a:pt x="260509" y="200501"/>
                    </a:lnTo>
                    <a:lnTo>
                      <a:pt x="12859" y="486251"/>
                    </a:lnTo>
                    <a:lnTo>
                      <a:pt x="7144" y="481489"/>
                    </a:lnTo>
                    <a:lnTo>
                      <a:pt x="257651" y="192881"/>
                    </a:lnTo>
                    <a:lnTo>
                      <a:pt x="550069" y="192881"/>
                    </a:lnTo>
                    <a:close/>
                  </a:path>
                </a:pathLst>
              </a:custGeom>
              <a:grpFill/>
              <a:ln w="9525" cap="flat">
                <a:noFill/>
                <a:prstDash val="solid"/>
                <a:miter/>
              </a:ln>
            </p:spPr>
            <p:txBody>
              <a:bodyPr rtlCol="0" anchor="ctr"/>
              <a:lstStyle/>
              <a:p>
                <a:endParaRPr lang="en-US"/>
              </a:p>
            </p:txBody>
          </p:sp>
          <p:sp>
            <p:nvSpPr>
              <p:cNvPr id="187" name="Freeform: Shape 186">
                <a:extLst>
                  <a:ext uri="{FF2B5EF4-FFF2-40B4-BE49-F238E27FC236}">
                    <a16:creationId xmlns:a16="http://schemas.microsoft.com/office/drawing/2014/main" id="{039D8114-8423-4F98-9353-D80A9E17B560}"/>
                  </a:ext>
                </a:extLst>
              </p:cNvPr>
              <p:cNvSpPr/>
              <p:nvPr/>
            </p:nvSpPr>
            <p:spPr>
              <a:xfrm>
                <a:off x="5343287" y="3775709"/>
                <a:ext cx="38100" cy="38100"/>
              </a:xfrm>
              <a:custGeom>
                <a:avLst/>
                <a:gdLst>
                  <a:gd name="connsiteX0" fmla="*/ 10716 w 38100"/>
                  <a:gd name="connsiteY0" fmla="*/ 11430 h 38100"/>
                  <a:gd name="connsiteX1" fmla="*/ 10716 w 38100"/>
                  <a:gd name="connsiteY1" fmla="*/ 30480 h 38100"/>
                  <a:gd name="connsiteX2" fmla="*/ 29766 w 38100"/>
                  <a:gd name="connsiteY2" fmla="*/ 30480 h 38100"/>
                  <a:gd name="connsiteX3" fmla="*/ 29766 w 38100"/>
                  <a:gd name="connsiteY3" fmla="*/ 11430 h 38100"/>
                  <a:gd name="connsiteX4" fmla="*/ 10716 w 38100"/>
                  <a:gd name="connsiteY4" fmla="*/ 11430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0716" y="11430"/>
                    </a:moveTo>
                    <a:cubicBezTo>
                      <a:pt x="5953" y="16192"/>
                      <a:pt x="5953" y="24765"/>
                      <a:pt x="10716" y="30480"/>
                    </a:cubicBezTo>
                    <a:cubicBezTo>
                      <a:pt x="15478" y="35242"/>
                      <a:pt x="24051" y="35242"/>
                      <a:pt x="29766" y="30480"/>
                    </a:cubicBezTo>
                    <a:cubicBezTo>
                      <a:pt x="34528" y="25717"/>
                      <a:pt x="34528" y="17145"/>
                      <a:pt x="29766" y="11430"/>
                    </a:cubicBezTo>
                    <a:cubicBezTo>
                      <a:pt x="24051" y="5715"/>
                      <a:pt x="15478" y="5715"/>
                      <a:pt x="10716" y="11430"/>
                    </a:cubicBezTo>
                    <a:close/>
                  </a:path>
                </a:pathLst>
              </a:custGeom>
              <a:grpFill/>
              <a:ln w="9525" cap="flat">
                <a:noFill/>
                <a:prstDash val="solid"/>
                <a:miter/>
              </a:ln>
            </p:spPr>
            <p:txBody>
              <a:bodyPr rtlCol="0" anchor="ctr"/>
              <a:lstStyle/>
              <a:p>
                <a:endParaRPr lang="en-US"/>
              </a:p>
            </p:txBody>
          </p:sp>
          <p:sp>
            <p:nvSpPr>
              <p:cNvPr id="188" name="Freeform: Shape 187">
                <a:extLst>
                  <a:ext uri="{FF2B5EF4-FFF2-40B4-BE49-F238E27FC236}">
                    <a16:creationId xmlns:a16="http://schemas.microsoft.com/office/drawing/2014/main" id="{D8B688EA-5247-47BB-B46C-05D54295EE5D}"/>
                  </a:ext>
                </a:extLst>
              </p:cNvPr>
              <p:cNvSpPr/>
              <p:nvPr/>
            </p:nvSpPr>
            <p:spPr>
              <a:xfrm>
                <a:off x="4308634" y="3313271"/>
                <a:ext cx="1009650" cy="428625"/>
              </a:xfrm>
              <a:custGeom>
                <a:avLst/>
                <a:gdLst>
                  <a:gd name="connsiteX0" fmla="*/ 998696 w 1009650"/>
                  <a:gd name="connsiteY0" fmla="*/ 7144 h 428625"/>
                  <a:gd name="connsiteX1" fmla="*/ 1003459 w 1009650"/>
                  <a:gd name="connsiteY1" fmla="*/ 11906 h 428625"/>
                  <a:gd name="connsiteX2" fmla="*/ 912019 w 1009650"/>
                  <a:gd name="connsiteY2" fmla="*/ 103346 h 428625"/>
                  <a:gd name="connsiteX3" fmla="*/ 646271 w 1009650"/>
                  <a:gd name="connsiteY3" fmla="*/ 103346 h 428625"/>
                  <a:gd name="connsiteX4" fmla="*/ 476726 w 1009650"/>
                  <a:gd name="connsiteY4" fmla="*/ 272891 h 428625"/>
                  <a:gd name="connsiteX5" fmla="*/ 306229 w 1009650"/>
                  <a:gd name="connsiteY5" fmla="*/ 272891 h 428625"/>
                  <a:gd name="connsiteX6" fmla="*/ 11906 w 1009650"/>
                  <a:gd name="connsiteY6" fmla="*/ 424339 h 428625"/>
                  <a:gd name="connsiteX7" fmla="*/ 7144 w 1009650"/>
                  <a:gd name="connsiteY7" fmla="*/ 419576 h 428625"/>
                  <a:gd name="connsiteX8" fmla="*/ 303371 w 1009650"/>
                  <a:gd name="connsiteY8" fmla="*/ 266224 h 428625"/>
                  <a:gd name="connsiteX9" fmla="*/ 472916 w 1009650"/>
                  <a:gd name="connsiteY9" fmla="*/ 266224 h 428625"/>
                  <a:gd name="connsiteX10" fmla="*/ 643414 w 1009650"/>
                  <a:gd name="connsiteY10" fmla="*/ 95726 h 428625"/>
                  <a:gd name="connsiteX11" fmla="*/ 909161 w 1009650"/>
                  <a:gd name="connsiteY11" fmla="*/ 95726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650" h="428625">
                    <a:moveTo>
                      <a:pt x="998696" y="7144"/>
                    </a:moveTo>
                    <a:lnTo>
                      <a:pt x="1003459" y="11906"/>
                    </a:lnTo>
                    <a:lnTo>
                      <a:pt x="912019" y="103346"/>
                    </a:lnTo>
                    <a:lnTo>
                      <a:pt x="646271" y="103346"/>
                    </a:lnTo>
                    <a:lnTo>
                      <a:pt x="476726" y="272891"/>
                    </a:lnTo>
                    <a:lnTo>
                      <a:pt x="306229" y="272891"/>
                    </a:lnTo>
                    <a:lnTo>
                      <a:pt x="11906" y="424339"/>
                    </a:lnTo>
                    <a:lnTo>
                      <a:pt x="7144" y="419576"/>
                    </a:lnTo>
                    <a:lnTo>
                      <a:pt x="303371" y="266224"/>
                    </a:lnTo>
                    <a:lnTo>
                      <a:pt x="472916" y="266224"/>
                    </a:lnTo>
                    <a:lnTo>
                      <a:pt x="643414" y="95726"/>
                    </a:lnTo>
                    <a:lnTo>
                      <a:pt x="909161" y="95726"/>
                    </a:lnTo>
                    <a:close/>
                  </a:path>
                </a:pathLst>
              </a:custGeom>
              <a:grpFill/>
              <a:ln w="9525" cap="flat">
                <a:noFill/>
                <a:prstDash val="solid"/>
                <a:miter/>
              </a:ln>
            </p:spPr>
            <p:txBody>
              <a:bodyPr rtlCol="0" anchor="ctr"/>
              <a:lstStyle/>
              <a:p>
                <a:endParaRPr lang="en-US"/>
              </a:p>
            </p:txBody>
          </p:sp>
          <p:sp>
            <p:nvSpPr>
              <p:cNvPr id="189" name="Freeform: Shape 188">
                <a:extLst>
                  <a:ext uri="{FF2B5EF4-FFF2-40B4-BE49-F238E27FC236}">
                    <a16:creationId xmlns:a16="http://schemas.microsoft.com/office/drawing/2014/main" id="{5985AD2D-D780-4BA6-8F3B-D6125630D344}"/>
                  </a:ext>
                </a:extLst>
              </p:cNvPr>
              <p:cNvSpPr/>
              <p:nvPr/>
            </p:nvSpPr>
            <p:spPr>
              <a:xfrm>
                <a:off x="4298394" y="3714511"/>
                <a:ext cx="38100" cy="38100"/>
              </a:xfrm>
              <a:custGeom>
                <a:avLst/>
                <a:gdLst>
                  <a:gd name="connsiteX0" fmla="*/ 10716 w 38100"/>
                  <a:gd name="connsiteY0" fmla="*/ 10716 h 38100"/>
                  <a:gd name="connsiteX1" fmla="*/ 10716 w 38100"/>
                  <a:gd name="connsiteY1" fmla="*/ 29766 h 38100"/>
                  <a:gd name="connsiteX2" fmla="*/ 29766 w 38100"/>
                  <a:gd name="connsiteY2" fmla="*/ 29766 h 38100"/>
                  <a:gd name="connsiteX3" fmla="*/ 29766 w 38100"/>
                  <a:gd name="connsiteY3" fmla="*/ 10716 h 38100"/>
                  <a:gd name="connsiteX4" fmla="*/ 10716 w 38100"/>
                  <a:gd name="connsiteY4" fmla="*/ 1071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0716" y="10716"/>
                    </a:moveTo>
                    <a:cubicBezTo>
                      <a:pt x="5953" y="15478"/>
                      <a:pt x="5953" y="24051"/>
                      <a:pt x="10716" y="29766"/>
                    </a:cubicBezTo>
                    <a:cubicBezTo>
                      <a:pt x="15478" y="34528"/>
                      <a:pt x="24051" y="34528"/>
                      <a:pt x="29766" y="29766"/>
                    </a:cubicBezTo>
                    <a:cubicBezTo>
                      <a:pt x="34528" y="25003"/>
                      <a:pt x="34528" y="16431"/>
                      <a:pt x="29766" y="10716"/>
                    </a:cubicBezTo>
                    <a:cubicBezTo>
                      <a:pt x="24051" y="5953"/>
                      <a:pt x="15478" y="5953"/>
                      <a:pt x="10716" y="10716"/>
                    </a:cubicBezTo>
                    <a:close/>
                  </a:path>
                </a:pathLst>
              </a:custGeom>
              <a:grpFill/>
              <a:ln w="9525" cap="flat">
                <a:noFill/>
                <a:prstDash val="solid"/>
                <a:miter/>
              </a:ln>
            </p:spPr>
            <p:txBody>
              <a:bodyPr rtlCol="0" anchor="ctr"/>
              <a:lstStyle/>
              <a:p>
                <a:endParaRPr lang="en-US"/>
              </a:p>
            </p:txBody>
          </p:sp>
          <p:sp>
            <p:nvSpPr>
              <p:cNvPr id="190" name="Freeform: Shape 189">
                <a:extLst>
                  <a:ext uri="{FF2B5EF4-FFF2-40B4-BE49-F238E27FC236}">
                    <a16:creationId xmlns:a16="http://schemas.microsoft.com/office/drawing/2014/main" id="{FE5199ED-47F4-4AA8-A405-9F43533E65E2}"/>
                  </a:ext>
                </a:extLst>
              </p:cNvPr>
              <p:cNvSpPr/>
              <p:nvPr/>
            </p:nvSpPr>
            <p:spPr>
              <a:xfrm>
                <a:off x="6470809" y="3194208"/>
                <a:ext cx="1076325" cy="142875"/>
              </a:xfrm>
              <a:custGeom>
                <a:avLst/>
                <a:gdLst>
                  <a:gd name="connsiteX0" fmla="*/ 11906 w 1076325"/>
                  <a:gd name="connsiteY0" fmla="*/ 7144 h 142875"/>
                  <a:gd name="connsiteX1" fmla="*/ 50006 w 1076325"/>
                  <a:gd name="connsiteY1" fmla="*/ 45244 h 142875"/>
                  <a:gd name="connsiteX2" fmla="*/ 869156 w 1076325"/>
                  <a:gd name="connsiteY2" fmla="*/ 45244 h 142875"/>
                  <a:gd name="connsiteX3" fmla="*/ 1072991 w 1076325"/>
                  <a:gd name="connsiteY3" fmla="*/ 134779 h 142875"/>
                  <a:gd name="connsiteX4" fmla="*/ 1068229 w 1076325"/>
                  <a:gd name="connsiteY4" fmla="*/ 139541 h 142875"/>
                  <a:gd name="connsiteX5" fmla="*/ 866299 w 1076325"/>
                  <a:gd name="connsiteY5" fmla="*/ 51911 h 142875"/>
                  <a:gd name="connsiteX6" fmla="*/ 47149 w 1076325"/>
                  <a:gd name="connsiteY6" fmla="*/ 51911 h 142875"/>
                  <a:gd name="connsiteX7" fmla="*/ 7144 w 1076325"/>
                  <a:gd name="connsiteY7" fmla="*/ 12859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6325" h="142875">
                    <a:moveTo>
                      <a:pt x="11906" y="7144"/>
                    </a:moveTo>
                    <a:lnTo>
                      <a:pt x="50006" y="45244"/>
                    </a:lnTo>
                    <a:lnTo>
                      <a:pt x="869156" y="45244"/>
                    </a:lnTo>
                    <a:lnTo>
                      <a:pt x="1072991" y="134779"/>
                    </a:lnTo>
                    <a:lnTo>
                      <a:pt x="1068229" y="139541"/>
                    </a:lnTo>
                    <a:lnTo>
                      <a:pt x="866299" y="51911"/>
                    </a:lnTo>
                    <a:lnTo>
                      <a:pt x="47149" y="51911"/>
                    </a:lnTo>
                    <a:lnTo>
                      <a:pt x="7144" y="12859"/>
                    </a:lnTo>
                    <a:close/>
                  </a:path>
                </a:pathLst>
              </a:custGeom>
              <a:grpFill/>
              <a:ln w="9525" cap="flat">
                <a:noFill/>
                <a:prstDash val="solid"/>
                <a:miter/>
              </a:ln>
            </p:spPr>
            <p:txBody>
              <a:bodyPr rtlCol="0" anchor="ctr"/>
              <a:lstStyle/>
              <a:p>
                <a:endParaRPr lang="en-US"/>
              </a:p>
            </p:txBody>
          </p:sp>
          <p:sp>
            <p:nvSpPr>
              <p:cNvPr id="191" name="Freeform: Shape 190">
                <a:extLst>
                  <a:ext uri="{FF2B5EF4-FFF2-40B4-BE49-F238E27FC236}">
                    <a16:creationId xmlns:a16="http://schemas.microsoft.com/office/drawing/2014/main" id="{5B32631E-A1E2-433A-8EF4-2568546E8699}"/>
                  </a:ext>
                </a:extLst>
              </p:cNvPr>
              <p:cNvSpPr/>
              <p:nvPr/>
            </p:nvSpPr>
            <p:spPr>
              <a:xfrm>
                <a:off x="6460569" y="3184921"/>
                <a:ext cx="38100" cy="38100"/>
              </a:xfrm>
              <a:custGeom>
                <a:avLst/>
                <a:gdLst>
                  <a:gd name="connsiteX0" fmla="*/ 29766 w 38100"/>
                  <a:gd name="connsiteY0" fmla="*/ 10716 h 38100"/>
                  <a:gd name="connsiteX1" fmla="*/ 10716 w 38100"/>
                  <a:gd name="connsiteY1" fmla="*/ 10716 h 38100"/>
                  <a:gd name="connsiteX2" fmla="*/ 10716 w 38100"/>
                  <a:gd name="connsiteY2" fmla="*/ 29766 h 38100"/>
                  <a:gd name="connsiteX3" fmla="*/ 29766 w 38100"/>
                  <a:gd name="connsiteY3" fmla="*/ 29766 h 38100"/>
                  <a:gd name="connsiteX4" fmla="*/ 29766 w 38100"/>
                  <a:gd name="connsiteY4" fmla="*/ 1071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9766" y="10716"/>
                    </a:moveTo>
                    <a:cubicBezTo>
                      <a:pt x="25003" y="5953"/>
                      <a:pt x="16431" y="5953"/>
                      <a:pt x="10716" y="10716"/>
                    </a:cubicBezTo>
                    <a:cubicBezTo>
                      <a:pt x="5953" y="15478"/>
                      <a:pt x="5953" y="24051"/>
                      <a:pt x="10716" y="29766"/>
                    </a:cubicBezTo>
                    <a:cubicBezTo>
                      <a:pt x="15478" y="34528"/>
                      <a:pt x="24051" y="34528"/>
                      <a:pt x="29766" y="29766"/>
                    </a:cubicBezTo>
                    <a:cubicBezTo>
                      <a:pt x="34528" y="24051"/>
                      <a:pt x="34528" y="15478"/>
                      <a:pt x="29766" y="10716"/>
                    </a:cubicBezTo>
                    <a:close/>
                  </a:path>
                </a:pathLst>
              </a:custGeom>
              <a:grpFill/>
              <a:ln w="9525" cap="flat">
                <a:noFill/>
                <a:prstDash val="solid"/>
                <a:miter/>
              </a:ln>
            </p:spPr>
            <p:txBody>
              <a:bodyPr rtlCol="0" anchor="ctr"/>
              <a:lstStyle/>
              <a:p>
                <a:endParaRPr lang="en-US"/>
              </a:p>
            </p:txBody>
          </p:sp>
          <p:sp>
            <p:nvSpPr>
              <p:cNvPr id="192" name="Freeform: Shape 191">
                <a:extLst>
                  <a:ext uri="{FF2B5EF4-FFF2-40B4-BE49-F238E27FC236}">
                    <a16:creationId xmlns:a16="http://schemas.microsoft.com/office/drawing/2014/main" id="{C5E6474F-FE3E-4FE3-8ED7-9AC852164B55}"/>
                  </a:ext>
                </a:extLst>
              </p:cNvPr>
              <p:cNvSpPr/>
              <p:nvPr/>
            </p:nvSpPr>
            <p:spPr>
              <a:xfrm>
                <a:off x="5156359" y="3240881"/>
                <a:ext cx="590550" cy="190500"/>
              </a:xfrm>
              <a:custGeom>
                <a:avLst/>
                <a:gdLst>
                  <a:gd name="connsiteX0" fmla="*/ 7144 w 590550"/>
                  <a:gd name="connsiteY0" fmla="*/ 7144 h 190500"/>
                  <a:gd name="connsiteX1" fmla="*/ 408146 w 590550"/>
                  <a:gd name="connsiteY1" fmla="*/ 7144 h 190500"/>
                  <a:gd name="connsiteX2" fmla="*/ 585311 w 590550"/>
                  <a:gd name="connsiteY2" fmla="*/ 184309 h 190500"/>
                  <a:gd name="connsiteX3" fmla="*/ 580549 w 590550"/>
                  <a:gd name="connsiteY3" fmla="*/ 189071 h 190500"/>
                  <a:gd name="connsiteX4" fmla="*/ 405289 w 590550"/>
                  <a:gd name="connsiteY4" fmla="*/ 13811 h 190500"/>
                  <a:gd name="connsiteX5" fmla="*/ 7144 w 590550"/>
                  <a:gd name="connsiteY5" fmla="*/ 13811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550" h="190500">
                    <a:moveTo>
                      <a:pt x="7144" y="7144"/>
                    </a:moveTo>
                    <a:lnTo>
                      <a:pt x="408146" y="7144"/>
                    </a:lnTo>
                    <a:lnTo>
                      <a:pt x="585311" y="184309"/>
                    </a:lnTo>
                    <a:lnTo>
                      <a:pt x="580549" y="189071"/>
                    </a:lnTo>
                    <a:lnTo>
                      <a:pt x="405289" y="13811"/>
                    </a:lnTo>
                    <a:lnTo>
                      <a:pt x="7144" y="13811"/>
                    </a:lnTo>
                    <a:close/>
                  </a:path>
                </a:pathLst>
              </a:custGeom>
              <a:grpFill/>
              <a:ln w="9525" cap="flat">
                <a:noFill/>
                <a:prstDash val="solid"/>
                <a:miter/>
              </a:ln>
            </p:spPr>
            <p:txBody>
              <a:bodyPr rtlCol="0" anchor="ctr"/>
              <a:lstStyle/>
              <a:p>
                <a:endParaRPr lang="en-US"/>
              </a:p>
            </p:txBody>
          </p:sp>
          <p:sp>
            <p:nvSpPr>
              <p:cNvPr id="193" name="Freeform: Shape 192">
                <a:extLst>
                  <a:ext uri="{FF2B5EF4-FFF2-40B4-BE49-F238E27FC236}">
                    <a16:creationId xmlns:a16="http://schemas.microsoft.com/office/drawing/2014/main" id="{25A8DCEA-F6D5-4023-A567-5E049C3A12E4}"/>
                  </a:ext>
                </a:extLst>
              </p:cNvPr>
              <p:cNvSpPr/>
              <p:nvPr/>
            </p:nvSpPr>
            <p:spPr>
              <a:xfrm>
                <a:off x="5134451" y="3231356"/>
                <a:ext cx="38100" cy="38100"/>
              </a:xfrm>
              <a:custGeom>
                <a:avLst/>
                <a:gdLst>
                  <a:gd name="connsiteX0" fmla="*/ 20479 w 38100"/>
                  <a:gd name="connsiteY0" fmla="*/ 7144 h 38100"/>
                  <a:gd name="connsiteX1" fmla="*/ 7144 w 38100"/>
                  <a:gd name="connsiteY1" fmla="*/ 20479 h 38100"/>
                  <a:gd name="connsiteX2" fmla="*/ 20479 w 38100"/>
                  <a:gd name="connsiteY2" fmla="*/ 33814 h 38100"/>
                  <a:gd name="connsiteX3" fmla="*/ 33814 w 38100"/>
                  <a:gd name="connsiteY3" fmla="*/ 20479 h 38100"/>
                  <a:gd name="connsiteX4" fmla="*/ 20479 w 38100"/>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7144"/>
                    </a:moveTo>
                    <a:cubicBezTo>
                      <a:pt x="12859" y="7144"/>
                      <a:pt x="7144" y="12859"/>
                      <a:pt x="7144" y="20479"/>
                    </a:cubicBezTo>
                    <a:cubicBezTo>
                      <a:pt x="7144" y="28099"/>
                      <a:pt x="12859" y="33814"/>
                      <a:pt x="20479" y="33814"/>
                    </a:cubicBezTo>
                    <a:cubicBezTo>
                      <a:pt x="28099" y="33814"/>
                      <a:pt x="33814" y="28099"/>
                      <a:pt x="33814" y="20479"/>
                    </a:cubicBezTo>
                    <a:cubicBezTo>
                      <a:pt x="33814" y="12859"/>
                      <a:pt x="28099" y="7144"/>
                      <a:pt x="20479" y="7144"/>
                    </a:cubicBezTo>
                    <a:close/>
                  </a:path>
                </a:pathLst>
              </a:custGeom>
              <a:grpFill/>
              <a:ln w="9525" cap="flat">
                <a:noFill/>
                <a:prstDash val="solid"/>
                <a:miter/>
              </a:ln>
            </p:spPr>
            <p:txBody>
              <a:bodyPr rtlCol="0" anchor="ctr"/>
              <a:lstStyle/>
              <a:p>
                <a:endParaRPr lang="en-US"/>
              </a:p>
            </p:txBody>
          </p:sp>
          <p:sp>
            <p:nvSpPr>
              <p:cNvPr id="194" name="Freeform: Shape 193">
                <a:extLst>
                  <a:ext uri="{FF2B5EF4-FFF2-40B4-BE49-F238E27FC236}">
                    <a16:creationId xmlns:a16="http://schemas.microsoft.com/office/drawing/2014/main" id="{AF05903D-B940-468C-B78D-F95F0FC28FC1}"/>
                  </a:ext>
                </a:extLst>
              </p:cNvPr>
              <p:cNvSpPr/>
              <p:nvPr/>
            </p:nvSpPr>
            <p:spPr>
              <a:xfrm>
                <a:off x="5084921" y="3377088"/>
                <a:ext cx="361950" cy="95250"/>
              </a:xfrm>
              <a:custGeom>
                <a:avLst/>
                <a:gdLst>
                  <a:gd name="connsiteX0" fmla="*/ 349091 w 361950"/>
                  <a:gd name="connsiteY0" fmla="*/ 7144 h 95250"/>
                  <a:gd name="connsiteX1" fmla="*/ 354806 w 361950"/>
                  <a:gd name="connsiteY1" fmla="*/ 12859 h 95250"/>
                  <a:gd name="connsiteX2" fmla="*/ 271939 w 361950"/>
                  <a:gd name="connsiteY2" fmla="*/ 94774 h 95250"/>
                  <a:gd name="connsiteX3" fmla="*/ 7144 w 361950"/>
                  <a:gd name="connsiteY3" fmla="*/ 94774 h 95250"/>
                  <a:gd name="connsiteX4" fmla="*/ 7144 w 361950"/>
                  <a:gd name="connsiteY4" fmla="*/ 88106 h 95250"/>
                  <a:gd name="connsiteX5" fmla="*/ 269081 w 361950"/>
                  <a:gd name="connsiteY5" fmla="*/ 88106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1950" h="95250">
                    <a:moveTo>
                      <a:pt x="349091" y="7144"/>
                    </a:moveTo>
                    <a:lnTo>
                      <a:pt x="354806" y="12859"/>
                    </a:lnTo>
                    <a:lnTo>
                      <a:pt x="271939" y="94774"/>
                    </a:lnTo>
                    <a:lnTo>
                      <a:pt x="7144" y="94774"/>
                    </a:lnTo>
                    <a:lnTo>
                      <a:pt x="7144" y="88106"/>
                    </a:lnTo>
                    <a:lnTo>
                      <a:pt x="269081" y="88106"/>
                    </a:lnTo>
                    <a:close/>
                  </a:path>
                </a:pathLst>
              </a:custGeom>
              <a:grpFill/>
              <a:ln w="9525" cap="flat">
                <a:noFill/>
                <a:prstDash val="solid"/>
                <a:miter/>
              </a:ln>
            </p:spPr>
            <p:txBody>
              <a:bodyPr rtlCol="0" anchor="ctr"/>
              <a:lstStyle/>
              <a:p>
                <a:endParaRPr lang="en-US"/>
              </a:p>
            </p:txBody>
          </p:sp>
          <p:sp>
            <p:nvSpPr>
              <p:cNvPr id="195" name="Freeform: Shape 194">
                <a:extLst>
                  <a:ext uri="{FF2B5EF4-FFF2-40B4-BE49-F238E27FC236}">
                    <a16:creationId xmlns:a16="http://schemas.microsoft.com/office/drawing/2014/main" id="{BC974302-55EB-4179-A85C-4253093217AF}"/>
                  </a:ext>
                </a:extLst>
              </p:cNvPr>
              <p:cNvSpPr/>
              <p:nvPr/>
            </p:nvSpPr>
            <p:spPr>
              <a:xfrm>
                <a:off x="5072539" y="3448526"/>
                <a:ext cx="38100" cy="38100"/>
              </a:xfrm>
              <a:custGeom>
                <a:avLst/>
                <a:gdLst>
                  <a:gd name="connsiteX0" fmla="*/ 20479 w 38100"/>
                  <a:gd name="connsiteY0" fmla="*/ 7144 h 38100"/>
                  <a:gd name="connsiteX1" fmla="*/ 7144 w 38100"/>
                  <a:gd name="connsiteY1" fmla="*/ 20479 h 38100"/>
                  <a:gd name="connsiteX2" fmla="*/ 20479 w 38100"/>
                  <a:gd name="connsiteY2" fmla="*/ 33814 h 38100"/>
                  <a:gd name="connsiteX3" fmla="*/ 33814 w 38100"/>
                  <a:gd name="connsiteY3" fmla="*/ 20479 h 38100"/>
                  <a:gd name="connsiteX4" fmla="*/ 20479 w 38100"/>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7144"/>
                    </a:moveTo>
                    <a:cubicBezTo>
                      <a:pt x="12859" y="7144"/>
                      <a:pt x="7144" y="12859"/>
                      <a:pt x="7144" y="20479"/>
                    </a:cubicBezTo>
                    <a:cubicBezTo>
                      <a:pt x="7144" y="28099"/>
                      <a:pt x="12859" y="33814"/>
                      <a:pt x="20479" y="33814"/>
                    </a:cubicBezTo>
                    <a:cubicBezTo>
                      <a:pt x="28099" y="33814"/>
                      <a:pt x="33814" y="28099"/>
                      <a:pt x="33814" y="20479"/>
                    </a:cubicBezTo>
                    <a:cubicBezTo>
                      <a:pt x="32861" y="12859"/>
                      <a:pt x="27146" y="7144"/>
                      <a:pt x="20479" y="7144"/>
                    </a:cubicBezTo>
                    <a:close/>
                  </a:path>
                </a:pathLst>
              </a:custGeom>
              <a:grpFill/>
              <a:ln w="9525" cap="flat">
                <a:noFill/>
                <a:prstDash val="solid"/>
                <a:miter/>
              </a:ln>
            </p:spPr>
            <p:txBody>
              <a:bodyPr rtlCol="0" anchor="ctr"/>
              <a:lstStyle/>
              <a:p>
                <a:endParaRPr lang="en-US"/>
              </a:p>
            </p:txBody>
          </p:sp>
          <p:sp>
            <p:nvSpPr>
              <p:cNvPr id="196" name="Freeform: Shape 195">
                <a:extLst>
                  <a:ext uri="{FF2B5EF4-FFF2-40B4-BE49-F238E27FC236}">
                    <a16:creationId xmlns:a16="http://schemas.microsoft.com/office/drawing/2014/main" id="{9196BBF4-D47A-46DA-A8BE-90951167D054}"/>
                  </a:ext>
                </a:extLst>
              </p:cNvPr>
              <p:cNvSpPr/>
              <p:nvPr/>
            </p:nvSpPr>
            <p:spPr>
              <a:xfrm>
                <a:off x="5571649" y="3071336"/>
                <a:ext cx="809625" cy="200025"/>
              </a:xfrm>
              <a:custGeom>
                <a:avLst/>
                <a:gdLst>
                  <a:gd name="connsiteX0" fmla="*/ 11906 w 809625"/>
                  <a:gd name="connsiteY0" fmla="*/ 7144 h 200025"/>
                  <a:gd name="connsiteX1" fmla="*/ 192881 w 809625"/>
                  <a:gd name="connsiteY1" fmla="*/ 188119 h 200025"/>
                  <a:gd name="connsiteX2" fmla="*/ 808196 w 809625"/>
                  <a:gd name="connsiteY2" fmla="*/ 188119 h 200025"/>
                  <a:gd name="connsiteX3" fmla="*/ 808196 w 809625"/>
                  <a:gd name="connsiteY3" fmla="*/ 195739 h 200025"/>
                  <a:gd name="connsiteX4" fmla="*/ 190024 w 809625"/>
                  <a:gd name="connsiteY4" fmla="*/ 194786 h 200025"/>
                  <a:gd name="connsiteX5" fmla="*/ 7144 w 809625"/>
                  <a:gd name="connsiteY5" fmla="*/ 11906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9625" h="200025">
                    <a:moveTo>
                      <a:pt x="11906" y="7144"/>
                    </a:moveTo>
                    <a:lnTo>
                      <a:pt x="192881" y="188119"/>
                    </a:lnTo>
                    <a:lnTo>
                      <a:pt x="808196" y="188119"/>
                    </a:lnTo>
                    <a:lnTo>
                      <a:pt x="808196" y="195739"/>
                    </a:lnTo>
                    <a:lnTo>
                      <a:pt x="190024" y="194786"/>
                    </a:lnTo>
                    <a:lnTo>
                      <a:pt x="7144" y="11906"/>
                    </a:lnTo>
                    <a:close/>
                  </a:path>
                </a:pathLst>
              </a:custGeom>
              <a:grpFill/>
              <a:ln w="9525" cap="flat">
                <a:noFill/>
                <a:prstDash val="solid"/>
                <a:miter/>
              </a:ln>
            </p:spPr>
            <p:txBody>
              <a:bodyPr rtlCol="0" anchor="ctr"/>
              <a:lstStyle/>
              <a:p>
                <a:endParaRPr lang="en-US"/>
              </a:p>
            </p:txBody>
          </p:sp>
          <p:sp>
            <p:nvSpPr>
              <p:cNvPr id="197" name="Freeform: Shape 196">
                <a:extLst>
                  <a:ext uri="{FF2B5EF4-FFF2-40B4-BE49-F238E27FC236}">
                    <a16:creationId xmlns:a16="http://schemas.microsoft.com/office/drawing/2014/main" id="{E23214B6-1C4F-4C8B-B030-25C78163DF8C}"/>
                  </a:ext>
                </a:extLst>
              </p:cNvPr>
              <p:cNvSpPr/>
              <p:nvPr/>
            </p:nvSpPr>
            <p:spPr>
              <a:xfrm>
                <a:off x="6358414" y="3242786"/>
                <a:ext cx="38100" cy="38100"/>
              </a:xfrm>
              <a:custGeom>
                <a:avLst/>
                <a:gdLst>
                  <a:gd name="connsiteX0" fmla="*/ 20479 w 38100"/>
                  <a:gd name="connsiteY0" fmla="*/ 33814 h 38100"/>
                  <a:gd name="connsiteX1" fmla="*/ 33814 w 38100"/>
                  <a:gd name="connsiteY1" fmla="*/ 20479 h 38100"/>
                  <a:gd name="connsiteX2" fmla="*/ 20479 w 38100"/>
                  <a:gd name="connsiteY2" fmla="*/ 7144 h 38100"/>
                  <a:gd name="connsiteX3" fmla="*/ 7144 w 38100"/>
                  <a:gd name="connsiteY3" fmla="*/ 20479 h 38100"/>
                  <a:gd name="connsiteX4" fmla="*/ 20479 w 38100"/>
                  <a:gd name="connsiteY4" fmla="*/ 3381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33814"/>
                    </a:moveTo>
                    <a:cubicBezTo>
                      <a:pt x="28099" y="33814"/>
                      <a:pt x="33814" y="28099"/>
                      <a:pt x="33814" y="20479"/>
                    </a:cubicBezTo>
                    <a:cubicBezTo>
                      <a:pt x="33814" y="12859"/>
                      <a:pt x="28099" y="7144"/>
                      <a:pt x="20479" y="7144"/>
                    </a:cubicBezTo>
                    <a:cubicBezTo>
                      <a:pt x="12859" y="7144"/>
                      <a:pt x="7144" y="12859"/>
                      <a:pt x="7144" y="20479"/>
                    </a:cubicBezTo>
                    <a:cubicBezTo>
                      <a:pt x="7144" y="28099"/>
                      <a:pt x="13811" y="33814"/>
                      <a:pt x="20479" y="33814"/>
                    </a:cubicBezTo>
                    <a:close/>
                  </a:path>
                </a:pathLst>
              </a:custGeom>
              <a:grpFill/>
              <a:ln w="9525" cap="flat">
                <a:noFill/>
                <a:prstDash val="solid"/>
                <a:miter/>
              </a:ln>
            </p:spPr>
            <p:txBody>
              <a:bodyPr rtlCol="0" anchor="ctr"/>
              <a:lstStyle/>
              <a:p>
                <a:endParaRPr lang="en-US"/>
              </a:p>
            </p:txBody>
          </p:sp>
        </p:grpSp>
        <p:grpSp>
          <p:nvGrpSpPr>
            <p:cNvPr id="22" name="Graphic 234">
              <a:extLst>
                <a:ext uri="{FF2B5EF4-FFF2-40B4-BE49-F238E27FC236}">
                  <a16:creationId xmlns:a16="http://schemas.microsoft.com/office/drawing/2014/main" id="{0E8BC87D-2319-4EA6-B5B3-DDC5ED3EF8F9}"/>
                </a:ext>
              </a:extLst>
            </p:cNvPr>
            <p:cNvGrpSpPr/>
            <p:nvPr/>
          </p:nvGrpSpPr>
          <p:grpSpPr>
            <a:xfrm>
              <a:off x="3273841" y="2338140"/>
              <a:ext cx="3495664" cy="1188682"/>
              <a:chOff x="7540326" y="1358451"/>
              <a:chExt cx="4257675" cy="1447800"/>
            </a:xfrm>
            <a:grpFill/>
          </p:grpSpPr>
          <p:sp>
            <p:nvSpPr>
              <p:cNvPr id="172" name="Freeform: Shape 171">
                <a:extLst>
                  <a:ext uri="{FF2B5EF4-FFF2-40B4-BE49-F238E27FC236}">
                    <a16:creationId xmlns:a16="http://schemas.microsoft.com/office/drawing/2014/main" id="{452A628C-535B-4754-8D97-5EF9FC4A41D3}"/>
                  </a:ext>
                </a:extLst>
              </p:cNvPr>
              <p:cNvSpPr/>
              <p:nvPr/>
            </p:nvSpPr>
            <p:spPr>
              <a:xfrm>
                <a:off x="8179930" y="1579907"/>
                <a:ext cx="3581400" cy="762000"/>
              </a:xfrm>
              <a:custGeom>
                <a:avLst/>
                <a:gdLst>
                  <a:gd name="connsiteX0" fmla="*/ 37624 w 3581400"/>
                  <a:gd name="connsiteY0" fmla="*/ 761524 h 762000"/>
                  <a:gd name="connsiteX1" fmla="*/ 7144 w 3581400"/>
                  <a:gd name="connsiteY1" fmla="*/ 731044 h 762000"/>
                  <a:gd name="connsiteX2" fmla="*/ 37624 w 3581400"/>
                  <a:gd name="connsiteY2" fmla="*/ 700564 h 762000"/>
                  <a:gd name="connsiteX3" fmla="*/ 64294 w 3581400"/>
                  <a:gd name="connsiteY3" fmla="*/ 715804 h 762000"/>
                  <a:gd name="connsiteX4" fmla="*/ 1177766 w 3581400"/>
                  <a:gd name="connsiteY4" fmla="*/ 715804 h 762000"/>
                  <a:gd name="connsiteX5" fmla="*/ 1060609 w 3581400"/>
                  <a:gd name="connsiteY5" fmla="*/ 597694 h 762000"/>
                  <a:gd name="connsiteX6" fmla="*/ 376714 w 3581400"/>
                  <a:gd name="connsiteY6" fmla="*/ 597694 h 762000"/>
                  <a:gd name="connsiteX7" fmla="*/ 350044 w 3581400"/>
                  <a:gd name="connsiteY7" fmla="*/ 612934 h 762000"/>
                  <a:gd name="connsiteX8" fmla="*/ 319564 w 3581400"/>
                  <a:gd name="connsiteY8" fmla="*/ 582454 h 762000"/>
                  <a:gd name="connsiteX9" fmla="*/ 350044 w 3581400"/>
                  <a:gd name="connsiteY9" fmla="*/ 551974 h 762000"/>
                  <a:gd name="connsiteX10" fmla="*/ 376714 w 3581400"/>
                  <a:gd name="connsiteY10" fmla="*/ 567214 h 762000"/>
                  <a:gd name="connsiteX11" fmla="*/ 804386 w 3581400"/>
                  <a:gd name="connsiteY11" fmla="*/ 567214 h 762000"/>
                  <a:gd name="connsiteX12" fmla="*/ 755809 w 3581400"/>
                  <a:gd name="connsiteY12" fmla="*/ 518636 h 762000"/>
                  <a:gd name="connsiteX13" fmla="*/ 469106 w 3581400"/>
                  <a:gd name="connsiteY13" fmla="*/ 518636 h 762000"/>
                  <a:gd name="connsiteX14" fmla="*/ 442436 w 3581400"/>
                  <a:gd name="connsiteY14" fmla="*/ 533876 h 762000"/>
                  <a:gd name="connsiteX15" fmla="*/ 411956 w 3581400"/>
                  <a:gd name="connsiteY15" fmla="*/ 503396 h 762000"/>
                  <a:gd name="connsiteX16" fmla="*/ 442436 w 3581400"/>
                  <a:gd name="connsiteY16" fmla="*/ 472916 h 762000"/>
                  <a:gd name="connsiteX17" fmla="*/ 469106 w 3581400"/>
                  <a:gd name="connsiteY17" fmla="*/ 488156 h 762000"/>
                  <a:gd name="connsiteX18" fmla="*/ 768191 w 3581400"/>
                  <a:gd name="connsiteY18" fmla="*/ 488156 h 762000"/>
                  <a:gd name="connsiteX19" fmla="*/ 846296 w 3581400"/>
                  <a:gd name="connsiteY19" fmla="*/ 566261 h 762000"/>
                  <a:gd name="connsiteX20" fmla="*/ 1072039 w 3581400"/>
                  <a:gd name="connsiteY20" fmla="*/ 566261 h 762000"/>
                  <a:gd name="connsiteX21" fmla="*/ 1219676 w 3581400"/>
                  <a:gd name="connsiteY21" fmla="*/ 713899 h 762000"/>
                  <a:gd name="connsiteX22" fmla="*/ 1376839 w 3581400"/>
                  <a:gd name="connsiteY22" fmla="*/ 713899 h 762000"/>
                  <a:gd name="connsiteX23" fmla="*/ 1540669 w 3581400"/>
                  <a:gd name="connsiteY23" fmla="*/ 550069 h 762000"/>
                  <a:gd name="connsiteX24" fmla="*/ 2015014 w 3581400"/>
                  <a:gd name="connsiteY24" fmla="*/ 550069 h 762000"/>
                  <a:gd name="connsiteX25" fmla="*/ 2253139 w 3581400"/>
                  <a:gd name="connsiteY25" fmla="*/ 311944 h 762000"/>
                  <a:gd name="connsiteX26" fmla="*/ 2012156 w 3581400"/>
                  <a:gd name="connsiteY26" fmla="*/ 311944 h 762000"/>
                  <a:gd name="connsiteX27" fmla="*/ 1900714 w 3581400"/>
                  <a:gd name="connsiteY27" fmla="*/ 426244 h 762000"/>
                  <a:gd name="connsiteX28" fmla="*/ 1742599 w 3581400"/>
                  <a:gd name="connsiteY28" fmla="*/ 426244 h 762000"/>
                  <a:gd name="connsiteX29" fmla="*/ 1715929 w 3581400"/>
                  <a:gd name="connsiteY29" fmla="*/ 441484 h 762000"/>
                  <a:gd name="connsiteX30" fmla="*/ 1685449 w 3581400"/>
                  <a:gd name="connsiteY30" fmla="*/ 411004 h 762000"/>
                  <a:gd name="connsiteX31" fmla="*/ 1715929 w 3581400"/>
                  <a:gd name="connsiteY31" fmla="*/ 380524 h 762000"/>
                  <a:gd name="connsiteX32" fmla="*/ 1742599 w 3581400"/>
                  <a:gd name="connsiteY32" fmla="*/ 395764 h 762000"/>
                  <a:gd name="connsiteX33" fmla="*/ 1888331 w 3581400"/>
                  <a:gd name="connsiteY33" fmla="*/ 395764 h 762000"/>
                  <a:gd name="connsiteX34" fmla="*/ 1970246 w 3581400"/>
                  <a:gd name="connsiteY34" fmla="*/ 313849 h 762000"/>
                  <a:gd name="connsiteX35" fmla="*/ 1623536 w 3581400"/>
                  <a:gd name="connsiteY35" fmla="*/ 313849 h 762000"/>
                  <a:gd name="connsiteX36" fmla="*/ 1400651 w 3581400"/>
                  <a:gd name="connsiteY36" fmla="*/ 536734 h 762000"/>
                  <a:gd name="connsiteX37" fmla="*/ 1393031 w 3581400"/>
                  <a:gd name="connsiteY37" fmla="*/ 566261 h 762000"/>
                  <a:gd name="connsiteX38" fmla="*/ 1371124 w 3581400"/>
                  <a:gd name="connsiteY38" fmla="*/ 574834 h 762000"/>
                  <a:gd name="connsiteX39" fmla="*/ 1349216 w 3581400"/>
                  <a:gd name="connsiteY39" fmla="*/ 566261 h 762000"/>
                  <a:gd name="connsiteX40" fmla="*/ 1340644 w 3581400"/>
                  <a:gd name="connsiteY40" fmla="*/ 544354 h 762000"/>
                  <a:gd name="connsiteX41" fmla="*/ 1349216 w 3581400"/>
                  <a:gd name="connsiteY41" fmla="*/ 522446 h 762000"/>
                  <a:gd name="connsiteX42" fmla="*/ 1371124 w 3581400"/>
                  <a:gd name="connsiteY42" fmla="*/ 513874 h 762000"/>
                  <a:gd name="connsiteX43" fmla="*/ 1379696 w 3581400"/>
                  <a:gd name="connsiteY43" fmla="*/ 514826 h 762000"/>
                  <a:gd name="connsiteX44" fmla="*/ 1439704 w 3581400"/>
                  <a:gd name="connsiteY44" fmla="*/ 454819 h 762000"/>
                  <a:gd name="connsiteX45" fmla="*/ 1025366 w 3581400"/>
                  <a:gd name="connsiteY45" fmla="*/ 454819 h 762000"/>
                  <a:gd name="connsiteX46" fmla="*/ 988219 w 3581400"/>
                  <a:gd name="connsiteY46" fmla="*/ 417671 h 762000"/>
                  <a:gd name="connsiteX47" fmla="*/ 979646 w 3581400"/>
                  <a:gd name="connsiteY47" fmla="*/ 418624 h 762000"/>
                  <a:gd name="connsiteX48" fmla="*/ 957739 w 3581400"/>
                  <a:gd name="connsiteY48" fmla="*/ 410051 h 762000"/>
                  <a:gd name="connsiteX49" fmla="*/ 949166 w 3581400"/>
                  <a:gd name="connsiteY49" fmla="*/ 388144 h 762000"/>
                  <a:gd name="connsiteX50" fmla="*/ 957739 w 3581400"/>
                  <a:gd name="connsiteY50" fmla="*/ 366236 h 762000"/>
                  <a:gd name="connsiteX51" fmla="*/ 979646 w 3581400"/>
                  <a:gd name="connsiteY51" fmla="*/ 357664 h 762000"/>
                  <a:gd name="connsiteX52" fmla="*/ 1001554 w 3581400"/>
                  <a:gd name="connsiteY52" fmla="*/ 366236 h 762000"/>
                  <a:gd name="connsiteX53" fmla="*/ 1009174 w 3581400"/>
                  <a:gd name="connsiteY53" fmla="*/ 395764 h 762000"/>
                  <a:gd name="connsiteX54" fmla="*/ 1037749 w 3581400"/>
                  <a:gd name="connsiteY54" fmla="*/ 424339 h 762000"/>
                  <a:gd name="connsiteX55" fmla="*/ 1470184 w 3581400"/>
                  <a:gd name="connsiteY55" fmla="*/ 424339 h 762000"/>
                  <a:gd name="connsiteX56" fmla="*/ 1611154 w 3581400"/>
                  <a:gd name="connsiteY56" fmla="*/ 283369 h 762000"/>
                  <a:gd name="connsiteX57" fmla="*/ 2285524 w 3581400"/>
                  <a:gd name="connsiteY57" fmla="*/ 283369 h 762000"/>
                  <a:gd name="connsiteX58" fmla="*/ 2289334 w 3581400"/>
                  <a:gd name="connsiteY58" fmla="*/ 279559 h 762000"/>
                  <a:gd name="connsiteX59" fmla="*/ 2294096 w 3581400"/>
                  <a:gd name="connsiteY59" fmla="*/ 283369 h 762000"/>
                  <a:gd name="connsiteX60" fmla="*/ 2574131 w 3581400"/>
                  <a:gd name="connsiteY60" fmla="*/ 283369 h 762000"/>
                  <a:gd name="connsiteX61" fmla="*/ 2774156 w 3581400"/>
                  <a:gd name="connsiteY61" fmla="*/ 83344 h 762000"/>
                  <a:gd name="connsiteX62" fmla="*/ 2961799 w 3581400"/>
                  <a:gd name="connsiteY62" fmla="*/ 83344 h 762000"/>
                  <a:gd name="connsiteX63" fmla="*/ 3022759 w 3581400"/>
                  <a:gd name="connsiteY63" fmla="*/ 22384 h 762000"/>
                  <a:gd name="connsiteX64" fmla="*/ 3525679 w 3581400"/>
                  <a:gd name="connsiteY64" fmla="*/ 22384 h 762000"/>
                  <a:gd name="connsiteX65" fmla="*/ 3552349 w 3581400"/>
                  <a:gd name="connsiteY65" fmla="*/ 7144 h 762000"/>
                  <a:gd name="connsiteX66" fmla="*/ 3582829 w 3581400"/>
                  <a:gd name="connsiteY66" fmla="*/ 37624 h 762000"/>
                  <a:gd name="connsiteX67" fmla="*/ 3552349 w 3581400"/>
                  <a:gd name="connsiteY67" fmla="*/ 68104 h 762000"/>
                  <a:gd name="connsiteX68" fmla="*/ 3525679 w 3581400"/>
                  <a:gd name="connsiteY68" fmla="*/ 52864 h 762000"/>
                  <a:gd name="connsiteX69" fmla="*/ 3036094 w 3581400"/>
                  <a:gd name="connsiteY69" fmla="*/ 52864 h 762000"/>
                  <a:gd name="connsiteX70" fmla="*/ 2975134 w 3581400"/>
                  <a:gd name="connsiteY70" fmla="*/ 113824 h 762000"/>
                  <a:gd name="connsiteX71" fmla="*/ 2787491 w 3581400"/>
                  <a:gd name="connsiteY71" fmla="*/ 113824 h 762000"/>
                  <a:gd name="connsiteX72" fmla="*/ 2588419 w 3581400"/>
                  <a:gd name="connsiteY72" fmla="*/ 312896 h 762000"/>
                  <a:gd name="connsiteX73" fmla="*/ 2299811 w 3581400"/>
                  <a:gd name="connsiteY73" fmla="*/ 312896 h 762000"/>
                  <a:gd name="connsiteX74" fmla="*/ 2206466 w 3581400"/>
                  <a:gd name="connsiteY74" fmla="*/ 406241 h 762000"/>
                  <a:gd name="connsiteX75" fmla="*/ 2329339 w 3581400"/>
                  <a:gd name="connsiteY75" fmla="*/ 406241 h 762000"/>
                  <a:gd name="connsiteX76" fmla="*/ 2387441 w 3581400"/>
                  <a:gd name="connsiteY76" fmla="*/ 464344 h 762000"/>
                  <a:gd name="connsiteX77" fmla="*/ 2396014 w 3581400"/>
                  <a:gd name="connsiteY77" fmla="*/ 463391 h 762000"/>
                  <a:gd name="connsiteX78" fmla="*/ 2417921 w 3581400"/>
                  <a:gd name="connsiteY78" fmla="*/ 471964 h 762000"/>
                  <a:gd name="connsiteX79" fmla="*/ 2426494 w 3581400"/>
                  <a:gd name="connsiteY79" fmla="*/ 493871 h 762000"/>
                  <a:gd name="connsiteX80" fmla="*/ 2417921 w 3581400"/>
                  <a:gd name="connsiteY80" fmla="*/ 515779 h 762000"/>
                  <a:gd name="connsiteX81" fmla="*/ 2396014 w 3581400"/>
                  <a:gd name="connsiteY81" fmla="*/ 524351 h 762000"/>
                  <a:gd name="connsiteX82" fmla="*/ 2374106 w 3581400"/>
                  <a:gd name="connsiteY82" fmla="*/ 515779 h 762000"/>
                  <a:gd name="connsiteX83" fmla="*/ 2366486 w 3581400"/>
                  <a:gd name="connsiteY83" fmla="*/ 486251 h 762000"/>
                  <a:gd name="connsiteX84" fmla="*/ 2317909 w 3581400"/>
                  <a:gd name="connsiteY84" fmla="*/ 437674 h 762000"/>
                  <a:gd name="connsiteX85" fmla="*/ 2176939 w 3581400"/>
                  <a:gd name="connsiteY85" fmla="*/ 437674 h 762000"/>
                  <a:gd name="connsiteX86" fmla="*/ 2032159 w 3581400"/>
                  <a:gd name="connsiteY86" fmla="*/ 582454 h 762000"/>
                  <a:gd name="connsiteX87" fmla="*/ 1557814 w 3581400"/>
                  <a:gd name="connsiteY87" fmla="*/ 582454 h 762000"/>
                  <a:gd name="connsiteX88" fmla="*/ 1393984 w 3581400"/>
                  <a:gd name="connsiteY88" fmla="*/ 746284 h 762000"/>
                  <a:gd name="connsiteX89" fmla="*/ 64294 w 3581400"/>
                  <a:gd name="connsiteY89" fmla="*/ 746284 h 762000"/>
                  <a:gd name="connsiteX90" fmla="*/ 37624 w 3581400"/>
                  <a:gd name="connsiteY90" fmla="*/ 761524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3581400" h="762000">
                    <a:moveTo>
                      <a:pt x="37624" y="761524"/>
                    </a:moveTo>
                    <a:cubicBezTo>
                      <a:pt x="20479" y="761524"/>
                      <a:pt x="7144" y="748189"/>
                      <a:pt x="7144" y="731044"/>
                    </a:cubicBezTo>
                    <a:cubicBezTo>
                      <a:pt x="7144" y="713899"/>
                      <a:pt x="20479" y="700564"/>
                      <a:pt x="37624" y="700564"/>
                    </a:cubicBezTo>
                    <a:cubicBezTo>
                      <a:pt x="49054" y="700564"/>
                      <a:pt x="58579" y="706279"/>
                      <a:pt x="64294" y="715804"/>
                    </a:cubicBezTo>
                    <a:lnTo>
                      <a:pt x="1177766" y="715804"/>
                    </a:lnTo>
                    <a:lnTo>
                      <a:pt x="1060609" y="597694"/>
                    </a:lnTo>
                    <a:lnTo>
                      <a:pt x="376714" y="597694"/>
                    </a:lnTo>
                    <a:cubicBezTo>
                      <a:pt x="370999" y="607219"/>
                      <a:pt x="361474" y="612934"/>
                      <a:pt x="350044" y="612934"/>
                    </a:cubicBezTo>
                    <a:cubicBezTo>
                      <a:pt x="332899" y="612934"/>
                      <a:pt x="319564" y="599599"/>
                      <a:pt x="319564" y="582454"/>
                    </a:cubicBezTo>
                    <a:cubicBezTo>
                      <a:pt x="319564" y="565309"/>
                      <a:pt x="332899" y="551974"/>
                      <a:pt x="350044" y="551974"/>
                    </a:cubicBezTo>
                    <a:cubicBezTo>
                      <a:pt x="361474" y="551974"/>
                      <a:pt x="370999" y="557689"/>
                      <a:pt x="376714" y="567214"/>
                    </a:cubicBezTo>
                    <a:lnTo>
                      <a:pt x="804386" y="567214"/>
                    </a:lnTo>
                    <a:lnTo>
                      <a:pt x="755809" y="518636"/>
                    </a:lnTo>
                    <a:lnTo>
                      <a:pt x="469106" y="518636"/>
                    </a:lnTo>
                    <a:cubicBezTo>
                      <a:pt x="463391" y="528161"/>
                      <a:pt x="453866" y="533876"/>
                      <a:pt x="442436" y="533876"/>
                    </a:cubicBezTo>
                    <a:cubicBezTo>
                      <a:pt x="425291" y="533876"/>
                      <a:pt x="411956" y="520541"/>
                      <a:pt x="411956" y="503396"/>
                    </a:cubicBezTo>
                    <a:cubicBezTo>
                      <a:pt x="411956" y="486251"/>
                      <a:pt x="425291" y="472916"/>
                      <a:pt x="442436" y="472916"/>
                    </a:cubicBezTo>
                    <a:cubicBezTo>
                      <a:pt x="453866" y="472916"/>
                      <a:pt x="463391" y="478631"/>
                      <a:pt x="469106" y="488156"/>
                    </a:cubicBezTo>
                    <a:lnTo>
                      <a:pt x="768191" y="488156"/>
                    </a:lnTo>
                    <a:lnTo>
                      <a:pt x="846296" y="566261"/>
                    </a:lnTo>
                    <a:lnTo>
                      <a:pt x="1072039" y="566261"/>
                    </a:lnTo>
                    <a:lnTo>
                      <a:pt x="1219676" y="713899"/>
                    </a:lnTo>
                    <a:lnTo>
                      <a:pt x="1376839" y="713899"/>
                    </a:lnTo>
                    <a:lnTo>
                      <a:pt x="1540669" y="550069"/>
                    </a:lnTo>
                    <a:lnTo>
                      <a:pt x="2015014" y="550069"/>
                    </a:lnTo>
                    <a:lnTo>
                      <a:pt x="2253139" y="311944"/>
                    </a:lnTo>
                    <a:lnTo>
                      <a:pt x="2012156" y="311944"/>
                    </a:lnTo>
                    <a:lnTo>
                      <a:pt x="1900714" y="426244"/>
                    </a:lnTo>
                    <a:lnTo>
                      <a:pt x="1742599" y="426244"/>
                    </a:lnTo>
                    <a:cubicBezTo>
                      <a:pt x="1736884" y="435769"/>
                      <a:pt x="1727359" y="441484"/>
                      <a:pt x="1715929" y="441484"/>
                    </a:cubicBezTo>
                    <a:cubicBezTo>
                      <a:pt x="1698784" y="441484"/>
                      <a:pt x="1685449" y="428149"/>
                      <a:pt x="1685449" y="411004"/>
                    </a:cubicBezTo>
                    <a:cubicBezTo>
                      <a:pt x="1685449" y="393859"/>
                      <a:pt x="1698784" y="380524"/>
                      <a:pt x="1715929" y="380524"/>
                    </a:cubicBezTo>
                    <a:cubicBezTo>
                      <a:pt x="1727359" y="380524"/>
                      <a:pt x="1736884" y="386239"/>
                      <a:pt x="1742599" y="395764"/>
                    </a:cubicBezTo>
                    <a:lnTo>
                      <a:pt x="1888331" y="395764"/>
                    </a:lnTo>
                    <a:lnTo>
                      <a:pt x="1970246" y="313849"/>
                    </a:lnTo>
                    <a:lnTo>
                      <a:pt x="1623536" y="313849"/>
                    </a:lnTo>
                    <a:lnTo>
                      <a:pt x="1400651" y="536734"/>
                    </a:lnTo>
                    <a:cubicBezTo>
                      <a:pt x="1403509" y="547211"/>
                      <a:pt x="1400651" y="558641"/>
                      <a:pt x="1393031" y="566261"/>
                    </a:cubicBezTo>
                    <a:cubicBezTo>
                      <a:pt x="1387316" y="571976"/>
                      <a:pt x="1379696" y="574834"/>
                      <a:pt x="1371124" y="574834"/>
                    </a:cubicBezTo>
                    <a:cubicBezTo>
                      <a:pt x="1362551" y="574834"/>
                      <a:pt x="1354931" y="571976"/>
                      <a:pt x="1349216" y="566261"/>
                    </a:cubicBezTo>
                    <a:cubicBezTo>
                      <a:pt x="1343501" y="560546"/>
                      <a:pt x="1340644" y="552926"/>
                      <a:pt x="1340644" y="544354"/>
                    </a:cubicBezTo>
                    <a:cubicBezTo>
                      <a:pt x="1340644" y="535781"/>
                      <a:pt x="1343501" y="528161"/>
                      <a:pt x="1349216" y="522446"/>
                    </a:cubicBezTo>
                    <a:cubicBezTo>
                      <a:pt x="1354931" y="516731"/>
                      <a:pt x="1362551" y="513874"/>
                      <a:pt x="1371124" y="513874"/>
                    </a:cubicBezTo>
                    <a:cubicBezTo>
                      <a:pt x="1373981" y="513874"/>
                      <a:pt x="1376839" y="513874"/>
                      <a:pt x="1379696" y="514826"/>
                    </a:cubicBezTo>
                    <a:lnTo>
                      <a:pt x="1439704" y="454819"/>
                    </a:lnTo>
                    <a:lnTo>
                      <a:pt x="1025366" y="454819"/>
                    </a:lnTo>
                    <a:lnTo>
                      <a:pt x="988219" y="417671"/>
                    </a:lnTo>
                    <a:cubicBezTo>
                      <a:pt x="985361" y="418624"/>
                      <a:pt x="982504" y="418624"/>
                      <a:pt x="979646" y="418624"/>
                    </a:cubicBezTo>
                    <a:cubicBezTo>
                      <a:pt x="971074" y="418624"/>
                      <a:pt x="963454" y="415766"/>
                      <a:pt x="957739" y="410051"/>
                    </a:cubicBezTo>
                    <a:cubicBezTo>
                      <a:pt x="952024" y="404336"/>
                      <a:pt x="949166" y="396716"/>
                      <a:pt x="949166" y="388144"/>
                    </a:cubicBezTo>
                    <a:cubicBezTo>
                      <a:pt x="949166" y="379571"/>
                      <a:pt x="952024" y="371951"/>
                      <a:pt x="957739" y="366236"/>
                    </a:cubicBezTo>
                    <a:cubicBezTo>
                      <a:pt x="963454" y="360521"/>
                      <a:pt x="971074" y="357664"/>
                      <a:pt x="979646" y="357664"/>
                    </a:cubicBezTo>
                    <a:cubicBezTo>
                      <a:pt x="988219" y="357664"/>
                      <a:pt x="995839" y="360521"/>
                      <a:pt x="1001554" y="366236"/>
                    </a:cubicBezTo>
                    <a:cubicBezTo>
                      <a:pt x="1009174" y="373856"/>
                      <a:pt x="1012031" y="385286"/>
                      <a:pt x="1009174" y="395764"/>
                    </a:cubicBezTo>
                    <a:lnTo>
                      <a:pt x="1037749" y="424339"/>
                    </a:lnTo>
                    <a:lnTo>
                      <a:pt x="1470184" y="424339"/>
                    </a:lnTo>
                    <a:lnTo>
                      <a:pt x="1611154" y="283369"/>
                    </a:lnTo>
                    <a:lnTo>
                      <a:pt x="2285524" y="283369"/>
                    </a:lnTo>
                    <a:lnTo>
                      <a:pt x="2289334" y="279559"/>
                    </a:lnTo>
                    <a:lnTo>
                      <a:pt x="2294096" y="283369"/>
                    </a:lnTo>
                    <a:lnTo>
                      <a:pt x="2574131" y="283369"/>
                    </a:lnTo>
                    <a:lnTo>
                      <a:pt x="2774156" y="83344"/>
                    </a:lnTo>
                    <a:lnTo>
                      <a:pt x="2961799" y="83344"/>
                    </a:lnTo>
                    <a:lnTo>
                      <a:pt x="3022759" y="22384"/>
                    </a:lnTo>
                    <a:lnTo>
                      <a:pt x="3525679" y="22384"/>
                    </a:lnTo>
                    <a:cubicBezTo>
                      <a:pt x="3531394" y="12859"/>
                      <a:pt x="3540919" y="7144"/>
                      <a:pt x="3552349" y="7144"/>
                    </a:cubicBezTo>
                    <a:cubicBezTo>
                      <a:pt x="3569494" y="7144"/>
                      <a:pt x="3582829" y="20479"/>
                      <a:pt x="3582829" y="37624"/>
                    </a:cubicBezTo>
                    <a:cubicBezTo>
                      <a:pt x="3582829" y="54769"/>
                      <a:pt x="3569494" y="68104"/>
                      <a:pt x="3552349" y="68104"/>
                    </a:cubicBezTo>
                    <a:cubicBezTo>
                      <a:pt x="3540919" y="68104"/>
                      <a:pt x="3531394" y="62389"/>
                      <a:pt x="3525679" y="52864"/>
                    </a:cubicBezTo>
                    <a:lnTo>
                      <a:pt x="3036094" y="52864"/>
                    </a:lnTo>
                    <a:lnTo>
                      <a:pt x="2975134" y="113824"/>
                    </a:lnTo>
                    <a:lnTo>
                      <a:pt x="2787491" y="113824"/>
                    </a:lnTo>
                    <a:lnTo>
                      <a:pt x="2588419" y="312896"/>
                    </a:lnTo>
                    <a:lnTo>
                      <a:pt x="2299811" y="312896"/>
                    </a:lnTo>
                    <a:lnTo>
                      <a:pt x="2206466" y="406241"/>
                    </a:lnTo>
                    <a:lnTo>
                      <a:pt x="2329339" y="406241"/>
                    </a:lnTo>
                    <a:lnTo>
                      <a:pt x="2387441" y="464344"/>
                    </a:lnTo>
                    <a:cubicBezTo>
                      <a:pt x="2390299" y="463391"/>
                      <a:pt x="2393156" y="463391"/>
                      <a:pt x="2396014" y="463391"/>
                    </a:cubicBezTo>
                    <a:cubicBezTo>
                      <a:pt x="2404586" y="463391"/>
                      <a:pt x="2412206" y="466249"/>
                      <a:pt x="2417921" y="471964"/>
                    </a:cubicBezTo>
                    <a:cubicBezTo>
                      <a:pt x="2423636" y="477679"/>
                      <a:pt x="2426494" y="485299"/>
                      <a:pt x="2426494" y="493871"/>
                    </a:cubicBezTo>
                    <a:cubicBezTo>
                      <a:pt x="2426494" y="502444"/>
                      <a:pt x="2423636" y="510064"/>
                      <a:pt x="2417921" y="515779"/>
                    </a:cubicBezTo>
                    <a:cubicBezTo>
                      <a:pt x="2412206" y="521494"/>
                      <a:pt x="2404586" y="524351"/>
                      <a:pt x="2396014" y="524351"/>
                    </a:cubicBezTo>
                    <a:cubicBezTo>
                      <a:pt x="2387441" y="524351"/>
                      <a:pt x="2379821" y="521494"/>
                      <a:pt x="2374106" y="515779"/>
                    </a:cubicBezTo>
                    <a:cubicBezTo>
                      <a:pt x="2366486" y="508159"/>
                      <a:pt x="2363629" y="496729"/>
                      <a:pt x="2366486" y="486251"/>
                    </a:cubicBezTo>
                    <a:lnTo>
                      <a:pt x="2317909" y="437674"/>
                    </a:lnTo>
                    <a:lnTo>
                      <a:pt x="2176939" y="437674"/>
                    </a:lnTo>
                    <a:lnTo>
                      <a:pt x="2032159" y="582454"/>
                    </a:lnTo>
                    <a:lnTo>
                      <a:pt x="1557814" y="582454"/>
                    </a:lnTo>
                    <a:lnTo>
                      <a:pt x="1393984" y="746284"/>
                    </a:lnTo>
                    <a:lnTo>
                      <a:pt x="64294" y="746284"/>
                    </a:lnTo>
                    <a:cubicBezTo>
                      <a:pt x="59531" y="754856"/>
                      <a:pt x="49054" y="761524"/>
                      <a:pt x="37624" y="761524"/>
                    </a:cubicBezTo>
                    <a:close/>
                  </a:path>
                </a:pathLst>
              </a:custGeom>
              <a:grpFill/>
              <a:ln w="9525" cap="flat">
                <a:noFill/>
                <a:prstDash val="solid"/>
                <a:miter/>
              </a:ln>
            </p:spPr>
            <p:txBody>
              <a:bodyPr rtlCol="0" anchor="ctr"/>
              <a:lstStyle/>
              <a:p>
                <a:endParaRPr lang="en-US"/>
              </a:p>
            </p:txBody>
          </p:sp>
          <p:sp>
            <p:nvSpPr>
              <p:cNvPr id="173" name="Freeform: Shape 172">
                <a:extLst>
                  <a:ext uri="{FF2B5EF4-FFF2-40B4-BE49-F238E27FC236}">
                    <a16:creationId xmlns:a16="http://schemas.microsoft.com/office/drawing/2014/main" id="{B020DC91-F1DB-4F7C-8FAD-8D2F402DB394}"/>
                  </a:ext>
                </a:extLst>
              </p:cNvPr>
              <p:cNvSpPr/>
              <p:nvPr/>
            </p:nvSpPr>
            <p:spPr>
              <a:xfrm>
                <a:off x="8190407" y="1590385"/>
                <a:ext cx="3562350" cy="742950"/>
              </a:xfrm>
              <a:custGeom>
                <a:avLst/>
                <a:gdLst>
                  <a:gd name="connsiteX0" fmla="*/ 2567464 w 3562350"/>
                  <a:gd name="connsiteY0" fmla="*/ 282416 h 742950"/>
                  <a:gd name="connsiteX1" fmla="*/ 2279809 w 3562350"/>
                  <a:gd name="connsiteY1" fmla="*/ 282416 h 742950"/>
                  <a:gd name="connsiteX2" fmla="*/ 2278856 w 3562350"/>
                  <a:gd name="connsiteY2" fmla="*/ 281464 h 742950"/>
                  <a:gd name="connsiteX3" fmla="*/ 2277904 w 3562350"/>
                  <a:gd name="connsiteY3" fmla="*/ 282416 h 742950"/>
                  <a:gd name="connsiteX4" fmla="*/ 1603534 w 3562350"/>
                  <a:gd name="connsiteY4" fmla="*/ 282416 h 742950"/>
                  <a:gd name="connsiteX5" fmla="*/ 1461611 w 3562350"/>
                  <a:gd name="connsiteY5" fmla="*/ 424339 h 742950"/>
                  <a:gd name="connsiteX6" fmla="*/ 1021556 w 3562350"/>
                  <a:gd name="connsiteY6" fmla="*/ 424339 h 742950"/>
                  <a:gd name="connsiteX7" fmla="*/ 986314 w 3562350"/>
                  <a:gd name="connsiteY7" fmla="*/ 389096 h 742950"/>
                  <a:gd name="connsiteX8" fmla="*/ 982504 w 3562350"/>
                  <a:gd name="connsiteY8" fmla="*/ 363379 h 742950"/>
                  <a:gd name="connsiteX9" fmla="*/ 952024 w 3562350"/>
                  <a:gd name="connsiteY9" fmla="*/ 363379 h 742950"/>
                  <a:gd name="connsiteX10" fmla="*/ 952024 w 3562350"/>
                  <a:gd name="connsiteY10" fmla="*/ 392906 h 742950"/>
                  <a:gd name="connsiteX11" fmla="*/ 977741 w 3562350"/>
                  <a:gd name="connsiteY11" fmla="*/ 396716 h 742950"/>
                  <a:gd name="connsiteX12" fmla="*/ 1016794 w 3562350"/>
                  <a:gd name="connsiteY12" fmla="*/ 435769 h 742950"/>
                  <a:gd name="connsiteX13" fmla="*/ 1450181 w 3562350"/>
                  <a:gd name="connsiteY13" fmla="*/ 435769 h 742950"/>
                  <a:gd name="connsiteX14" fmla="*/ 1370171 w 3562350"/>
                  <a:gd name="connsiteY14" fmla="*/ 515779 h 742950"/>
                  <a:gd name="connsiteX15" fmla="*/ 1344454 w 3562350"/>
                  <a:gd name="connsiteY15" fmla="*/ 519589 h 742950"/>
                  <a:gd name="connsiteX16" fmla="*/ 1344454 w 3562350"/>
                  <a:gd name="connsiteY16" fmla="*/ 549116 h 742950"/>
                  <a:gd name="connsiteX17" fmla="*/ 1373981 w 3562350"/>
                  <a:gd name="connsiteY17" fmla="*/ 549116 h 742950"/>
                  <a:gd name="connsiteX18" fmla="*/ 1377791 w 3562350"/>
                  <a:gd name="connsiteY18" fmla="*/ 523399 h 742950"/>
                  <a:gd name="connsiteX19" fmla="*/ 1608296 w 3562350"/>
                  <a:gd name="connsiteY19" fmla="*/ 292894 h 742950"/>
                  <a:gd name="connsiteX20" fmla="*/ 1982629 w 3562350"/>
                  <a:gd name="connsiteY20" fmla="*/ 292894 h 742950"/>
                  <a:gd name="connsiteX21" fmla="*/ 1881664 w 3562350"/>
                  <a:gd name="connsiteY21" fmla="*/ 393859 h 742950"/>
                  <a:gd name="connsiteX22" fmla="*/ 1726406 w 3562350"/>
                  <a:gd name="connsiteY22" fmla="*/ 393859 h 742950"/>
                  <a:gd name="connsiteX23" fmla="*/ 1706404 w 3562350"/>
                  <a:gd name="connsiteY23" fmla="*/ 378619 h 742950"/>
                  <a:gd name="connsiteX24" fmla="*/ 1685449 w 3562350"/>
                  <a:gd name="connsiteY24" fmla="*/ 399574 h 742950"/>
                  <a:gd name="connsiteX25" fmla="*/ 1706404 w 3562350"/>
                  <a:gd name="connsiteY25" fmla="*/ 420529 h 742950"/>
                  <a:gd name="connsiteX26" fmla="*/ 1726406 w 3562350"/>
                  <a:gd name="connsiteY26" fmla="*/ 405289 h 742950"/>
                  <a:gd name="connsiteX27" fmla="*/ 1886426 w 3562350"/>
                  <a:gd name="connsiteY27" fmla="*/ 405289 h 742950"/>
                  <a:gd name="connsiteX28" fmla="*/ 1998821 w 3562350"/>
                  <a:gd name="connsiteY28" fmla="*/ 292894 h 742950"/>
                  <a:gd name="connsiteX29" fmla="*/ 2267426 w 3562350"/>
                  <a:gd name="connsiteY29" fmla="*/ 292894 h 742950"/>
                  <a:gd name="connsiteX30" fmla="*/ 2010251 w 3562350"/>
                  <a:gd name="connsiteY30" fmla="*/ 550069 h 742950"/>
                  <a:gd name="connsiteX31" fmla="*/ 1535906 w 3562350"/>
                  <a:gd name="connsiteY31" fmla="*/ 550069 h 742950"/>
                  <a:gd name="connsiteX32" fmla="*/ 1372076 w 3562350"/>
                  <a:gd name="connsiteY32" fmla="*/ 713899 h 742950"/>
                  <a:gd name="connsiteX33" fmla="*/ 1207294 w 3562350"/>
                  <a:gd name="connsiteY33" fmla="*/ 713899 h 742950"/>
                  <a:gd name="connsiteX34" fmla="*/ 1059656 w 3562350"/>
                  <a:gd name="connsiteY34" fmla="*/ 566261 h 742950"/>
                  <a:gd name="connsiteX35" fmla="*/ 833914 w 3562350"/>
                  <a:gd name="connsiteY35" fmla="*/ 566261 h 742950"/>
                  <a:gd name="connsiteX36" fmla="*/ 833914 w 3562350"/>
                  <a:gd name="connsiteY36" fmla="*/ 566261 h 742950"/>
                  <a:gd name="connsiteX37" fmla="*/ 755809 w 3562350"/>
                  <a:gd name="connsiteY37" fmla="*/ 488156 h 742950"/>
                  <a:gd name="connsiteX38" fmla="*/ 453866 w 3562350"/>
                  <a:gd name="connsiteY38" fmla="*/ 488156 h 742950"/>
                  <a:gd name="connsiteX39" fmla="*/ 433864 w 3562350"/>
                  <a:gd name="connsiteY39" fmla="*/ 472916 h 742950"/>
                  <a:gd name="connsiteX40" fmla="*/ 412909 w 3562350"/>
                  <a:gd name="connsiteY40" fmla="*/ 493871 h 742950"/>
                  <a:gd name="connsiteX41" fmla="*/ 433864 w 3562350"/>
                  <a:gd name="connsiteY41" fmla="*/ 514826 h 742950"/>
                  <a:gd name="connsiteX42" fmla="*/ 453866 w 3562350"/>
                  <a:gd name="connsiteY42" fmla="*/ 499586 h 742950"/>
                  <a:gd name="connsiteX43" fmla="*/ 750094 w 3562350"/>
                  <a:gd name="connsiteY43" fmla="*/ 499586 h 742950"/>
                  <a:gd name="connsiteX44" fmla="*/ 817721 w 3562350"/>
                  <a:gd name="connsiteY44" fmla="*/ 567214 h 742950"/>
                  <a:gd name="connsiteX45" fmla="*/ 360521 w 3562350"/>
                  <a:gd name="connsiteY45" fmla="*/ 567214 h 742950"/>
                  <a:gd name="connsiteX46" fmla="*/ 340519 w 3562350"/>
                  <a:gd name="connsiteY46" fmla="*/ 551974 h 742950"/>
                  <a:gd name="connsiteX47" fmla="*/ 319564 w 3562350"/>
                  <a:gd name="connsiteY47" fmla="*/ 572929 h 742950"/>
                  <a:gd name="connsiteX48" fmla="*/ 340519 w 3562350"/>
                  <a:gd name="connsiteY48" fmla="*/ 593884 h 742950"/>
                  <a:gd name="connsiteX49" fmla="*/ 360521 w 3562350"/>
                  <a:gd name="connsiteY49" fmla="*/ 578644 h 742950"/>
                  <a:gd name="connsiteX50" fmla="*/ 1054894 w 3562350"/>
                  <a:gd name="connsiteY50" fmla="*/ 578644 h 742950"/>
                  <a:gd name="connsiteX51" fmla="*/ 1191101 w 3562350"/>
                  <a:gd name="connsiteY51" fmla="*/ 714851 h 742950"/>
                  <a:gd name="connsiteX52" fmla="*/ 48101 w 3562350"/>
                  <a:gd name="connsiteY52" fmla="*/ 714851 h 742950"/>
                  <a:gd name="connsiteX53" fmla="*/ 28099 w 3562350"/>
                  <a:gd name="connsiteY53" fmla="*/ 699611 h 742950"/>
                  <a:gd name="connsiteX54" fmla="*/ 7144 w 3562350"/>
                  <a:gd name="connsiteY54" fmla="*/ 720566 h 742950"/>
                  <a:gd name="connsiteX55" fmla="*/ 28099 w 3562350"/>
                  <a:gd name="connsiteY55" fmla="*/ 741521 h 742950"/>
                  <a:gd name="connsiteX56" fmla="*/ 48101 w 3562350"/>
                  <a:gd name="connsiteY56" fmla="*/ 726281 h 742950"/>
                  <a:gd name="connsiteX57" fmla="*/ 1376839 w 3562350"/>
                  <a:gd name="connsiteY57" fmla="*/ 726281 h 742950"/>
                  <a:gd name="connsiteX58" fmla="*/ 1540669 w 3562350"/>
                  <a:gd name="connsiteY58" fmla="*/ 561499 h 742950"/>
                  <a:gd name="connsiteX59" fmla="*/ 2015014 w 3562350"/>
                  <a:gd name="connsiteY59" fmla="*/ 561499 h 742950"/>
                  <a:gd name="connsiteX60" fmla="*/ 2159794 w 3562350"/>
                  <a:gd name="connsiteY60" fmla="*/ 417671 h 742950"/>
                  <a:gd name="connsiteX61" fmla="*/ 2308384 w 3562350"/>
                  <a:gd name="connsiteY61" fmla="*/ 417671 h 742950"/>
                  <a:gd name="connsiteX62" fmla="*/ 2364581 w 3562350"/>
                  <a:gd name="connsiteY62" fmla="*/ 473869 h 742950"/>
                  <a:gd name="connsiteX63" fmla="*/ 2368391 w 3562350"/>
                  <a:gd name="connsiteY63" fmla="*/ 499586 h 742950"/>
                  <a:gd name="connsiteX64" fmla="*/ 2397919 w 3562350"/>
                  <a:gd name="connsiteY64" fmla="*/ 499586 h 742950"/>
                  <a:gd name="connsiteX65" fmla="*/ 2397919 w 3562350"/>
                  <a:gd name="connsiteY65" fmla="*/ 470059 h 742950"/>
                  <a:gd name="connsiteX66" fmla="*/ 2372201 w 3562350"/>
                  <a:gd name="connsiteY66" fmla="*/ 466249 h 742950"/>
                  <a:gd name="connsiteX67" fmla="*/ 2313146 w 3562350"/>
                  <a:gd name="connsiteY67" fmla="*/ 407194 h 742950"/>
                  <a:gd name="connsiteX68" fmla="*/ 2170271 w 3562350"/>
                  <a:gd name="connsiteY68" fmla="*/ 407194 h 742950"/>
                  <a:gd name="connsiteX69" fmla="*/ 2283619 w 3562350"/>
                  <a:gd name="connsiteY69" fmla="*/ 293846 h 742950"/>
                  <a:gd name="connsiteX70" fmla="*/ 2572226 w 3562350"/>
                  <a:gd name="connsiteY70" fmla="*/ 293846 h 742950"/>
                  <a:gd name="connsiteX71" fmla="*/ 2771299 w 3562350"/>
                  <a:gd name="connsiteY71" fmla="*/ 94774 h 742950"/>
                  <a:gd name="connsiteX72" fmla="*/ 2959894 w 3562350"/>
                  <a:gd name="connsiteY72" fmla="*/ 94774 h 742950"/>
                  <a:gd name="connsiteX73" fmla="*/ 3020854 w 3562350"/>
                  <a:gd name="connsiteY73" fmla="*/ 33814 h 742950"/>
                  <a:gd name="connsiteX74" fmla="*/ 3520916 w 3562350"/>
                  <a:gd name="connsiteY74" fmla="*/ 33814 h 742950"/>
                  <a:gd name="connsiteX75" fmla="*/ 3540919 w 3562350"/>
                  <a:gd name="connsiteY75" fmla="*/ 49054 h 742950"/>
                  <a:gd name="connsiteX76" fmla="*/ 3561874 w 3562350"/>
                  <a:gd name="connsiteY76" fmla="*/ 28099 h 742950"/>
                  <a:gd name="connsiteX77" fmla="*/ 3540919 w 3562350"/>
                  <a:gd name="connsiteY77" fmla="*/ 7144 h 742950"/>
                  <a:gd name="connsiteX78" fmla="*/ 3520916 w 3562350"/>
                  <a:gd name="connsiteY78" fmla="*/ 22384 h 742950"/>
                  <a:gd name="connsiteX79" fmla="*/ 3016091 w 3562350"/>
                  <a:gd name="connsiteY79" fmla="*/ 22384 h 742950"/>
                  <a:gd name="connsiteX80" fmla="*/ 2955131 w 3562350"/>
                  <a:gd name="connsiteY80" fmla="*/ 83344 h 742950"/>
                  <a:gd name="connsiteX81" fmla="*/ 2767489 w 3562350"/>
                  <a:gd name="connsiteY81" fmla="*/ 83344 h 742950"/>
                  <a:gd name="connsiteX82" fmla="*/ 2567464 w 3562350"/>
                  <a:gd name="connsiteY82" fmla="*/ 282416 h 74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3562350" h="742950">
                    <a:moveTo>
                      <a:pt x="2567464" y="282416"/>
                    </a:moveTo>
                    <a:lnTo>
                      <a:pt x="2279809" y="282416"/>
                    </a:lnTo>
                    <a:lnTo>
                      <a:pt x="2278856" y="281464"/>
                    </a:lnTo>
                    <a:lnTo>
                      <a:pt x="2277904" y="282416"/>
                    </a:lnTo>
                    <a:lnTo>
                      <a:pt x="1603534" y="282416"/>
                    </a:lnTo>
                    <a:lnTo>
                      <a:pt x="1461611" y="424339"/>
                    </a:lnTo>
                    <a:lnTo>
                      <a:pt x="1021556" y="424339"/>
                    </a:lnTo>
                    <a:lnTo>
                      <a:pt x="986314" y="389096"/>
                    </a:lnTo>
                    <a:cubicBezTo>
                      <a:pt x="991076" y="381476"/>
                      <a:pt x="990124" y="370999"/>
                      <a:pt x="982504" y="363379"/>
                    </a:cubicBezTo>
                    <a:cubicBezTo>
                      <a:pt x="973931" y="354806"/>
                      <a:pt x="960596" y="354806"/>
                      <a:pt x="952024" y="363379"/>
                    </a:cubicBezTo>
                    <a:cubicBezTo>
                      <a:pt x="943451" y="371951"/>
                      <a:pt x="943451" y="385286"/>
                      <a:pt x="952024" y="392906"/>
                    </a:cubicBezTo>
                    <a:cubicBezTo>
                      <a:pt x="958691" y="399574"/>
                      <a:pt x="969169" y="400526"/>
                      <a:pt x="977741" y="396716"/>
                    </a:cubicBezTo>
                    <a:lnTo>
                      <a:pt x="1016794" y="435769"/>
                    </a:lnTo>
                    <a:lnTo>
                      <a:pt x="1450181" y="435769"/>
                    </a:lnTo>
                    <a:lnTo>
                      <a:pt x="1370171" y="515779"/>
                    </a:lnTo>
                    <a:cubicBezTo>
                      <a:pt x="1362551" y="511016"/>
                      <a:pt x="1352074" y="511969"/>
                      <a:pt x="1344454" y="519589"/>
                    </a:cubicBezTo>
                    <a:cubicBezTo>
                      <a:pt x="1335881" y="528161"/>
                      <a:pt x="1335881" y="541496"/>
                      <a:pt x="1344454" y="549116"/>
                    </a:cubicBezTo>
                    <a:cubicBezTo>
                      <a:pt x="1353026" y="557689"/>
                      <a:pt x="1366361" y="557689"/>
                      <a:pt x="1373981" y="549116"/>
                    </a:cubicBezTo>
                    <a:cubicBezTo>
                      <a:pt x="1380649" y="542449"/>
                      <a:pt x="1381601" y="531971"/>
                      <a:pt x="1377791" y="523399"/>
                    </a:cubicBezTo>
                    <a:lnTo>
                      <a:pt x="1608296" y="292894"/>
                    </a:lnTo>
                    <a:lnTo>
                      <a:pt x="1982629" y="292894"/>
                    </a:lnTo>
                    <a:lnTo>
                      <a:pt x="1881664" y="393859"/>
                    </a:lnTo>
                    <a:lnTo>
                      <a:pt x="1726406" y="393859"/>
                    </a:lnTo>
                    <a:cubicBezTo>
                      <a:pt x="1723549" y="385286"/>
                      <a:pt x="1715929" y="378619"/>
                      <a:pt x="1706404" y="378619"/>
                    </a:cubicBezTo>
                    <a:cubicBezTo>
                      <a:pt x="1694974" y="378619"/>
                      <a:pt x="1685449" y="388144"/>
                      <a:pt x="1685449" y="399574"/>
                    </a:cubicBezTo>
                    <a:cubicBezTo>
                      <a:pt x="1685449" y="411004"/>
                      <a:pt x="1694974" y="420529"/>
                      <a:pt x="1706404" y="420529"/>
                    </a:cubicBezTo>
                    <a:cubicBezTo>
                      <a:pt x="1715929" y="420529"/>
                      <a:pt x="1724501" y="413861"/>
                      <a:pt x="1726406" y="405289"/>
                    </a:cubicBezTo>
                    <a:lnTo>
                      <a:pt x="1886426" y="405289"/>
                    </a:lnTo>
                    <a:lnTo>
                      <a:pt x="1998821" y="292894"/>
                    </a:lnTo>
                    <a:lnTo>
                      <a:pt x="2267426" y="292894"/>
                    </a:lnTo>
                    <a:lnTo>
                      <a:pt x="2010251" y="550069"/>
                    </a:lnTo>
                    <a:lnTo>
                      <a:pt x="1535906" y="550069"/>
                    </a:lnTo>
                    <a:lnTo>
                      <a:pt x="1372076" y="713899"/>
                    </a:lnTo>
                    <a:lnTo>
                      <a:pt x="1207294" y="713899"/>
                    </a:lnTo>
                    <a:lnTo>
                      <a:pt x="1059656" y="566261"/>
                    </a:lnTo>
                    <a:lnTo>
                      <a:pt x="833914" y="566261"/>
                    </a:lnTo>
                    <a:lnTo>
                      <a:pt x="833914" y="566261"/>
                    </a:lnTo>
                    <a:lnTo>
                      <a:pt x="755809" y="488156"/>
                    </a:lnTo>
                    <a:lnTo>
                      <a:pt x="453866" y="488156"/>
                    </a:lnTo>
                    <a:cubicBezTo>
                      <a:pt x="451009" y="479584"/>
                      <a:pt x="443389" y="472916"/>
                      <a:pt x="433864" y="472916"/>
                    </a:cubicBezTo>
                    <a:cubicBezTo>
                      <a:pt x="422434" y="472916"/>
                      <a:pt x="412909" y="482441"/>
                      <a:pt x="412909" y="493871"/>
                    </a:cubicBezTo>
                    <a:cubicBezTo>
                      <a:pt x="412909" y="505301"/>
                      <a:pt x="422434" y="514826"/>
                      <a:pt x="433864" y="514826"/>
                    </a:cubicBezTo>
                    <a:cubicBezTo>
                      <a:pt x="443389" y="514826"/>
                      <a:pt x="451961" y="508159"/>
                      <a:pt x="453866" y="499586"/>
                    </a:cubicBezTo>
                    <a:lnTo>
                      <a:pt x="750094" y="499586"/>
                    </a:lnTo>
                    <a:lnTo>
                      <a:pt x="817721" y="567214"/>
                    </a:lnTo>
                    <a:lnTo>
                      <a:pt x="360521" y="567214"/>
                    </a:lnTo>
                    <a:cubicBezTo>
                      <a:pt x="357664" y="558641"/>
                      <a:pt x="350044" y="551974"/>
                      <a:pt x="340519" y="551974"/>
                    </a:cubicBezTo>
                    <a:cubicBezTo>
                      <a:pt x="329089" y="551974"/>
                      <a:pt x="319564" y="561499"/>
                      <a:pt x="319564" y="572929"/>
                    </a:cubicBezTo>
                    <a:cubicBezTo>
                      <a:pt x="319564" y="584359"/>
                      <a:pt x="329089" y="593884"/>
                      <a:pt x="340519" y="593884"/>
                    </a:cubicBezTo>
                    <a:cubicBezTo>
                      <a:pt x="350044" y="593884"/>
                      <a:pt x="358616" y="587216"/>
                      <a:pt x="360521" y="578644"/>
                    </a:cubicBezTo>
                    <a:lnTo>
                      <a:pt x="1054894" y="578644"/>
                    </a:lnTo>
                    <a:lnTo>
                      <a:pt x="1191101" y="714851"/>
                    </a:lnTo>
                    <a:lnTo>
                      <a:pt x="48101" y="714851"/>
                    </a:lnTo>
                    <a:cubicBezTo>
                      <a:pt x="45244" y="706279"/>
                      <a:pt x="37624" y="699611"/>
                      <a:pt x="28099" y="699611"/>
                    </a:cubicBezTo>
                    <a:cubicBezTo>
                      <a:pt x="16669" y="699611"/>
                      <a:pt x="7144" y="709136"/>
                      <a:pt x="7144" y="720566"/>
                    </a:cubicBezTo>
                    <a:cubicBezTo>
                      <a:pt x="7144" y="731996"/>
                      <a:pt x="16669" y="741521"/>
                      <a:pt x="28099" y="741521"/>
                    </a:cubicBezTo>
                    <a:cubicBezTo>
                      <a:pt x="37624" y="741521"/>
                      <a:pt x="46196" y="734854"/>
                      <a:pt x="48101" y="726281"/>
                    </a:cubicBezTo>
                    <a:lnTo>
                      <a:pt x="1376839" y="726281"/>
                    </a:lnTo>
                    <a:lnTo>
                      <a:pt x="1540669" y="561499"/>
                    </a:lnTo>
                    <a:lnTo>
                      <a:pt x="2015014" y="561499"/>
                    </a:lnTo>
                    <a:lnTo>
                      <a:pt x="2159794" y="417671"/>
                    </a:lnTo>
                    <a:lnTo>
                      <a:pt x="2308384" y="417671"/>
                    </a:lnTo>
                    <a:lnTo>
                      <a:pt x="2364581" y="473869"/>
                    </a:lnTo>
                    <a:cubicBezTo>
                      <a:pt x="2359819" y="481489"/>
                      <a:pt x="2360771" y="491966"/>
                      <a:pt x="2368391" y="499586"/>
                    </a:cubicBezTo>
                    <a:cubicBezTo>
                      <a:pt x="2376964" y="508159"/>
                      <a:pt x="2390299" y="508159"/>
                      <a:pt x="2397919" y="499586"/>
                    </a:cubicBezTo>
                    <a:cubicBezTo>
                      <a:pt x="2406491" y="491014"/>
                      <a:pt x="2406491" y="477679"/>
                      <a:pt x="2397919" y="470059"/>
                    </a:cubicBezTo>
                    <a:cubicBezTo>
                      <a:pt x="2391251" y="463391"/>
                      <a:pt x="2380774" y="462439"/>
                      <a:pt x="2372201" y="466249"/>
                    </a:cubicBezTo>
                    <a:lnTo>
                      <a:pt x="2313146" y="407194"/>
                    </a:lnTo>
                    <a:lnTo>
                      <a:pt x="2170271" y="407194"/>
                    </a:lnTo>
                    <a:lnTo>
                      <a:pt x="2283619" y="293846"/>
                    </a:lnTo>
                    <a:lnTo>
                      <a:pt x="2572226" y="293846"/>
                    </a:lnTo>
                    <a:lnTo>
                      <a:pt x="2771299" y="94774"/>
                    </a:lnTo>
                    <a:lnTo>
                      <a:pt x="2959894" y="94774"/>
                    </a:lnTo>
                    <a:lnTo>
                      <a:pt x="3020854" y="33814"/>
                    </a:lnTo>
                    <a:lnTo>
                      <a:pt x="3520916" y="33814"/>
                    </a:lnTo>
                    <a:cubicBezTo>
                      <a:pt x="3523774" y="42386"/>
                      <a:pt x="3531394" y="49054"/>
                      <a:pt x="3540919" y="49054"/>
                    </a:cubicBezTo>
                    <a:cubicBezTo>
                      <a:pt x="3552349" y="49054"/>
                      <a:pt x="3561874" y="39529"/>
                      <a:pt x="3561874" y="28099"/>
                    </a:cubicBezTo>
                    <a:cubicBezTo>
                      <a:pt x="3561874" y="16669"/>
                      <a:pt x="3552349" y="7144"/>
                      <a:pt x="3540919" y="7144"/>
                    </a:cubicBezTo>
                    <a:cubicBezTo>
                      <a:pt x="3531394" y="7144"/>
                      <a:pt x="3522821" y="13811"/>
                      <a:pt x="3520916" y="22384"/>
                    </a:cubicBezTo>
                    <a:lnTo>
                      <a:pt x="3016091" y="22384"/>
                    </a:lnTo>
                    <a:lnTo>
                      <a:pt x="2955131" y="83344"/>
                    </a:lnTo>
                    <a:lnTo>
                      <a:pt x="2767489" y="83344"/>
                    </a:lnTo>
                    <a:lnTo>
                      <a:pt x="2567464" y="282416"/>
                    </a:lnTo>
                    <a:close/>
                  </a:path>
                </a:pathLst>
              </a:custGeom>
              <a:grpFill/>
              <a:ln w="9525" cap="flat">
                <a:noFill/>
                <a:prstDash val="solid"/>
                <a:miter/>
              </a:ln>
            </p:spPr>
            <p:txBody>
              <a:bodyPr rtlCol="0" anchor="ctr"/>
              <a:lstStyle/>
              <a:p>
                <a:endParaRPr lang="en-US"/>
              </a:p>
            </p:txBody>
          </p:sp>
          <p:sp>
            <p:nvSpPr>
              <p:cNvPr id="174" name="Freeform: Shape 173">
                <a:extLst>
                  <a:ext uri="{FF2B5EF4-FFF2-40B4-BE49-F238E27FC236}">
                    <a16:creationId xmlns:a16="http://schemas.microsoft.com/office/drawing/2014/main" id="{F6169FD2-C218-4A00-AF51-A9D59F0BE4AC}"/>
                  </a:ext>
                </a:extLst>
              </p:cNvPr>
              <p:cNvSpPr/>
              <p:nvPr/>
            </p:nvSpPr>
            <p:spPr>
              <a:xfrm>
                <a:off x="7533182" y="1351307"/>
                <a:ext cx="3552825" cy="771525"/>
              </a:xfrm>
              <a:custGeom>
                <a:avLst/>
                <a:gdLst>
                  <a:gd name="connsiteX0" fmla="*/ 271939 w 3552825"/>
                  <a:gd name="connsiteY0" fmla="*/ 772954 h 771525"/>
                  <a:gd name="connsiteX1" fmla="*/ 241459 w 3552825"/>
                  <a:gd name="connsiteY1" fmla="*/ 742474 h 771525"/>
                  <a:gd name="connsiteX2" fmla="*/ 271939 w 3552825"/>
                  <a:gd name="connsiteY2" fmla="*/ 711994 h 771525"/>
                  <a:gd name="connsiteX3" fmla="*/ 298609 w 3552825"/>
                  <a:gd name="connsiteY3" fmla="*/ 727234 h 771525"/>
                  <a:gd name="connsiteX4" fmla="*/ 817721 w 3552825"/>
                  <a:gd name="connsiteY4" fmla="*/ 727234 h 771525"/>
                  <a:gd name="connsiteX5" fmla="*/ 890111 w 3552825"/>
                  <a:gd name="connsiteY5" fmla="*/ 653891 h 771525"/>
                  <a:gd name="connsiteX6" fmla="*/ 64294 w 3552825"/>
                  <a:gd name="connsiteY6" fmla="*/ 653891 h 771525"/>
                  <a:gd name="connsiteX7" fmla="*/ 37624 w 3552825"/>
                  <a:gd name="connsiteY7" fmla="*/ 669131 h 771525"/>
                  <a:gd name="connsiteX8" fmla="*/ 7144 w 3552825"/>
                  <a:gd name="connsiteY8" fmla="*/ 638651 h 771525"/>
                  <a:gd name="connsiteX9" fmla="*/ 37624 w 3552825"/>
                  <a:gd name="connsiteY9" fmla="*/ 608171 h 771525"/>
                  <a:gd name="connsiteX10" fmla="*/ 64294 w 3552825"/>
                  <a:gd name="connsiteY10" fmla="*/ 623411 h 771525"/>
                  <a:gd name="connsiteX11" fmla="*/ 1397794 w 3552825"/>
                  <a:gd name="connsiteY11" fmla="*/ 623411 h 771525"/>
                  <a:gd name="connsiteX12" fmla="*/ 1762601 w 3552825"/>
                  <a:gd name="connsiteY12" fmla="*/ 258604 h 771525"/>
                  <a:gd name="connsiteX13" fmla="*/ 2255044 w 3552825"/>
                  <a:gd name="connsiteY13" fmla="*/ 258604 h 771525"/>
                  <a:gd name="connsiteX14" fmla="*/ 2179796 w 3552825"/>
                  <a:gd name="connsiteY14" fmla="*/ 183356 h 771525"/>
                  <a:gd name="connsiteX15" fmla="*/ 1637824 w 3552825"/>
                  <a:gd name="connsiteY15" fmla="*/ 183356 h 771525"/>
                  <a:gd name="connsiteX16" fmla="*/ 1289209 w 3552825"/>
                  <a:gd name="connsiteY16" fmla="*/ 531971 h 771525"/>
                  <a:gd name="connsiteX17" fmla="*/ 803434 w 3552825"/>
                  <a:gd name="connsiteY17" fmla="*/ 531971 h 771525"/>
                  <a:gd name="connsiteX18" fmla="*/ 776764 w 3552825"/>
                  <a:gd name="connsiteY18" fmla="*/ 547211 h 771525"/>
                  <a:gd name="connsiteX19" fmla="*/ 746284 w 3552825"/>
                  <a:gd name="connsiteY19" fmla="*/ 516731 h 771525"/>
                  <a:gd name="connsiteX20" fmla="*/ 776764 w 3552825"/>
                  <a:gd name="connsiteY20" fmla="*/ 486251 h 771525"/>
                  <a:gd name="connsiteX21" fmla="*/ 803434 w 3552825"/>
                  <a:gd name="connsiteY21" fmla="*/ 501491 h 771525"/>
                  <a:gd name="connsiteX22" fmla="*/ 1117759 w 3552825"/>
                  <a:gd name="connsiteY22" fmla="*/ 501491 h 771525"/>
                  <a:gd name="connsiteX23" fmla="*/ 1021556 w 3552825"/>
                  <a:gd name="connsiteY23" fmla="*/ 405289 h 771525"/>
                  <a:gd name="connsiteX24" fmla="*/ 211931 w 3552825"/>
                  <a:gd name="connsiteY24" fmla="*/ 405289 h 771525"/>
                  <a:gd name="connsiteX25" fmla="*/ 100489 w 3552825"/>
                  <a:gd name="connsiteY25" fmla="*/ 294799 h 771525"/>
                  <a:gd name="connsiteX26" fmla="*/ 91916 w 3552825"/>
                  <a:gd name="connsiteY26" fmla="*/ 295751 h 771525"/>
                  <a:gd name="connsiteX27" fmla="*/ 70009 w 3552825"/>
                  <a:gd name="connsiteY27" fmla="*/ 287179 h 771525"/>
                  <a:gd name="connsiteX28" fmla="*/ 70009 w 3552825"/>
                  <a:gd name="connsiteY28" fmla="*/ 243364 h 771525"/>
                  <a:gd name="connsiteX29" fmla="*/ 91916 w 3552825"/>
                  <a:gd name="connsiteY29" fmla="*/ 234791 h 771525"/>
                  <a:gd name="connsiteX30" fmla="*/ 113824 w 3552825"/>
                  <a:gd name="connsiteY30" fmla="*/ 243364 h 771525"/>
                  <a:gd name="connsiteX31" fmla="*/ 121444 w 3552825"/>
                  <a:gd name="connsiteY31" fmla="*/ 272891 h 771525"/>
                  <a:gd name="connsiteX32" fmla="*/ 224314 w 3552825"/>
                  <a:gd name="connsiteY32" fmla="*/ 375761 h 771525"/>
                  <a:gd name="connsiteX33" fmla="*/ 1033939 w 3552825"/>
                  <a:gd name="connsiteY33" fmla="*/ 375761 h 771525"/>
                  <a:gd name="connsiteX34" fmla="*/ 1160621 w 3552825"/>
                  <a:gd name="connsiteY34" fmla="*/ 502444 h 771525"/>
                  <a:gd name="connsiteX35" fmla="*/ 1276826 w 3552825"/>
                  <a:gd name="connsiteY35" fmla="*/ 502444 h 771525"/>
                  <a:gd name="connsiteX36" fmla="*/ 1625441 w 3552825"/>
                  <a:gd name="connsiteY36" fmla="*/ 153829 h 771525"/>
                  <a:gd name="connsiteX37" fmla="*/ 2193131 w 3552825"/>
                  <a:gd name="connsiteY37" fmla="*/ 153829 h 771525"/>
                  <a:gd name="connsiteX38" fmla="*/ 2298859 w 3552825"/>
                  <a:gd name="connsiteY38" fmla="*/ 259556 h 771525"/>
                  <a:gd name="connsiteX39" fmla="*/ 2721769 w 3552825"/>
                  <a:gd name="connsiteY39" fmla="*/ 259556 h 771525"/>
                  <a:gd name="connsiteX40" fmla="*/ 2973229 w 3552825"/>
                  <a:gd name="connsiteY40" fmla="*/ 7144 h 771525"/>
                  <a:gd name="connsiteX41" fmla="*/ 3548539 w 3552825"/>
                  <a:gd name="connsiteY41" fmla="*/ 7144 h 771525"/>
                  <a:gd name="connsiteX42" fmla="*/ 3548539 w 3552825"/>
                  <a:gd name="connsiteY42" fmla="*/ 37624 h 771525"/>
                  <a:gd name="connsiteX43" fmla="*/ 2985611 w 3552825"/>
                  <a:gd name="connsiteY43" fmla="*/ 37624 h 771525"/>
                  <a:gd name="connsiteX44" fmla="*/ 2733199 w 3552825"/>
                  <a:gd name="connsiteY44" fmla="*/ 290036 h 771525"/>
                  <a:gd name="connsiteX45" fmla="*/ 1774984 w 3552825"/>
                  <a:gd name="connsiteY45" fmla="*/ 290036 h 771525"/>
                  <a:gd name="connsiteX46" fmla="*/ 1635919 w 3552825"/>
                  <a:gd name="connsiteY46" fmla="*/ 429101 h 771525"/>
                  <a:gd name="connsiteX47" fmla="*/ 1871186 w 3552825"/>
                  <a:gd name="connsiteY47" fmla="*/ 429101 h 771525"/>
                  <a:gd name="connsiteX48" fmla="*/ 1968341 w 3552825"/>
                  <a:gd name="connsiteY48" fmla="*/ 526256 h 771525"/>
                  <a:gd name="connsiteX49" fmla="*/ 1976914 w 3552825"/>
                  <a:gd name="connsiteY49" fmla="*/ 525304 h 771525"/>
                  <a:gd name="connsiteX50" fmla="*/ 1998821 w 3552825"/>
                  <a:gd name="connsiteY50" fmla="*/ 533876 h 771525"/>
                  <a:gd name="connsiteX51" fmla="*/ 2007394 w 3552825"/>
                  <a:gd name="connsiteY51" fmla="*/ 555784 h 771525"/>
                  <a:gd name="connsiteX52" fmla="*/ 1998821 w 3552825"/>
                  <a:gd name="connsiteY52" fmla="*/ 577691 h 771525"/>
                  <a:gd name="connsiteX53" fmla="*/ 1976914 w 3552825"/>
                  <a:gd name="connsiteY53" fmla="*/ 586264 h 771525"/>
                  <a:gd name="connsiteX54" fmla="*/ 1955006 w 3552825"/>
                  <a:gd name="connsiteY54" fmla="*/ 577691 h 771525"/>
                  <a:gd name="connsiteX55" fmla="*/ 1947386 w 3552825"/>
                  <a:gd name="connsiteY55" fmla="*/ 548164 h 771525"/>
                  <a:gd name="connsiteX56" fmla="*/ 1859756 w 3552825"/>
                  <a:gd name="connsiteY56" fmla="*/ 460534 h 771525"/>
                  <a:gd name="connsiteX57" fmla="*/ 1606391 w 3552825"/>
                  <a:gd name="connsiteY57" fmla="*/ 460534 h 771525"/>
                  <a:gd name="connsiteX58" fmla="*/ 1410176 w 3552825"/>
                  <a:gd name="connsiteY58" fmla="*/ 654844 h 771525"/>
                  <a:gd name="connsiteX59" fmla="*/ 932974 w 3552825"/>
                  <a:gd name="connsiteY59" fmla="*/ 654844 h 771525"/>
                  <a:gd name="connsiteX60" fmla="*/ 830104 w 3552825"/>
                  <a:gd name="connsiteY60" fmla="*/ 757714 h 771525"/>
                  <a:gd name="connsiteX61" fmla="*/ 298609 w 3552825"/>
                  <a:gd name="connsiteY61" fmla="*/ 757714 h 771525"/>
                  <a:gd name="connsiteX62" fmla="*/ 271939 w 3552825"/>
                  <a:gd name="connsiteY62" fmla="*/ 772954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552825" h="771525">
                    <a:moveTo>
                      <a:pt x="271939" y="772954"/>
                    </a:moveTo>
                    <a:cubicBezTo>
                      <a:pt x="254794" y="772954"/>
                      <a:pt x="241459" y="759619"/>
                      <a:pt x="241459" y="742474"/>
                    </a:cubicBezTo>
                    <a:cubicBezTo>
                      <a:pt x="241459" y="725329"/>
                      <a:pt x="254794" y="711994"/>
                      <a:pt x="271939" y="711994"/>
                    </a:cubicBezTo>
                    <a:cubicBezTo>
                      <a:pt x="283369" y="711994"/>
                      <a:pt x="292894" y="717709"/>
                      <a:pt x="298609" y="727234"/>
                    </a:cubicBezTo>
                    <a:lnTo>
                      <a:pt x="817721" y="727234"/>
                    </a:lnTo>
                    <a:lnTo>
                      <a:pt x="890111" y="653891"/>
                    </a:lnTo>
                    <a:lnTo>
                      <a:pt x="64294" y="653891"/>
                    </a:lnTo>
                    <a:cubicBezTo>
                      <a:pt x="58579" y="663416"/>
                      <a:pt x="49054" y="669131"/>
                      <a:pt x="37624" y="669131"/>
                    </a:cubicBezTo>
                    <a:cubicBezTo>
                      <a:pt x="20479" y="669131"/>
                      <a:pt x="7144" y="655796"/>
                      <a:pt x="7144" y="638651"/>
                    </a:cubicBezTo>
                    <a:cubicBezTo>
                      <a:pt x="7144" y="621506"/>
                      <a:pt x="20479" y="608171"/>
                      <a:pt x="37624" y="608171"/>
                    </a:cubicBezTo>
                    <a:cubicBezTo>
                      <a:pt x="49054" y="608171"/>
                      <a:pt x="58579" y="613886"/>
                      <a:pt x="64294" y="623411"/>
                    </a:cubicBezTo>
                    <a:lnTo>
                      <a:pt x="1397794" y="623411"/>
                    </a:lnTo>
                    <a:lnTo>
                      <a:pt x="1762601" y="258604"/>
                    </a:lnTo>
                    <a:lnTo>
                      <a:pt x="2255044" y="258604"/>
                    </a:lnTo>
                    <a:lnTo>
                      <a:pt x="2179796" y="183356"/>
                    </a:lnTo>
                    <a:lnTo>
                      <a:pt x="1637824" y="183356"/>
                    </a:lnTo>
                    <a:lnTo>
                      <a:pt x="1289209" y="531971"/>
                    </a:lnTo>
                    <a:lnTo>
                      <a:pt x="803434" y="531971"/>
                    </a:lnTo>
                    <a:cubicBezTo>
                      <a:pt x="797719" y="541496"/>
                      <a:pt x="788194" y="547211"/>
                      <a:pt x="776764" y="547211"/>
                    </a:cubicBezTo>
                    <a:cubicBezTo>
                      <a:pt x="759619" y="547211"/>
                      <a:pt x="746284" y="533876"/>
                      <a:pt x="746284" y="516731"/>
                    </a:cubicBezTo>
                    <a:cubicBezTo>
                      <a:pt x="746284" y="499586"/>
                      <a:pt x="759619" y="486251"/>
                      <a:pt x="776764" y="486251"/>
                    </a:cubicBezTo>
                    <a:cubicBezTo>
                      <a:pt x="788194" y="486251"/>
                      <a:pt x="797719" y="491966"/>
                      <a:pt x="803434" y="501491"/>
                    </a:cubicBezTo>
                    <a:lnTo>
                      <a:pt x="1117759" y="501491"/>
                    </a:lnTo>
                    <a:lnTo>
                      <a:pt x="1021556" y="405289"/>
                    </a:lnTo>
                    <a:lnTo>
                      <a:pt x="211931" y="405289"/>
                    </a:lnTo>
                    <a:lnTo>
                      <a:pt x="100489" y="294799"/>
                    </a:lnTo>
                    <a:cubicBezTo>
                      <a:pt x="97631" y="295751"/>
                      <a:pt x="94774" y="295751"/>
                      <a:pt x="91916" y="295751"/>
                    </a:cubicBezTo>
                    <a:cubicBezTo>
                      <a:pt x="83344" y="295751"/>
                      <a:pt x="75724" y="292894"/>
                      <a:pt x="70009" y="287179"/>
                    </a:cubicBezTo>
                    <a:cubicBezTo>
                      <a:pt x="57626" y="274796"/>
                      <a:pt x="57626" y="255746"/>
                      <a:pt x="70009" y="243364"/>
                    </a:cubicBezTo>
                    <a:cubicBezTo>
                      <a:pt x="75724" y="237649"/>
                      <a:pt x="83344" y="234791"/>
                      <a:pt x="91916" y="234791"/>
                    </a:cubicBezTo>
                    <a:cubicBezTo>
                      <a:pt x="100489" y="234791"/>
                      <a:pt x="108109" y="237649"/>
                      <a:pt x="113824" y="243364"/>
                    </a:cubicBezTo>
                    <a:cubicBezTo>
                      <a:pt x="121444" y="250984"/>
                      <a:pt x="124301" y="262414"/>
                      <a:pt x="121444" y="272891"/>
                    </a:cubicBezTo>
                    <a:lnTo>
                      <a:pt x="224314" y="375761"/>
                    </a:lnTo>
                    <a:lnTo>
                      <a:pt x="1033939" y="375761"/>
                    </a:lnTo>
                    <a:lnTo>
                      <a:pt x="1160621" y="502444"/>
                    </a:lnTo>
                    <a:lnTo>
                      <a:pt x="1276826" y="502444"/>
                    </a:lnTo>
                    <a:lnTo>
                      <a:pt x="1625441" y="153829"/>
                    </a:lnTo>
                    <a:lnTo>
                      <a:pt x="2193131" y="153829"/>
                    </a:lnTo>
                    <a:lnTo>
                      <a:pt x="2298859" y="259556"/>
                    </a:lnTo>
                    <a:lnTo>
                      <a:pt x="2721769" y="259556"/>
                    </a:lnTo>
                    <a:lnTo>
                      <a:pt x="2973229" y="7144"/>
                    </a:lnTo>
                    <a:lnTo>
                      <a:pt x="3548539" y="7144"/>
                    </a:lnTo>
                    <a:lnTo>
                      <a:pt x="3548539" y="37624"/>
                    </a:lnTo>
                    <a:lnTo>
                      <a:pt x="2985611" y="37624"/>
                    </a:lnTo>
                    <a:lnTo>
                      <a:pt x="2733199" y="290036"/>
                    </a:lnTo>
                    <a:lnTo>
                      <a:pt x="1774984" y="290036"/>
                    </a:lnTo>
                    <a:lnTo>
                      <a:pt x="1635919" y="429101"/>
                    </a:lnTo>
                    <a:lnTo>
                      <a:pt x="1871186" y="429101"/>
                    </a:lnTo>
                    <a:lnTo>
                      <a:pt x="1968341" y="526256"/>
                    </a:lnTo>
                    <a:cubicBezTo>
                      <a:pt x="1971199" y="525304"/>
                      <a:pt x="1974056" y="525304"/>
                      <a:pt x="1976914" y="525304"/>
                    </a:cubicBezTo>
                    <a:cubicBezTo>
                      <a:pt x="1985486" y="525304"/>
                      <a:pt x="1993106" y="528161"/>
                      <a:pt x="1998821" y="533876"/>
                    </a:cubicBezTo>
                    <a:cubicBezTo>
                      <a:pt x="2004536" y="539591"/>
                      <a:pt x="2007394" y="547211"/>
                      <a:pt x="2007394" y="555784"/>
                    </a:cubicBezTo>
                    <a:cubicBezTo>
                      <a:pt x="2007394" y="564356"/>
                      <a:pt x="2004536" y="571976"/>
                      <a:pt x="1998821" y="577691"/>
                    </a:cubicBezTo>
                    <a:cubicBezTo>
                      <a:pt x="1993106" y="583406"/>
                      <a:pt x="1985486" y="586264"/>
                      <a:pt x="1976914" y="586264"/>
                    </a:cubicBezTo>
                    <a:cubicBezTo>
                      <a:pt x="1968341" y="586264"/>
                      <a:pt x="1960721" y="583406"/>
                      <a:pt x="1955006" y="577691"/>
                    </a:cubicBezTo>
                    <a:cubicBezTo>
                      <a:pt x="1947386" y="570071"/>
                      <a:pt x="1944529" y="558641"/>
                      <a:pt x="1947386" y="548164"/>
                    </a:cubicBezTo>
                    <a:lnTo>
                      <a:pt x="1859756" y="460534"/>
                    </a:lnTo>
                    <a:lnTo>
                      <a:pt x="1606391" y="460534"/>
                    </a:lnTo>
                    <a:lnTo>
                      <a:pt x="1410176" y="654844"/>
                    </a:lnTo>
                    <a:lnTo>
                      <a:pt x="932974" y="654844"/>
                    </a:lnTo>
                    <a:lnTo>
                      <a:pt x="830104" y="757714"/>
                    </a:lnTo>
                    <a:lnTo>
                      <a:pt x="298609" y="757714"/>
                    </a:lnTo>
                    <a:cubicBezTo>
                      <a:pt x="292894" y="767239"/>
                      <a:pt x="283369" y="772954"/>
                      <a:pt x="271939" y="772954"/>
                    </a:cubicBezTo>
                    <a:close/>
                  </a:path>
                </a:pathLst>
              </a:custGeom>
              <a:grpFill/>
              <a:ln w="9525" cap="flat">
                <a:noFill/>
                <a:prstDash val="solid"/>
                <a:miter/>
              </a:ln>
            </p:spPr>
            <p:txBody>
              <a:bodyPr rtlCol="0" anchor="ctr"/>
              <a:lstStyle/>
              <a:p>
                <a:endParaRPr lang="en-US"/>
              </a:p>
            </p:txBody>
          </p:sp>
          <p:sp>
            <p:nvSpPr>
              <p:cNvPr id="175" name="Freeform: Shape 174">
                <a:extLst>
                  <a:ext uri="{FF2B5EF4-FFF2-40B4-BE49-F238E27FC236}">
                    <a16:creationId xmlns:a16="http://schemas.microsoft.com/office/drawing/2014/main" id="{9405F4BC-7B95-4DCB-B588-18BA5EDA0A36}"/>
                  </a:ext>
                </a:extLst>
              </p:cNvPr>
              <p:cNvSpPr/>
              <p:nvPr/>
            </p:nvSpPr>
            <p:spPr>
              <a:xfrm>
                <a:off x="7543660" y="1360832"/>
                <a:ext cx="3533775" cy="752475"/>
              </a:xfrm>
              <a:custGeom>
                <a:avLst/>
                <a:gdLst>
                  <a:gd name="connsiteX0" fmla="*/ 903446 w 3533775"/>
                  <a:gd name="connsiteY0" fmla="*/ 634841 h 752475"/>
                  <a:gd name="connsiteX1" fmla="*/ 812006 w 3533775"/>
                  <a:gd name="connsiteY1" fmla="*/ 727234 h 752475"/>
                  <a:gd name="connsiteX2" fmla="*/ 281464 w 3533775"/>
                  <a:gd name="connsiteY2" fmla="*/ 727234 h 752475"/>
                  <a:gd name="connsiteX3" fmla="*/ 261461 w 3533775"/>
                  <a:gd name="connsiteY3" fmla="*/ 711994 h 752475"/>
                  <a:gd name="connsiteX4" fmla="*/ 240506 w 3533775"/>
                  <a:gd name="connsiteY4" fmla="*/ 732949 h 752475"/>
                  <a:gd name="connsiteX5" fmla="*/ 261461 w 3533775"/>
                  <a:gd name="connsiteY5" fmla="*/ 753904 h 752475"/>
                  <a:gd name="connsiteX6" fmla="*/ 281464 w 3533775"/>
                  <a:gd name="connsiteY6" fmla="*/ 738664 h 752475"/>
                  <a:gd name="connsiteX7" fmla="*/ 815816 w 3533775"/>
                  <a:gd name="connsiteY7" fmla="*/ 738664 h 752475"/>
                  <a:gd name="connsiteX8" fmla="*/ 918686 w 3533775"/>
                  <a:gd name="connsiteY8" fmla="*/ 635794 h 752475"/>
                  <a:gd name="connsiteX9" fmla="*/ 917734 w 3533775"/>
                  <a:gd name="connsiteY9" fmla="*/ 634841 h 752475"/>
                  <a:gd name="connsiteX10" fmla="*/ 1395889 w 3533775"/>
                  <a:gd name="connsiteY10" fmla="*/ 634841 h 752475"/>
                  <a:gd name="connsiteX11" fmla="*/ 1591151 w 3533775"/>
                  <a:gd name="connsiteY11" fmla="*/ 439579 h 752475"/>
                  <a:gd name="connsiteX12" fmla="*/ 1852136 w 3533775"/>
                  <a:gd name="connsiteY12" fmla="*/ 439579 h 752475"/>
                  <a:gd name="connsiteX13" fmla="*/ 1947386 w 3533775"/>
                  <a:gd name="connsiteY13" fmla="*/ 534829 h 752475"/>
                  <a:gd name="connsiteX14" fmla="*/ 1951196 w 3533775"/>
                  <a:gd name="connsiteY14" fmla="*/ 560546 h 752475"/>
                  <a:gd name="connsiteX15" fmla="*/ 1980724 w 3533775"/>
                  <a:gd name="connsiteY15" fmla="*/ 560546 h 752475"/>
                  <a:gd name="connsiteX16" fmla="*/ 1980724 w 3533775"/>
                  <a:gd name="connsiteY16" fmla="*/ 531019 h 752475"/>
                  <a:gd name="connsiteX17" fmla="*/ 1955006 w 3533775"/>
                  <a:gd name="connsiteY17" fmla="*/ 527209 h 752475"/>
                  <a:gd name="connsiteX18" fmla="*/ 1856899 w 3533775"/>
                  <a:gd name="connsiteY18" fmla="*/ 429101 h 752475"/>
                  <a:gd name="connsiteX19" fmla="*/ 1602581 w 3533775"/>
                  <a:gd name="connsiteY19" fmla="*/ 429101 h 752475"/>
                  <a:gd name="connsiteX20" fmla="*/ 1760696 w 3533775"/>
                  <a:gd name="connsiteY20" fmla="*/ 270986 h 752475"/>
                  <a:gd name="connsiteX21" fmla="*/ 2718911 w 3533775"/>
                  <a:gd name="connsiteY21" fmla="*/ 270986 h 752475"/>
                  <a:gd name="connsiteX22" fmla="*/ 2971324 w 3533775"/>
                  <a:gd name="connsiteY22" fmla="*/ 18574 h 752475"/>
                  <a:gd name="connsiteX23" fmla="*/ 3528536 w 3533775"/>
                  <a:gd name="connsiteY23" fmla="*/ 18574 h 752475"/>
                  <a:gd name="connsiteX24" fmla="*/ 3528536 w 3533775"/>
                  <a:gd name="connsiteY24" fmla="*/ 7144 h 752475"/>
                  <a:gd name="connsiteX25" fmla="*/ 2966561 w 3533775"/>
                  <a:gd name="connsiteY25" fmla="*/ 7144 h 752475"/>
                  <a:gd name="connsiteX26" fmla="*/ 2714149 w 3533775"/>
                  <a:gd name="connsiteY26" fmla="*/ 259556 h 752475"/>
                  <a:gd name="connsiteX27" fmla="*/ 2282666 w 3533775"/>
                  <a:gd name="connsiteY27" fmla="*/ 259556 h 752475"/>
                  <a:gd name="connsiteX28" fmla="*/ 2282666 w 3533775"/>
                  <a:gd name="connsiteY28" fmla="*/ 259556 h 752475"/>
                  <a:gd name="connsiteX29" fmla="*/ 2177891 w 3533775"/>
                  <a:gd name="connsiteY29" fmla="*/ 153829 h 752475"/>
                  <a:gd name="connsiteX30" fmla="*/ 1617821 w 3533775"/>
                  <a:gd name="connsiteY30" fmla="*/ 153829 h 752475"/>
                  <a:gd name="connsiteX31" fmla="*/ 1270159 w 3533775"/>
                  <a:gd name="connsiteY31" fmla="*/ 502444 h 752475"/>
                  <a:gd name="connsiteX32" fmla="*/ 1146334 w 3533775"/>
                  <a:gd name="connsiteY32" fmla="*/ 502444 h 752475"/>
                  <a:gd name="connsiteX33" fmla="*/ 1020604 w 3533775"/>
                  <a:gd name="connsiteY33" fmla="*/ 376714 h 752475"/>
                  <a:gd name="connsiteX34" fmla="*/ 210979 w 3533775"/>
                  <a:gd name="connsiteY34" fmla="*/ 376714 h 752475"/>
                  <a:gd name="connsiteX35" fmla="*/ 100489 w 3533775"/>
                  <a:gd name="connsiteY35" fmla="*/ 266224 h 752475"/>
                  <a:gd name="connsiteX36" fmla="*/ 96679 w 3533775"/>
                  <a:gd name="connsiteY36" fmla="*/ 240506 h 752475"/>
                  <a:gd name="connsiteX37" fmla="*/ 67151 w 3533775"/>
                  <a:gd name="connsiteY37" fmla="*/ 240506 h 752475"/>
                  <a:gd name="connsiteX38" fmla="*/ 67151 w 3533775"/>
                  <a:gd name="connsiteY38" fmla="*/ 270034 h 752475"/>
                  <a:gd name="connsiteX39" fmla="*/ 92869 w 3533775"/>
                  <a:gd name="connsiteY39" fmla="*/ 273844 h 752475"/>
                  <a:gd name="connsiteX40" fmla="*/ 206216 w 3533775"/>
                  <a:gd name="connsiteY40" fmla="*/ 387191 h 752475"/>
                  <a:gd name="connsiteX41" fmla="*/ 1015841 w 3533775"/>
                  <a:gd name="connsiteY41" fmla="*/ 387191 h 752475"/>
                  <a:gd name="connsiteX42" fmla="*/ 1130141 w 3533775"/>
                  <a:gd name="connsiteY42" fmla="*/ 502444 h 752475"/>
                  <a:gd name="connsiteX43" fmla="*/ 786289 w 3533775"/>
                  <a:gd name="connsiteY43" fmla="*/ 502444 h 752475"/>
                  <a:gd name="connsiteX44" fmla="*/ 766286 w 3533775"/>
                  <a:gd name="connsiteY44" fmla="*/ 487204 h 752475"/>
                  <a:gd name="connsiteX45" fmla="*/ 745331 w 3533775"/>
                  <a:gd name="connsiteY45" fmla="*/ 508159 h 752475"/>
                  <a:gd name="connsiteX46" fmla="*/ 766286 w 3533775"/>
                  <a:gd name="connsiteY46" fmla="*/ 529114 h 752475"/>
                  <a:gd name="connsiteX47" fmla="*/ 786289 w 3533775"/>
                  <a:gd name="connsiteY47" fmla="*/ 513874 h 752475"/>
                  <a:gd name="connsiteX48" fmla="*/ 1274921 w 3533775"/>
                  <a:gd name="connsiteY48" fmla="*/ 513874 h 752475"/>
                  <a:gd name="connsiteX49" fmla="*/ 1623536 w 3533775"/>
                  <a:gd name="connsiteY49" fmla="*/ 165259 h 752475"/>
                  <a:gd name="connsiteX50" fmla="*/ 2174081 w 3533775"/>
                  <a:gd name="connsiteY50" fmla="*/ 165259 h 752475"/>
                  <a:gd name="connsiteX51" fmla="*/ 2268379 w 3533775"/>
                  <a:gd name="connsiteY51" fmla="*/ 259556 h 752475"/>
                  <a:gd name="connsiteX52" fmla="*/ 1756886 w 3533775"/>
                  <a:gd name="connsiteY52" fmla="*/ 259556 h 752475"/>
                  <a:gd name="connsiteX53" fmla="*/ 1392079 w 3533775"/>
                  <a:gd name="connsiteY53" fmla="*/ 624364 h 752475"/>
                  <a:gd name="connsiteX54" fmla="*/ 48101 w 3533775"/>
                  <a:gd name="connsiteY54" fmla="*/ 624364 h 752475"/>
                  <a:gd name="connsiteX55" fmla="*/ 28099 w 3533775"/>
                  <a:gd name="connsiteY55" fmla="*/ 609124 h 752475"/>
                  <a:gd name="connsiteX56" fmla="*/ 7144 w 3533775"/>
                  <a:gd name="connsiteY56" fmla="*/ 630079 h 752475"/>
                  <a:gd name="connsiteX57" fmla="*/ 28099 w 3533775"/>
                  <a:gd name="connsiteY57" fmla="*/ 651034 h 752475"/>
                  <a:gd name="connsiteX58" fmla="*/ 48101 w 3533775"/>
                  <a:gd name="connsiteY58" fmla="*/ 635794 h 752475"/>
                  <a:gd name="connsiteX59" fmla="*/ 903446 w 3533775"/>
                  <a:gd name="connsiteY59" fmla="*/ 635794 h 7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533775" h="752475">
                    <a:moveTo>
                      <a:pt x="903446" y="634841"/>
                    </a:moveTo>
                    <a:lnTo>
                      <a:pt x="812006" y="727234"/>
                    </a:lnTo>
                    <a:lnTo>
                      <a:pt x="281464" y="727234"/>
                    </a:lnTo>
                    <a:cubicBezTo>
                      <a:pt x="278606" y="718661"/>
                      <a:pt x="270986" y="711994"/>
                      <a:pt x="261461" y="711994"/>
                    </a:cubicBezTo>
                    <a:cubicBezTo>
                      <a:pt x="250031" y="711994"/>
                      <a:pt x="240506" y="721519"/>
                      <a:pt x="240506" y="732949"/>
                    </a:cubicBezTo>
                    <a:cubicBezTo>
                      <a:pt x="240506" y="744379"/>
                      <a:pt x="250031" y="753904"/>
                      <a:pt x="261461" y="753904"/>
                    </a:cubicBezTo>
                    <a:cubicBezTo>
                      <a:pt x="270986" y="753904"/>
                      <a:pt x="279559" y="747236"/>
                      <a:pt x="281464" y="738664"/>
                    </a:cubicBezTo>
                    <a:lnTo>
                      <a:pt x="815816" y="738664"/>
                    </a:lnTo>
                    <a:lnTo>
                      <a:pt x="918686" y="635794"/>
                    </a:lnTo>
                    <a:lnTo>
                      <a:pt x="917734" y="634841"/>
                    </a:lnTo>
                    <a:lnTo>
                      <a:pt x="1395889" y="634841"/>
                    </a:lnTo>
                    <a:lnTo>
                      <a:pt x="1591151" y="439579"/>
                    </a:lnTo>
                    <a:lnTo>
                      <a:pt x="1852136" y="439579"/>
                    </a:lnTo>
                    <a:lnTo>
                      <a:pt x="1947386" y="534829"/>
                    </a:lnTo>
                    <a:cubicBezTo>
                      <a:pt x="1942624" y="542449"/>
                      <a:pt x="1943576" y="552926"/>
                      <a:pt x="1951196" y="560546"/>
                    </a:cubicBezTo>
                    <a:cubicBezTo>
                      <a:pt x="1959769" y="569119"/>
                      <a:pt x="1973104" y="569119"/>
                      <a:pt x="1980724" y="560546"/>
                    </a:cubicBezTo>
                    <a:cubicBezTo>
                      <a:pt x="1989296" y="551974"/>
                      <a:pt x="1989296" y="538639"/>
                      <a:pt x="1980724" y="531019"/>
                    </a:cubicBezTo>
                    <a:cubicBezTo>
                      <a:pt x="1974056" y="524351"/>
                      <a:pt x="1963579" y="523399"/>
                      <a:pt x="1955006" y="527209"/>
                    </a:cubicBezTo>
                    <a:lnTo>
                      <a:pt x="1856899" y="429101"/>
                    </a:lnTo>
                    <a:lnTo>
                      <a:pt x="1602581" y="429101"/>
                    </a:lnTo>
                    <a:lnTo>
                      <a:pt x="1760696" y="270986"/>
                    </a:lnTo>
                    <a:lnTo>
                      <a:pt x="2718911" y="270986"/>
                    </a:lnTo>
                    <a:lnTo>
                      <a:pt x="2971324" y="18574"/>
                    </a:lnTo>
                    <a:lnTo>
                      <a:pt x="3528536" y="18574"/>
                    </a:lnTo>
                    <a:lnTo>
                      <a:pt x="3528536" y="7144"/>
                    </a:lnTo>
                    <a:lnTo>
                      <a:pt x="2966561" y="7144"/>
                    </a:lnTo>
                    <a:lnTo>
                      <a:pt x="2714149" y="259556"/>
                    </a:lnTo>
                    <a:lnTo>
                      <a:pt x="2282666" y="259556"/>
                    </a:lnTo>
                    <a:lnTo>
                      <a:pt x="2282666" y="259556"/>
                    </a:lnTo>
                    <a:lnTo>
                      <a:pt x="2177891" y="153829"/>
                    </a:lnTo>
                    <a:lnTo>
                      <a:pt x="1617821" y="153829"/>
                    </a:lnTo>
                    <a:lnTo>
                      <a:pt x="1270159" y="502444"/>
                    </a:lnTo>
                    <a:lnTo>
                      <a:pt x="1146334" y="502444"/>
                    </a:lnTo>
                    <a:lnTo>
                      <a:pt x="1020604" y="376714"/>
                    </a:lnTo>
                    <a:lnTo>
                      <a:pt x="210979" y="376714"/>
                    </a:lnTo>
                    <a:lnTo>
                      <a:pt x="100489" y="266224"/>
                    </a:lnTo>
                    <a:cubicBezTo>
                      <a:pt x="105251" y="258604"/>
                      <a:pt x="104299" y="248126"/>
                      <a:pt x="96679" y="240506"/>
                    </a:cubicBezTo>
                    <a:cubicBezTo>
                      <a:pt x="88106" y="231934"/>
                      <a:pt x="74771" y="231934"/>
                      <a:pt x="67151" y="240506"/>
                    </a:cubicBezTo>
                    <a:cubicBezTo>
                      <a:pt x="58579" y="249079"/>
                      <a:pt x="58579" y="262414"/>
                      <a:pt x="67151" y="270034"/>
                    </a:cubicBezTo>
                    <a:cubicBezTo>
                      <a:pt x="73819" y="276701"/>
                      <a:pt x="84296" y="277654"/>
                      <a:pt x="92869" y="273844"/>
                    </a:cubicBezTo>
                    <a:lnTo>
                      <a:pt x="206216" y="387191"/>
                    </a:lnTo>
                    <a:lnTo>
                      <a:pt x="1015841" y="387191"/>
                    </a:lnTo>
                    <a:lnTo>
                      <a:pt x="1130141" y="502444"/>
                    </a:lnTo>
                    <a:lnTo>
                      <a:pt x="786289" y="502444"/>
                    </a:lnTo>
                    <a:cubicBezTo>
                      <a:pt x="783431" y="493871"/>
                      <a:pt x="775811" y="487204"/>
                      <a:pt x="766286" y="487204"/>
                    </a:cubicBezTo>
                    <a:cubicBezTo>
                      <a:pt x="754856" y="487204"/>
                      <a:pt x="745331" y="496729"/>
                      <a:pt x="745331" y="508159"/>
                    </a:cubicBezTo>
                    <a:cubicBezTo>
                      <a:pt x="745331" y="519589"/>
                      <a:pt x="754856" y="529114"/>
                      <a:pt x="766286" y="529114"/>
                    </a:cubicBezTo>
                    <a:cubicBezTo>
                      <a:pt x="775811" y="529114"/>
                      <a:pt x="784384" y="522446"/>
                      <a:pt x="786289" y="513874"/>
                    </a:cubicBezTo>
                    <a:lnTo>
                      <a:pt x="1274921" y="513874"/>
                    </a:lnTo>
                    <a:lnTo>
                      <a:pt x="1623536" y="165259"/>
                    </a:lnTo>
                    <a:lnTo>
                      <a:pt x="2174081" y="165259"/>
                    </a:lnTo>
                    <a:lnTo>
                      <a:pt x="2268379" y="259556"/>
                    </a:lnTo>
                    <a:lnTo>
                      <a:pt x="1756886" y="259556"/>
                    </a:lnTo>
                    <a:lnTo>
                      <a:pt x="1392079" y="624364"/>
                    </a:lnTo>
                    <a:lnTo>
                      <a:pt x="48101" y="624364"/>
                    </a:lnTo>
                    <a:cubicBezTo>
                      <a:pt x="45244" y="615791"/>
                      <a:pt x="37624" y="609124"/>
                      <a:pt x="28099" y="609124"/>
                    </a:cubicBezTo>
                    <a:cubicBezTo>
                      <a:pt x="16669" y="609124"/>
                      <a:pt x="7144" y="618649"/>
                      <a:pt x="7144" y="630079"/>
                    </a:cubicBezTo>
                    <a:cubicBezTo>
                      <a:pt x="7144" y="641509"/>
                      <a:pt x="16669" y="651034"/>
                      <a:pt x="28099" y="651034"/>
                    </a:cubicBezTo>
                    <a:cubicBezTo>
                      <a:pt x="37624" y="651034"/>
                      <a:pt x="46196" y="644366"/>
                      <a:pt x="48101" y="635794"/>
                    </a:cubicBezTo>
                    <a:lnTo>
                      <a:pt x="903446" y="635794"/>
                    </a:lnTo>
                    <a:close/>
                  </a:path>
                </a:pathLst>
              </a:custGeom>
              <a:grpFill/>
              <a:ln w="9525" cap="flat">
                <a:noFill/>
                <a:prstDash val="solid"/>
                <a:miter/>
              </a:ln>
            </p:spPr>
            <p:txBody>
              <a:bodyPr rtlCol="0" anchor="ctr"/>
              <a:lstStyle/>
              <a:p>
                <a:endParaRPr lang="en-US"/>
              </a:p>
            </p:txBody>
          </p:sp>
          <p:sp>
            <p:nvSpPr>
              <p:cNvPr id="176" name="Freeform: Shape 175">
                <a:extLst>
                  <a:ext uri="{FF2B5EF4-FFF2-40B4-BE49-F238E27FC236}">
                    <a16:creationId xmlns:a16="http://schemas.microsoft.com/office/drawing/2014/main" id="{475A5F7C-EAB1-4B94-B467-7E40E073BD6E}"/>
                  </a:ext>
                </a:extLst>
              </p:cNvPr>
              <p:cNvSpPr/>
              <p:nvPr/>
            </p:nvSpPr>
            <p:spPr>
              <a:xfrm>
                <a:off x="7588427" y="1653250"/>
                <a:ext cx="4210050" cy="1152525"/>
              </a:xfrm>
              <a:custGeom>
                <a:avLst/>
                <a:gdLst>
                  <a:gd name="connsiteX0" fmla="*/ 37624 w 4210050"/>
                  <a:gd name="connsiteY0" fmla="*/ 1153954 h 1152525"/>
                  <a:gd name="connsiteX1" fmla="*/ 15716 w 4210050"/>
                  <a:gd name="connsiteY1" fmla="*/ 1145381 h 1152525"/>
                  <a:gd name="connsiteX2" fmla="*/ 7144 w 4210050"/>
                  <a:gd name="connsiteY2" fmla="*/ 1123474 h 1152525"/>
                  <a:gd name="connsiteX3" fmla="*/ 16669 w 4210050"/>
                  <a:gd name="connsiteY3" fmla="*/ 1101566 h 1152525"/>
                  <a:gd name="connsiteX4" fmla="*/ 38576 w 4210050"/>
                  <a:gd name="connsiteY4" fmla="*/ 1092994 h 1152525"/>
                  <a:gd name="connsiteX5" fmla="*/ 47149 w 4210050"/>
                  <a:gd name="connsiteY5" fmla="*/ 1093946 h 1152525"/>
                  <a:gd name="connsiteX6" fmla="*/ 185261 w 4210050"/>
                  <a:gd name="connsiteY6" fmla="*/ 955834 h 1152525"/>
                  <a:gd name="connsiteX7" fmla="*/ 1015841 w 4210050"/>
                  <a:gd name="connsiteY7" fmla="*/ 955834 h 1152525"/>
                  <a:gd name="connsiteX8" fmla="*/ 1182529 w 4210050"/>
                  <a:gd name="connsiteY8" fmla="*/ 789146 h 1152525"/>
                  <a:gd name="connsiteX9" fmla="*/ 524351 w 4210050"/>
                  <a:gd name="connsiteY9" fmla="*/ 789146 h 1152525"/>
                  <a:gd name="connsiteX10" fmla="*/ 455771 w 4210050"/>
                  <a:gd name="connsiteY10" fmla="*/ 720566 h 1152525"/>
                  <a:gd name="connsiteX11" fmla="*/ 447199 w 4210050"/>
                  <a:gd name="connsiteY11" fmla="*/ 721519 h 1152525"/>
                  <a:gd name="connsiteX12" fmla="*/ 425291 w 4210050"/>
                  <a:gd name="connsiteY12" fmla="*/ 712946 h 1152525"/>
                  <a:gd name="connsiteX13" fmla="*/ 416719 w 4210050"/>
                  <a:gd name="connsiteY13" fmla="*/ 691039 h 1152525"/>
                  <a:gd name="connsiteX14" fmla="*/ 425291 w 4210050"/>
                  <a:gd name="connsiteY14" fmla="*/ 669131 h 1152525"/>
                  <a:gd name="connsiteX15" fmla="*/ 447199 w 4210050"/>
                  <a:gd name="connsiteY15" fmla="*/ 660559 h 1152525"/>
                  <a:gd name="connsiteX16" fmla="*/ 469106 w 4210050"/>
                  <a:gd name="connsiteY16" fmla="*/ 669131 h 1152525"/>
                  <a:gd name="connsiteX17" fmla="*/ 476726 w 4210050"/>
                  <a:gd name="connsiteY17" fmla="*/ 698659 h 1152525"/>
                  <a:gd name="connsiteX18" fmla="*/ 536734 w 4210050"/>
                  <a:gd name="connsiteY18" fmla="*/ 758666 h 1152525"/>
                  <a:gd name="connsiteX19" fmla="*/ 1423511 w 4210050"/>
                  <a:gd name="connsiteY19" fmla="*/ 758666 h 1152525"/>
                  <a:gd name="connsiteX20" fmla="*/ 1546384 w 4210050"/>
                  <a:gd name="connsiteY20" fmla="*/ 881539 h 1152525"/>
                  <a:gd name="connsiteX21" fmla="*/ 1890236 w 4210050"/>
                  <a:gd name="connsiteY21" fmla="*/ 881539 h 1152525"/>
                  <a:gd name="connsiteX22" fmla="*/ 1800701 w 4210050"/>
                  <a:gd name="connsiteY22" fmla="*/ 792004 h 1152525"/>
                  <a:gd name="connsiteX23" fmla="*/ 1578769 w 4210050"/>
                  <a:gd name="connsiteY23" fmla="*/ 792004 h 1152525"/>
                  <a:gd name="connsiteX24" fmla="*/ 1552099 w 4210050"/>
                  <a:gd name="connsiteY24" fmla="*/ 807244 h 1152525"/>
                  <a:gd name="connsiteX25" fmla="*/ 1521619 w 4210050"/>
                  <a:gd name="connsiteY25" fmla="*/ 776764 h 1152525"/>
                  <a:gd name="connsiteX26" fmla="*/ 1552099 w 4210050"/>
                  <a:gd name="connsiteY26" fmla="*/ 746284 h 1152525"/>
                  <a:gd name="connsiteX27" fmla="*/ 1578769 w 4210050"/>
                  <a:gd name="connsiteY27" fmla="*/ 761524 h 1152525"/>
                  <a:gd name="connsiteX28" fmla="*/ 1813084 w 4210050"/>
                  <a:gd name="connsiteY28" fmla="*/ 761524 h 1152525"/>
                  <a:gd name="connsiteX29" fmla="*/ 1932146 w 4210050"/>
                  <a:gd name="connsiteY29" fmla="*/ 880586 h 1152525"/>
                  <a:gd name="connsiteX30" fmla="*/ 2062639 w 4210050"/>
                  <a:gd name="connsiteY30" fmla="*/ 880586 h 1152525"/>
                  <a:gd name="connsiteX31" fmla="*/ 2237899 w 4210050"/>
                  <a:gd name="connsiteY31" fmla="*/ 705326 h 1152525"/>
                  <a:gd name="connsiteX32" fmla="*/ 2118836 w 4210050"/>
                  <a:gd name="connsiteY32" fmla="*/ 705326 h 1152525"/>
                  <a:gd name="connsiteX33" fmla="*/ 2095024 w 4210050"/>
                  <a:gd name="connsiteY33" fmla="*/ 729139 h 1152525"/>
                  <a:gd name="connsiteX34" fmla="*/ 2087404 w 4210050"/>
                  <a:gd name="connsiteY34" fmla="*/ 758666 h 1152525"/>
                  <a:gd name="connsiteX35" fmla="*/ 2065496 w 4210050"/>
                  <a:gd name="connsiteY35" fmla="*/ 767239 h 1152525"/>
                  <a:gd name="connsiteX36" fmla="*/ 2043589 w 4210050"/>
                  <a:gd name="connsiteY36" fmla="*/ 758666 h 1152525"/>
                  <a:gd name="connsiteX37" fmla="*/ 2035016 w 4210050"/>
                  <a:gd name="connsiteY37" fmla="*/ 736759 h 1152525"/>
                  <a:gd name="connsiteX38" fmla="*/ 2043589 w 4210050"/>
                  <a:gd name="connsiteY38" fmla="*/ 714851 h 1152525"/>
                  <a:gd name="connsiteX39" fmla="*/ 2065496 w 4210050"/>
                  <a:gd name="connsiteY39" fmla="*/ 706279 h 1152525"/>
                  <a:gd name="connsiteX40" fmla="*/ 2074069 w 4210050"/>
                  <a:gd name="connsiteY40" fmla="*/ 707231 h 1152525"/>
                  <a:gd name="connsiteX41" fmla="*/ 2107406 w 4210050"/>
                  <a:gd name="connsiteY41" fmla="*/ 673894 h 1152525"/>
                  <a:gd name="connsiteX42" fmla="*/ 2380774 w 4210050"/>
                  <a:gd name="connsiteY42" fmla="*/ 673894 h 1152525"/>
                  <a:gd name="connsiteX43" fmla="*/ 2480786 w 4210050"/>
                  <a:gd name="connsiteY43" fmla="*/ 573881 h 1152525"/>
                  <a:gd name="connsiteX44" fmla="*/ 2959894 w 4210050"/>
                  <a:gd name="connsiteY44" fmla="*/ 573881 h 1152525"/>
                  <a:gd name="connsiteX45" fmla="*/ 3093244 w 4210050"/>
                  <a:gd name="connsiteY45" fmla="*/ 440531 h 1152525"/>
                  <a:gd name="connsiteX46" fmla="*/ 3409474 w 4210050"/>
                  <a:gd name="connsiteY46" fmla="*/ 440531 h 1152525"/>
                  <a:gd name="connsiteX47" fmla="*/ 3698081 w 4210050"/>
                  <a:gd name="connsiteY47" fmla="*/ 151924 h 1152525"/>
                  <a:gd name="connsiteX48" fmla="*/ 3527584 w 4210050"/>
                  <a:gd name="connsiteY48" fmla="*/ 151924 h 1152525"/>
                  <a:gd name="connsiteX49" fmla="*/ 3337084 w 4210050"/>
                  <a:gd name="connsiteY49" fmla="*/ 342424 h 1152525"/>
                  <a:gd name="connsiteX50" fmla="*/ 3170396 w 4210050"/>
                  <a:gd name="connsiteY50" fmla="*/ 342424 h 1152525"/>
                  <a:gd name="connsiteX51" fmla="*/ 3143726 w 4210050"/>
                  <a:gd name="connsiteY51" fmla="*/ 357664 h 1152525"/>
                  <a:gd name="connsiteX52" fmla="*/ 3113246 w 4210050"/>
                  <a:gd name="connsiteY52" fmla="*/ 327184 h 1152525"/>
                  <a:gd name="connsiteX53" fmla="*/ 3143726 w 4210050"/>
                  <a:gd name="connsiteY53" fmla="*/ 296704 h 1152525"/>
                  <a:gd name="connsiteX54" fmla="*/ 3170396 w 4210050"/>
                  <a:gd name="connsiteY54" fmla="*/ 311944 h 1152525"/>
                  <a:gd name="connsiteX55" fmla="*/ 3323749 w 4210050"/>
                  <a:gd name="connsiteY55" fmla="*/ 311944 h 1152525"/>
                  <a:gd name="connsiteX56" fmla="*/ 3514249 w 4210050"/>
                  <a:gd name="connsiteY56" fmla="*/ 121444 h 1152525"/>
                  <a:gd name="connsiteX57" fmla="*/ 3727609 w 4210050"/>
                  <a:gd name="connsiteY57" fmla="*/ 121444 h 1152525"/>
                  <a:gd name="connsiteX58" fmla="*/ 3841909 w 4210050"/>
                  <a:gd name="connsiteY58" fmla="*/ 7144 h 1152525"/>
                  <a:gd name="connsiteX59" fmla="*/ 4072414 w 4210050"/>
                  <a:gd name="connsiteY59" fmla="*/ 7144 h 1152525"/>
                  <a:gd name="connsiteX60" fmla="*/ 4172426 w 4210050"/>
                  <a:gd name="connsiteY60" fmla="*/ 107156 h 1152525"/>
                  <a:gd name="connsiteX61" fmla="*/ 4180999 w 4210050"/>
                  <a:gd name="connsiteY61" fmla="*/ 106204 h 1152525"/>
                  <a:gd name="connsiteX62" fmla="*/ 4202906 w 4210050"/>
                  <a:gd name="connsiteY62" fmla="*/ 114776 h 1152525"/>
                  <a:gd name="connsiteX63" fmla="*/ 4211479 w 4210050"/>
                  <a:gd name="connsiteY63" fmla="*/ 136684 h 1152525"/>
                  <a:gd name="connsiteX64" fmla="*/ 4202906 w 4210050"/>
                  <a:gd name="connsiteY64" fmla="*/ 158591 h 1152525"/>
                  <a:gd name="connsiteX65" fmla="*/ 4180999 w 4210050"/>
                  <a:gd name="connsiteY65" fmla="*/ 167164 h 1152525"/>
                  <a:gd name="connsiteX66" fmla="*/ 4159091 w 4210050"/>
                  <a:gd name="connsiteY66" fmla="*/ 158591 h 1152525"/>
                  <a:gd name="connsiteX67" fmla="*/ 4151471 w 4210050"/>
                  <a:gd name="connsiteY67" fmla="*/ 129064 h 1152525"/>
                  <a:gd name="connsiteX68" fmla="*/ 4060984 w 4210050"/>
                  <a:gd name="connsiteY68" fmla="*/ 38576 h 1152525"/>
                  <a:gd name="connsiteX69" fmla="*/ 3856196 w 4210050"/>
                  <a:gd name="connsiteY69" fmla="*/ 38576 h 1152525"/>
                  <a:gd name="connsiteX70" fmla="*/ 3422809 w 4210050"/>
                  <a:gd name="connsiteY70" fmla="*/ 471964 h 1152525"/>
                  <a:gd name="connsiteX71" fmla="*/ 3104674 w 4210050"/>
                  <a:gd name="connsiteY71" fmla="*/ 471964 h 1152525"/>
                  <a:gd name="connsiteX72" fmla="*/ 2767489 w 4210050"/>
                  <a:gd name="connsiteY72" fmla="*/ 809149 h 1152525"/>
                  <a:gd name="connsiteX73" fmla="*/ 2343626 w 4210050"/>
                  <a:gd name="connsiteY73" fmla="*/ 809149 h 1152525"/>
                  <a:gd name="connsiteX74" fmla="*/ 2316956 w 4210050"/>
                  <a:gd name="connsiteY74" fmla="*/ 824389 h 1152525"/>
                  <a:gd name="connsiteX75" fmla="*/ 2286476 w 4210050"/>
                  <a:gd name="connsiteY75" fmla="*/ 793909 h 1152525"/>
                  <a:gd name="connsiteX76" fmla="*/ 2316956 w 4210050"/>
                  <a:gd name="connsiteY76" fmla="*/ 763429 h 1152525"/>
                  <a:gd name="connsiteX77" fmla="*/ 2343626 w 4210050"/>
                  <a:gd name="connsiteY77" fmla="*/ 778669 h 1152525"/>
                  <a:gd name="connsiteX78" fmla="*/ 2755106 w 4210050"/>
                  <a:gd name="connsiteY78" fmla="*/ 778669 h 1152525"/>
                  <a:gd name="connsiteX79" fmla="*/ 2928461 w 4210050"/>
                  <a:gd name="connsiteY79" fmla="*/ 605314 h 1152525"/>
                  <a:gd name="connsiteX80" fmla="*/ 2492216 w 4210050"/>
                  <a:gd name="connsiteY80" fmla="*/ 605314 h 1152525"/>
                  <a:gd name="connsiteX81" fmla="*/ 2392204 w 4210050"/>
                  <a:gd name="connsiteY81" fmla="*/ 705326 h 1152525"/>
                  <a:gd name="connsiteX82" fmla="*/ 2279809 w 4210050"/>
                  <a:gd name="connsiteY82" fmla="*/ 705326 h 1152525"/>
                  <a:gd name="connsiteX83" fmla="*/ 2075021 w 4210050"/>
                  <a:gd name="connsiteY83" fmla="*/ 910114 h 1152525"/>
                  <a:gd name="connsiteX84" fmla="*/ 1533049 w 4210050"/>
                  <a:gd name="connsiteY84" fmla="*/ 910114 h 1152525"/>
                  <a:gd name="connsiteX85" fmla="*/ 1410176 w 4210050"/>
                  <a:gd name="connsiteY85" fmla="*/ 787241 h 1152525"/>
                  <a:gd name="connsiteX86" fmla="*/ 1222534 w 4210050"/>
                  <a:gd name="connsiteY86" fmla="*/ 787241 h 1152525"/>
                  <a:gd name="connsiteX87" fmla="*/ 1026319 w 4210050"/>
                  <a:gd name="connsiteY87" fmla="*/ 983456 h 1152525"/>
                  <a:gd name="connsiteX88" fmla="*/ 195739 w 4210050"/>
                  <a:gd name="connsiteY88" fmla="*/ 983456 h 1152525"/>
                  <a:gd name="connsiteX89" fmla="*/ 67151 w 4210050"/>
                  <a:gd name="connsiteY89" fmla="*/ 1114901 h 1152525"/>
                  <a:gd name="connsiteX90" fmla="*/ 59531 w 4210050"/>
                  <a:gd name="connsiteY90" fmla="*/ 1144429 h 1152525"/>
                  <a:gd name="connsiteX91" fmla="*/ 37624 w 4210050"/>
                  <a:gd name="connsiteY91" fmla="*/ 1153954 h 1152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4210050" h="1152525">
                    <a:moveTo>
                      <a:pt x="37624" y="1153954"/>
                    </a:moveTo>
                    <a:cubicBezTo>
                      <a:pt x="29051" y="1153954"/>
                      <a:pt x="21431" y="1151096"/>
                      <a:pt x="15716" y="1145381"/>
                    </a:cubicBezTo>
                    <a:cubicBezTo>
                      <a:pt x="10001" y="1139666"/>
                      <a:pt x="7144" y="1132046"/>
                      <a:pt x="7144" y="1123474"/>
                    </a:cubicBezTo>
                    <a:cubicBezTo>
                      <a:pt x="7144" y="1114901"/>
                      <a:pt x="10001" y="1107281"/>
                      <a:pt x="16669" y="1101566"/>
                    </a:cubicBezTo>
                    <a:cubicBezTo>
                      <a:pt x="22384" y="1095851"/>
                      <a:pt x="30004" y="1092994"/>
                      <a:pt x="38576" y="1092994"/>
                    </a:cubicBezTo>
                    <a:cubicBezTo>
                      <a:pt x="41434" y="1092994"/>
                      <a:pt x="44291" y="1092994"/>
                      <a:pt x="47149" y="1093946"/>
                    </a:cubicBezTo>
                    <a:lnTo>
                      <a:pt x="185261" y="955834"/>
                    </a:lnTo>
                    <a:lnTo>
                      <a:pt x="1015841" y="955834"/>
                    </a:lnTo>
                    <a:lnTo>
                      <a:pt x="1182529" y="789146"/>
                    </a:lnTo>
                    <a:lnTo>
                      <a:pt x="524351" y="789146"/>
                    </a:lnTo>
                    <a:lnTo>
                      <a:pt x="455771" y="720566"/>
                    </a:lnTo>
                    <a:cubicBezTo>
                      <a:pt x="452914" y="721519"/>
                      <a:pt x="450056" y="721519"/>
                      <a:pt x="447199" y="721519"/>
                    </a:cubicBezTo>
                    <a:cubicBezTo>
                      <a:pt x="438626" y="721519"/>
                      <a:pt x="431006" y="718661"/>
                      <a:pt x="425291" y="712946"/>
                    </a:cubicBezTo>
                    <a:cubicBezTo>
                      <a:pt x="419576" y="707231"/>
                      <a:pt x="416719" y="699611"/>
                      <a:pt x="416719" y="691039"/>
                    </a:cubicBezTo>
                    <a:cubicBezTo>
                      <a:pt x="416719" y="682466"/>
                      <a:pt x="419576" y="674846"/>
                      <a:pt x="425291" y="669131"/>
                    </a:cubicBezTo>
                    <a:cubicBezTo>
                      <a:pt x="431006" y="663416"/>
                      <a:pt x="438626" y="660559"/>
                      <a:pt x="447199" y="660559"/>
                    </a:cubicBezTo>
                    <a:cubicBezTo>
                      <a:pt x="455771" y="660559"/>
                      <a:pt x="463391" y="663416"/>
                      <a:pt x="469106" y="669131"/>
                    </a:cubicBezTo>
                    <a:cubicBezTo>
                      <a:pt x="476726" y="676751"/>
                      <a:pt x="479584" y="688181"/>
                      <a:pt x="476726" y="698659"/>
                    </a:cubicBezTo>
                    <a:lnTo>
                      <a:pt x="536734" y="758666"/>
                    </a:lnTo>
                    <a:lnTo>
                      <a:pt x="1423511" y="758666"/>
                    </a:lnTo>
                    <a:lnTo>
                      <a:pt x="1546384" y="881539"/>
                    </a:lnTo>
                    <a:lnTo>
                      <a:pt x="1890236" y="881539"/>
                    </a:lnTo>
                    <a:lnTo>
                      <a:pt x="1800701" y="792004"/>
                    </a:lnTo>
                    <a:lnTo>
                      <a:pt x="1578769" y="792004"/>
                    </a:lnTo>
                    <a:cubicBezTo>
                      <a:pt x="1573054" y="801529"/>
                      <a:pt x="1563529" y="807244"/>
                      <a:pt x="1552099" y="807244"/>
                    </a:cubicBezTo>
                    <a:cubicBezTo>
                      <a:pt x="1534954" y="807244"/>
                      <a:pt x="1521619" y="793909"/>
                      <a:pt x="1521619" y="776764"/>
                    </a:cubicBezTo>
                    <a:cubicBezTo>
                      <a:pt x="1521619" y="759619"/>
                      <a:pt x="1534954" y="746284"/>
                      <a:pt x="1552099" y="746284"/>
                    </a:cubicBezTo>
                    <a:cubicBezTo>
                      <a:pt x="1563529" y="746284"/>
                      <a:pt x="1573054" y="751999"/>
                      <a:pt x="1578769" y="761524"/>
                    </a:cubicBezTo>
                    <a:lnTo>
                      <a:pt x="1813084" y="761524"/>
                    </a:lnTo>
                    <a:lnTo>
                      <a:pt x="1932146" y="880586"/>
                    </a:lnTo>
                    <a:lnTo>
                      <a:pt x="2062639" y="880586"/>
                    </a:lnTo>
                    <a:lnTo>
                      <a:pt x="2237899" y="705326"/>
                    </a:lnTo>
                    <a:lnTo>
                      <a:pt x="2118836" y="705326"/>
                    </a:lnTo>
                    <a:lnTo>
                      <a:pt x="2095024" y="729139"/>
                    </a:lnTo>
                    <a:cubicBezTo>
                      <a:pt x="2097881" y="739616"/>
                      <a:pt x="2095024" y="751046"/>
                      <a:pt x="2087404" y="758666"/>
                    </a:cubicBezTo>
                    <a:cubicBezTo>
                      <a:pt x="2081689" y="764381"/>
                      <a:pt x="2074069" y="767239"/>
                      <a:pt x="2065496" y="767239"/>
                    </a:cubicBezTo>
                    <a:cubicBezTo>
                      <a:pt x="2056924" y="767239"/>
                      <a:pt x="2049304" y="764381"/>
                      <a:pt x="2043589" y="758666"/>
                    </a:cubicBezTo>
                    <a:cubicBezTo>
                      <a:pt x="2037874" y="752951"/>
                      <a:pt x="2035016" y="745331"/>
                      <a:pt x="2035016" y="736759"/>
                    </a:cubicBezTo>
                    <a:cubicBezTo>
                      <a:pt x="2035016" y="728186"/>
                      <a:pt x="2037874" y="720566"/>
                      <a:pt x="2043589" y="714851"/>
                    </a:cubicBezTo>
                    <a:cubicBezTo>
                      <a:pt x="2049304" y="709136"/>
                      <a:pt x="2056924" y="706279"/>
                      <a:pt x="2065496" y="706279"/>
                    </a:cubicBezTo>
                    <a:cubicBezTo>
                      <a:pt x="2068354" y="706279"/>
                      <a:pt x="2071211" y="706279"/>
                      <a:pt x="2074069" y="707231"/>
                    </a:cubicBezTo>
                    <a:lnTo>
                      <a:pt x="2107406" y="673894"/>
                    </a:lnTo>
                    <a:lnTo>
                      <a:pt x="2380774" y="673894"/>
                    </a:lnTo>
                    <a:lnTo>
                      <a:pt x="2480786" y="573881"/>
                    </a:lnTo>
                    <a:lnTo>
                      <a:pt x="2959894" y="573881"/>
                    </a:lnTo>
                    <a:lnTo>
                      <a:pt x="3093244" y="440531"/>
                    </a:lnTo>
                    <a:lnTo>
                      <a:pt x="3409474" y="440531"/>
                    </a:lnTo>
                    <a:lnTo>
                      <a:pt x="3698081" y="151924"/>
                    </a:lnTo>
                    <a:lnTo>
                      <a:pt x="3527584" y="151924"/>
                    </a:lnTo>
                    <a:lnTo>
                      <a:pt x="3337084" y="342424"/>
                    </a:lnTo>
                    <a:lnTo>
                      <a:pt x="3170396" y="342424"/>
                    </a:lnTo>
                    <a:cubicBezTo>
                      <a:pt x="3164681" y="351949"/>
                      <a:pt x="3155156" y="357664"/>
                      <a:pt x="3143726" y="357664"/>
                    </a:cubicBezTo>
                    <a:cubicBezTo>
                      <a:pt x="3126581" y="357664"/>
                      <a:pt x="3113246" y="344329"/>
                      <a:pt x="3113246" y="327184"/>
                    </a:cubicBezTo>
                    <a:cubicBezTo>
                      <a:pt x="3113246" y="310039"/>
                      <a:pt x="3126581" y="296704"/>
                      <a:pt x="3143726" y="296704"/>
                    </a:cubicBezTo>
                    <a:cubicBezTo>
                      <a:pt x="3155156" y="296704"/>
                      <a:pt x="3164681" y="302419"/>
                      <a:pt x="3170396" y="311944"/>
                    </a:cubicBezTo>
                    <a:lnTo>
                      <a:pt x="3323749" y="311944"/>
                    </a:lnTo>
                    <a:lnTo>
                      <a:pt x="3514249" y="121444"/>
                    </a:lnTo>
                    <a:lnTo>
                      <a:pt x="3727609" y="121444"/>
                    </a:lnTo>
                    <a:lnTo>
                      <a:pt x="3841909" y="7144"/>
                    </a:lnTo>
                    <a:lnTo>
                      <a:pt x="4072414" y="7144"/>
                    </a:lnTo>
                    <a:lnTo>
                      <a:pt x="4172426" y="107156"/>
                    </a:lnTo>
                    <a:cubicBezTo>
                      <a:pt x="4175284" y="106204"/>
                      <a:pt x="4178141" y="106204"/>
                      <a:pt x="4180999" y="106204"/>
                    </a:cubicBezTo>
                    <a:cubicBezTo>
                      <a:pt x="4189571" y="106204"/>
                      <a:pt x="4197192" y="109061"/>
                      <a:pt x="4202906" y="114776"/>
                    </a:cubicBezTo>
                    <a:cubicBezTo>
                      <a:pt x="4208621" y="120491"/>
                      <a:pt x="4211479" y="128111"/>
                      <a:pt x="4211479" y="136684"/>
                    </a:cubicBezTo>
                    <a:cubicBezTo>
                      <a:pt x="4211479" y="145256"/>
                      <a:pt x="4208621" y="152876"/>
                      <a:pt x="4202906" y="158591"/>
                    </a:cubicBezTo>
                    <a:cubicBezTo>
                      <a:pt x="4197192" y="164306"/>
                      <a:pt x="4189571" y="167164"/>
                      <a:pt x="4180999" y="167164"/>
                    </a:cubicBezTo>
                    <a:cubicBezTo>
                      <a:pt x="4172426" y="167164"/>
                      <a:pt x="4164806" y="164306"/>
                      <a:pt x="4159091" y="158591"/>
                    </a:cubicBezTo>
                    <a:cubicBezTo>
                      <a:pt x="4151471" y="150971"/>
                      <a:pt x="4148614" y="139541"/>
                      <a:pt x="4151471" y="129064"/>
                    </a:cubicBezTo>
                    <a:lnTo>
                      <a:pt x="4060984" y="38576"/>
                    </a:lnTo>
                    <a:lnTo>
                      <a:pt x="3856196" y="38576"/>
                    </a:lnTo>
                    <a:lnTo>
                      <a:pt x="3422809" y="471964"/>
                    </a:lnTo>
                    <a:lnTo>
                      <a:pt x="3104674" y="471964"/>
                    </a:lnTo>
                    <a:lnTo>
                      <a:pt x="2767489" y="809149"/>
                    </a:lnTo>
                    <a:lnTo>
                      <a:pt x="2343626" y="809149"/>
                    </a:lnTo>
                    <a:cubicBezTo>
                      <a:pt x="2337911" y="818674"/>
                      <a:pt x="2328386" y="824389"/>
                      <a:pt x="2316956" y="824389"/>
                    </a:cubicBezTo>
                    <a:cubicBezTo>
                      <a:pt x="2299811" y="824389"/>
                      <a:pt x="2286476" y="811054"/>
                      <a:pt x="2286476" y="793909"/>
                    </a:cubicBezTo>
                    <a:cubicBezTo>
                      <a:pt x="2286476" y="776764"/>
                      <a:pt x="2299811" y="763429"/>
                      <a:pt x="2316956" y="763429"/>
                    </a:cubicBezTo>
                    <a:cubicBezTo>
                      <a:pt x="2328386" y="763429"/>
                      <a:pt x="2337911" y="769144"/>
                      <a:pt x="2343626" y="778669"/>
                    </a:cubicBezTo>
                    <a:lnTo>
                      <a:pt x="2755106" y="778669"/>
                    </a:lnTo>
                    <a:lnTo>
                      <a:pt x="2928461" y="605314"/>
                    </a:lnTo>
                    <a:lnTo>
                      <a:pt x="2492216" y="605314"/>
                    </a:lnTo>
                    <a:lnTo>
                      <a:pt x="2392204" y="705326"/>
                    </a:lnTo>
                    <a:lnTo>
                      <a:pt x="2279809" y="705326"/>
                    </a:lnTo>
                    <a:lnTo>
                      <a:pt x="2075021" y="910114"/>
                    </a:lnTo>
                    <a:lnTo>
                      <a:pt x="1533049" y="910114"/>
                    </a:lnTo>
                    <a:lnTo>
                      <a:pt x="1410176" y="787241"/>
                    </a:lnTo>
                    <a:lnTo>
                      <a:pt x="1222534" y="787241"/>
                    </a:lnTo>
                    <a:lnTo>
                      <a:pt x="1026319" y="983456"/>
                    </a:lnTo>
                    <a:lnTo>
                      <a:pt x="195739" y="983456"/>
                    </a:lnTo>
                    <a:lnTo>
                      <a:pt x="67151" y="1114901"/>
                    </a:lnTo>
                    <a:cubicBezTo>
                      <a:pt x="70009" y="1125379"/>
                      <a:pt x="67151" y="1136809"/>
                      <a:pt x="59531" y="1144429"/>
                    </a:cubicBezTo>
                    <a:cubicBezTo>
                      <a:pt x="52864" y="1150144"/>
                      <a:pt x="45244" y="1153954"/>
                      <a:pt x="37624" y="1153954"/>
                    </a:cubicBezTo>
                    <a:close/>
                  </a:path>
                </a:pathLst>
              </a:custGeom>
              <a:grpFill/>
              <a:ln w="9525" cap="flat">
                <a:noFill/>
                <a:prstDash val="solid"/>
                <a:miter/>
              </a:ln>
            </p:spPr>
            <p:txBody>
              <a:bodyPr rtlCol="0" anchor="ctr"/>
              <a:lstStyle/>
              <a:p>
                <a:endParaRPr lang="en-US"/>
              </a:p>
            </p:txBody>
          </p:sp>
          <p:sp>
            <p:nvSpPr>
              <p:cNvPr id="177" name="Freeform: Shape 176">
                <a:extLst>
                  <a:ext uri="{FF2B5EF4-FFF2-40B4-BE49-F238E27FC236}">
                    <a16:creationId xmlns:a16="http://schemas.microsoft.com/office/drawing/2014/main" id="{588CC3B2-437A-46FC-BF4E-9FB61FE4973A}"/>
                  </a:ext>
                </a:extLst>
              </p:cNvPr>
              <p:cNvSpPr/>
              <p:nvPr/>
            </p:nvSpPr>
            <p:spPr>
              <a:xfrm>
                <a:off x="7596285" y="1665632"/>
                <a:ext cx="4200525" cy="1133475"/>
              </a:xfrm>
              <a:custGeom>
                <a:avLst/>
                <a:gdLst>
                  <a:gd name="connsiteX0" fmla="*/ 4187428 w 4200525"/>
                  <a:gd name="connsiteY0" fmla="*/ 111919 h 1133475"/>
                  <a:gd name="connsiteX1" fmla="*/ 4161711 w 4200525"/>
                  <a:gd name="connsiteY1" fmla="*/ 108109 h 1133475"/>
                  <a:gd name="connsiteX2" fmla="*/ 4060746 w 4200525"/>
                  <a:gd name="connsiteY2" fmla="*/ 7144 h 1133475"/>
                  <a:gd name="connsiteX3" fmla="*/ 3838813 w 4200525"/>
                  <a:gd name="connsiteY3" fmla="*/ 7144 h 1133475"/>
                  <a:gd name="connsiteX4" fmla="*/ 3724513 w 4200525"/>
                  <a:gd name="connsiteY4" fmla="*/ 121444 h 1133475"/>
                  <a:gd name="connsiteX5" fmla="*/ 3511153 w 4200525"/>
                  <a:gd name="connsiteY5" fmla="*/ 121444 h 1133475"/>
                  <a:gd name="connsiteX6" fmla="*/ 3320653 w 4200525"/>
                  <a:gd name="connsiteY6" fmla="*/ 311944 h 1133475"/>
                  <a:gd name="connsiteX7" fmla="*/ 3155871 w 4200525"/>
                  <a:gd name="connsiteY7" fmla="*/ 311944 h 1133475"/>
                  <a:gd name="connsiteX8" fmla="*/ 3135868 w 4200525"/>
                  <a:gd name="connsiteY8" fmla="*/ 296704 h 1133475"/>
                  <a:gd name="connsiteX9" fmla="*/ 3114913 w 4200525"/>
                  <a:gd name="connsiteY9" fmla="*/ 317659 h 1133475"/>
                  <a:gd name="connsiteX10" fmla="*/ 3135868 w 4200525"/>
                  <a:gd name="connsiteY10" fmla="*/ 338614 h 1133475"/>
                  <a:gd name="connsiteX11" fmla="*/ 3155871 w 4200525"/>
                  <a:gd name="connsiteY11" fmla="*/ 323374 h 1133475"/>
                  <a:gd name="connsiteX12" fmla="*/ 3325416 w 4200525"/>
                  <a:gd name="connsiteY12" fmla="*/ 323374 h 1133475"/>
                  <a:gd name="connsiteX13" fmla="*/ 3515916 w 4200525"/>
                  <a:gd name="connsiteY13" fmla="*/ 132874 h 1133475"/>
                  <a:gd name="connsiteX14" fmla="*/ 3713083 w 4200525"/>
                  <a:gd name="connsiteY14" fmla="*/ 132874 h 1133475"/>
                  <a:gd name="connsiteX15" fmla="*/ 3405426 w 4200525"/>
                  <a:gd name="connsiteY15" fmla="*/ 440531 h 1133475"/>
                  <a:gd name="connsiteX16" fmla="*/ 3089196 w 4200525"/>
                  <a:gd name="connsiteY16" fmla="*/ 440531 h 1133475"/>
                  <a:gd name="connsiteX17" fmla="*/ 2955846 w 4200525"/>
                  <a:gd name="connsiteY17" fmla="*/ 573881 h 1133475"/>
                  <a:gd name="connsiteX18" fmla="*/ 2476738 w 4200525"/>
                  <a:gd name="connsiteY18" fmla="*/ 573881 h 1133475"/>
                  <a:gd name="connsiteX19" fmla="*/ 2376726 w 4200525"/>
                  <a:gd name="connsiteY19" fmla="*/ 673894 h 1133475"/>
                  <a:gd name="connsiteX20" fmla="*/ 2102406 w 4200525"/>
                  <a:gd name="connsiteY20" fmla="*/ 673894 h 1133475"/>
                  <a:gd name="connsiteX21" fmla="*/ 2067163 w 4200525"/>
                  <a:gd name="connsiteY21" fmla="*/ 709136 h 1133475"/>
                  <a:gd name="connsiteX22" fmla="*/ 2041446 w 4200525"/>
                  <a:gd name="connsiteY22" fmla="*/ 712946 h 1133475"/>
                  <a:gd name="connsiteX23" fmla="*/ 2041446 w 4200525"/>
                  <a:gd name="connsiteY23" fmla="*/ 742474 h 1133475"/>
                  <a:gd name="connsiteX24" fmla="*/ 2070973 w 4200525"/>
                  <a:gd name="connsiteY24" fmla="*/ 742474 h 1133475"/>
                  <a:gd name="connsiteX25" fmla="*/ 2074783 w 4200525"/>
                  <a:gd name="connsiteY25" fmla="*/ 716756 h 1133475"/>
                  <a:gd name="connsiteX26" fmla="*/ 2106216 w 4200525"/>
                  <a:gd name="connsiteY26" fmla="*/ 685324 h 1133475"/>
                  <a:gd name="connsiteX27" fmla="*/ 2251948 w 4200525"/>
                  <a:gd name="connsiteY27" fmla="*/ 685324 h 1133475"/>
                  <a:gd name="connsiteX28" fmla="*/ 2058591 w 4200525"/>
                  <a:gd name="connsiteY28" fmla="*/ 878681 h 1133475"/>
                  <a:gd name="connsiteX29" fmla="*/ 1920478 w 4200525"/>
                  <a:gd name="connsiteY29" fmla="*/ 878681 h 1133475"/>
                  <a:gd name="connsiteX30" fmla="*/ 1801416 w 4200525"/>
                  <a:gd name="connsiteY30" fmla="*/ 759619 h 1133475"/>
                  <a:gd name="connsiteX31" fmla="*/ 1564243 w 4200525"/>
                  <a:gd name="connsiteY31" fmla="*/ 759619 h 1133475"/>
                  <a:gd name="connsiteX32" fmla="*/ 1544241 w 4200525"/>
                  <a:gd name="connsiteY32" fmla="*/ 744379 h 1133475"/>
                  <a:gd name="connsiteX33" fmla="*/ 1523286 w 4200525"/>
                  <a:gd name="connsiteY33" fmla="*/ 765334 h 1133475"/>
                  <a:gd name="connsiteX34" fmla="*/ 1544241 w 4200525"/>
                  <a:gd name="connsiteY34" fmla="*/ 786289 h 1133475"/>
                  <a:gd name="connsiteX35" fmla="*/ 1564243 w 4200525"/>
                  <a:gd name="connsiteY35" fmla="*/ 771049 h 1133475"/>
                  <a:gd name="connsiteX36" fmla="*/ 1796653 w 4200525"/>
                  <a:gd name="connsiteY36" fmla="*/ 771049 h 1133475"/>
                  <a:gd name="connsiteX37" fmla="*/ 1905238 w 4200525"/>
                  <a:gd name="connsiteY37" fmla="*/ 879634 h 1133475"/>
                  <a:gd name="connsiteX38" fmla="*/ 1533763 w 4200525"/>
                  <a:gd name="connsiteY38" fmla="*/ 879634 h 1133475"/>
                  <a:gd name="connsiteX39" fmla="*/ 1410891 w 4200525"/>
                  <a:gd name="connsiteY39" fmla="*/ 755809 h 1133475"/>
                  <a:gd name="connsiteX40" fmla="*/ 525066 w 4200525"/>
                  <a:gd name="connsiteY40" fmla="*/ 755809 h 1133475"/>
                  <a:gd name="connsiteX41" fmla="*/ 458391 w 4200525"/>
                  <a:gd name="connsiteY41" fmla="*/ 689134 h 1133475"/>
                  <a:gd name="connsiteX42" fmla="*/ 454581 w 4200525"/>
                  <a:gd name="connsiteY42" fmla="*/ 663416 h 1133475"/>
                  <a:gd name="connsiteX43" fmla="*/ 425053 w 4200525"/>
                  <a:gd name="connsiteY43" fmla="*/ 663416 h 1133475"/>
                  <a:gd name="connsiteX44" fmla="*/ 425053 w 4200525"/>
                  <a:gd name="connsiteY44" fmla="*/ 692944 h 1133475"/>
                  <a:gd name="connsiteX45" fmla="*/ 450771 w 4200525"/>
                  <a:gd name="connsiteY45" fmla="*/ 696754 h 1133475"/>
                  <a:gd name="connsiteX46" fmla="*/ 521256 w 4200525"/>
                  <a:gd name="connsiteY46" fmla="*/ 767239 h 1133475"/>
                  <a:gd name="connsiteX47" fmla="*/ 1195626 w 4200525"/>
                  <a:gd name="connsiteY47" fmla="*/ 767239 h 1133475"/>
                  <a:gd name="connsiteX48" fmla="*/ 1009888 w 4200525"/>
                  <a:gd name="connsiteY48" fmla="*/ 952976 h 1133475"/>
                  <a:gd name="connsiteX49" fmla="*/ 179308 w 4200525"/>
                  <a:gd name="connsiteY49" fmla="*/ 952976 h 1133475"/>
                  <a:gd name="connsiteX50" fmla="*/ 39291 w 4200525"/>
                  <a:gd name="connsiteY50" fmla="*/ 1092041 h 1133475"/>
                  <a:gd name="connsiteX51" fmla="*/ 13573 w 4200525"/>
                  <a:gd name="connsiteY51" fmla="*/ 1095851 h 1133475"/>
                  <a:gd name="connsiteX52" fmla="*/ 13573 w 4200525"/>
                  <a:gd name="connsiteY52" fmla="*/ 1125379 h 1133475"/>
                  <a:gd name="connsiteX53" fmla="*/ 43101 w 4200525"/>
                  <a:gd name="connsiteY53" fmla="*/ 1125379 h 1133475"/>
                  <a:gd name="connsiteX54" fmla="*/ 46911 w 4200525"/>
                  <a:gd name="connsiteY54" fmla="*/ 1099661 h 1133475"/>
                  <a:gd name="connsiteX55" fmla="*/ 183118 w 4200525"/>
                  <a:gd name="connsiteY55" fmla="*/ 963454 h 1133475"/>
                  <a:gd name="connsiteX56" fmla="*/ 1013698 w 4200525"/>
                  <a:gd name="connsiteY56" fmla="*/ 963454 h 1133475"/>
                  <a:gd name="connsiteX57" fmla="*/ 1209913 w 4200525"/>
                  <a:gd name="connsiteY57" fmla="*/ 767239 h 1133475"/>
                  <a:gd name="connsiteX58" fmla="*/ 1405176 w 4200525"/>
                  <a:gd name="connsiteY58" fmla="*/ 767239 h 1133475"/>
                  <a:gd name="connsiteX59" fmla="*/ 1528048 w 4200525"/>
                  <a:gd name="connsiteY59" fmla="*/ 890111 h 1133475"/>
                  <a:gd name="connsiteX60" fmla="*/ 2062401 w 4200525"/>
                  <a:gd name="connsiteY60" fmla="*/ 890111 h 1133475"/>
                  <a:gd name="connsiteX61" fmla="*/ 2267188 w 4200525"/>
                  <a:gd name="connsiteY61" fmla="*/ 685324 h 1133475"/>
                  <a:gd name="connsiteX62" fmla="*/ 2379583 w 4200525"/>
                  <a:gd name="connsiteY62" fmla="*/ 685324 h 1133475"/>
                  <a:gd name="connsiteX63" fmla="*/ 2479596 w 4200525"/>
                  <a:gd name="connsiteY63" fmla="*/ 585311 h 1133475"/>
                  <a:gd name="connsiteX64" fmla="*/ 2944416 w 4200525"/>
                  <a:gd name="connsiteY64" fmla="*/ 585311 h 1133475"/>
                  <a:gd name="connsiteX65" fmla="*/ 2752011 w 4200525"/>
                  <a:gd name="connsiteY65" fmla="*/ 777716 h 1133475"/>
                  <a:gd name="connsiteX66" fmla="*/ 2330053 w 4200525"/>
                  <a:gd name="connsiteY66" fmla="*/ 777716 h 1133475"/>
                  <a:gd name="connsiteX67" fmla="*/ 2310051 w 4200525"/>
                  <a:gd name="connsiteY67" fmla="*/ 762476 h 1133475"/>
                  <a:gd name="connsiteX68" fmla="*/ 2289096 w 4200525"/>
                  <a:gd name="connsiteY68" fmla="*/ 783431 h 1133475"/>
                  <a:gd name="connsiteX69" fmla="*/ 2310051 w 4200525"/>
                  <a:gd name="connsiteY69" fmla="*/ 804386 h 1133475"/>
                  <a:gd name="connsiteX70" fmla="*/ 2330053 w 4200525"/>
                  <a:gd name="connsiteY70" fmla="*/ 789146 h 1133475"/>
                  <a:gd name="connsiteX71" fmla="*/ 2756773 w 4200525"/>
                  <a:gd name="connsiteY71" fmla="*/ 789146 h 1133475"/>
                  <a:gd name="connsiteX72" fmla="*/ 3093958 w 4200525"/>
                  <a:gd name="connsiteY72" fmla="*/ 451961 h 1133475"/>
                  <a:gd name="connsiteX73" fmla="*/ 3410188 w 4200525"/>
                  <a:gd name="connsiteY73" fmla="*/ 451961 h 1133475"/>
                  <a:gd name="connsiteX74" fmla="*/ 3843576 w 4200525"/>
                  <a:gd name="connsiteY74" fmla="*/ 18574 h 1133475"/>
                  <a:gd name="connsiteX75" fmla="*/ 4056936 w 4200525"/>
                  <a:gd name="connsiteY75" fmla="*/ 18574 h 1133475"/>
                  <a:gd name="connsiteX76" fmla="*/ 4154091 w 4200525"/>
                  <a:gd name="connsiteY76" fmla="*/ 116681 h 1133475"/>
                  <a:gd name="connsiteX77" fmla="*/ 4157901 w 4200525"/>
                  <a:gd name="connsiteY77" fmla="*/ 142399 h 1133475"/>
                  <a:gd name="connsiteX78" fmla="*/ 4187428 w 4200525"/>
                  <a:gd name="connsiteY78" fmla="*/ 142399 h 1133475"/>
                  <a:gd name="connsiteX79" fmla="*/ 4187428 w 4200525"/>
                  <a:gd name="connsiteY79" fmla="*/ 111919 h 113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4200525" h="1133475">
                    <a:moveTo>
                      <a:pt x="4187428" y="111919"/>
                    </a:moveTo>
                    <a:cubicBezTo>
                      <a:pt x="4180761" y="105251"/>
                      <a:pt x="4170283" y="104299"/>
                      <a:pt x="4161711" y="108109"/>
                    </a:cubicBezTo>
                    <a:lnTo>
                      <a:pt x="4060746" y="7144"/>
                    </a:lnTo>
                    <a:lnTo>
                      <a:pt x="3838813" y="7144"/>
                    </a:lnTo>
                    <a:lnTo>
                      <a:pt x="3724513" y="121444"/>
                    </a:lnTo>
                    <a:lnTo>
                      <a:pt x="3511153" y="121444"/>
                    </a:lnTo>
                    <a:lnTo>
                      <a:pt x="3320653" y="311944"/>
                    </a:lnTo>
                    <a:lnTo>
                      <a:pt x="3155871" y="311944"/>
                    </a:lnTo>
                    <a:cubicBezTo>
                      <a:pt x="3153013" y="303371"/>
                      <a:pt x="3145393" y="296704"/>
                      <a:pt x="3135868" y="296704"/>
                    </a:cubicBezTo>
                    <a:cubicBezTo>
                      <a:pt x="3124438" y="296704"/>
                      <a:pt x="3114913" y="306229"/>
                      <a:pt x="3114913" y="317659"/>
                    </a:cubicBezTo>
                    <a:cubicBezTo>
                      <a:pt x="3114913" y="329089"/>
                      <a:pt x="3124438" y="338614"/>
                      <a:pt x="3135868" y="338614"/>
                    </a:cubicBezTo>
                    <a:cubicBezTo>
                      <a:pt x="3145393" y="338614"/>
                      <a:pt x="3153966" y="331946"/>
                      <a:pt x="3155871" y="323374"/>
                    </a:cubicBezTo>
                    <a:lnTo>
                      <a:pt x="3325416" y="323374"/>
                    </a:lnTo>
                    <a:lnTo>
                      <a:pt x="3515916" y="132874"/>
                    </a:lnTo>
                    <a:lnTo>
                      <a:pt x="3713083" y="132874"/>
                    </a:lnTo>
                    <a:lnTo>
                      <a:pt x="3405426" y="440531"/>
                    </a:lnTo>
                    <a:lnTo>
                      <a:pt x="3089196" y="440531"/>
                    </a:lnTo>
                    <a:lnTo>
                      <a:pt x="2955846" y="573881"/>
                    </a:lnTo>
                    <a:lnTo>
                      <a:pt x="2476738" y="573881"/>
                    </a:lnTo>
                    <a:lnTo>
                      <a:pt x="2376726" y="673894"/>
                    </a:lnTo>
                    <a:lnTo>
                      <a:pt x="2102406" y="673894"/>
                    </a:lnTo>
                    <a:lnTo>
                      <a:pt x="2067163" y="709136"/>
                    </a:lnTo>
                    <a:cubicBezTo>
                      <a:pt x="2059543" y="704374"/>
                      <a:pt x="2049066" y="705326"/>
                      <a:pt x="2041446" y="712946"/>
                    </a:cubicBezTo>
                    <a:cubicBezTo>
                      <a:pt x="2032873" y="721519"/>
                      <a:pt x="2032873" y="734854"/>
                      <a:pt x="2041446" y="742474"/>
                    </a:cubicBezTo>
                    <a:cubicBezTo>
                      <a:pt x="2050018" y="751046"/>
                      <a:pt x="2063353" y="751046"/>
                      <a:pt x="2070973" y="742474"/>
                    </a:cubicBezTo>
                    <a:cubicBezTo>
                      <a:pt x="2077641" y="735806"/>
                      <a:pt x="2078593" y="725329"/>
                      <a:pt x="2074783" y="716756"/>
                    </a:cubicBezTo>
                    <a:lnTo>
                      <a:pt x="2106216" y="685324"/>
                    </a:lnTo>
                    <a:lnTo>
                      <a:pt x="2251948" y="685324"/>
                    </a:lnTo>
                    <a:lnTo>
                      <a:pt x="2058591" y="878681"/>
                    </a:lnTo>
                    <a:lnTo>
                      <a:pt x="1920478" y="878681"/>
                    </a:lnTo>
                    <a:lnTo>
                      <a:pt x="1801416" y="759619"/>
                    </a:lnTo>
                    <a:lnTo>
                      <a:pt x="1564243" y="759619"/>
                    </a:lnTo>
                    <a:cubicBezTo>
                      <a:pt x="1561386" y="751046"/>
                      <a:pt x="1553766" y="744379"/>
                      <a:pt x="1544241" y="744379"/>
                    </a:cubicBezTo>
                    <a:cubicBezTo>
                      <a:pt x="1532811" y="744379"/>
                      <a:pt x="1523286" y="753904"/>
                      <a:pt x="1523286" y="765334"/>
                    </a:cubicBezTo>
                    <a:cubicBezTo>
                      <a:pt x="1523286" y="776764"/>
                      <a:pt x="1532811" y="786289"/>
                      <a:pt x="1544241" y="786289"/>
                    </a:cubicBezTo>
                    <a:cubicBezTo>
                      <a:pt x="1553766" y="786289"/>
                      <a:pt x="1562338" y="779621"/>
                      <a:pt x="1564243" y="771049"/>
                    </a:cubicBezTo>
                    <a:lnTo>
                      <a:pt x="1796653" y="771049"/>
                    </a:lnTo>
                    <a:lnTo>
                      <a:pt x="1905238" y="879634"/>
                    </a:lnTo>
                    <a:lnTo>
                      <a:pt x="1533763" y="879634"/>
                    </a:lnTo>
                    <a:lnTo>
                      <a:pt x="1410891" y="755809"/>
                    </a:lnTo>
                    <a:lnTo>
                      <a:pt x="525066" y="755809"/>
                    </a:lnTo>
                    <a:lnTo>
                      <a:pt x="458391" y="689134"/>
                    </a:lnTo>
                    <a:cubicBezTo>
                      <a:pt x="463153" y="681514"/>
                      <a:pt x="462201" y="671036"/>
                      <a:pt x="454581" y="663416"/>
                    </a:cubicBezTo>
                    <a:cubicBezTo>
                      <a:pt x="446008" y="654844"/>
                      <a:pt x="432673" y="654844"/>
                      <a:pt x="425053" y="663416"/>
                    </a:cubicBezTo>
                    <a:cubicBezTo>
                      <a:pt x="416481" y="671989"/>
                      <a:pt x="416481" y="685324"/>
                      <a:pt x="425053" y="692944"/>
                    </a:cubicBezTo>
                    <a:cubicBezTo>
                      <a:pt x="431721" y="699611"/>
                      <a:pt x="442198" y="700564"/>
                      <a:pt x="450771" y="696754"/>
                    </a:cubicBezTo>
                    <a:lnTo>
                      <a:pt x="521256" y="767239"/>
                    </a:lnTo>
                    <a:lnTo>
                      <a:pt x="1195626" y="767239"/>
                    </a:lnTo>
                    <a:lnTo>
                      <a:pt x="1009888" y="952976"/>
                    </a:lnTo>
                    <a:lnTo>
                      <a:pt x="179308" y="952976"/>
                    </a:lnTo>
                    <a:lnTo>
                      <a:pt x="39291" y="1092041"/>
                    </a:lnTo>
                    <a:cubicBezTo>
                      <a:pt x="31671" y="1087279"/>
                      <a:pt x="21193" y="1088231"/>
                      <a:pt x="13573" y="1095851"/>
                    </a:cubicBezTo>
                    <a:cubicBezTo>
                      <a:pt x="5001" y="1104424"/>
                      <a:pt x="5001" y="1117759"/>
                      <a:pt x="13573" y="1125379"/>
                    </a:cubicBezTo>
                    <a:cubicBezTo>
                      <a:pt x="22146" y="1133951"/>
                      <a:pt x="35481" y="1133951"/>
                      <a:pt x="43101" y="1125379"/>
                    </a:cubicBezTo>
                    <a:cubicBezTo>
                      <a:pt x="49768" y="1118711"/>
                      <a:pt x="50721" y="1108234"/>
                      <a:pt x="46911" y="1099661"/>
                    </a:cubicBezTo>
                    <a:lnTo>
                      <a:pt x="183118" y="963454"/>
                    </a:lnTo>
                    <a:lnTo>
                      <a:pt x="1013698" y="963454"/>
                    </a:lnTo>
                    <a:lnTo>
                      <a:pt x="1209913" y="767239"/>
                    </a:lnTo>
                    <a:lnTo>
                      <a:pt x="1405176" y="767239"/>
                    </a:lnTo>
                    <a:lnTo>
                      <a:pt x="1528048" y="890111"/>
                    </a:lnTo>
                    <a:lnTo>
                      <a:pt x="2062401" y="890111"/>
                    </a:lnTo>
                    <a:lnTo>
                      <a:pt x="2267188" y="685324"/>
                    </a:lnTo>
                    <a:lnTo>
                      <a:pt x="2379583" y="685324"/>
                    </a:lnTo>
                    <a:lnTo>
                      <a:pt x="2479596" y="585311"/>
                    </a:lnTo>
                    <a:lnTo>
                      <a:pt x="2944416" y="585311"/>
                    </a:lnTo>
                    <a:lnTo>
                      <a:pt x="2752011" y="777716"/>
                    </a:lnTo>
                    <a:lnTo>
                      <a:pt x="2330053" y="777716"/>
                    </a:lnTo>
                    <a:cubicBezTo>
                      <a:pt x="2327196" y="769144"/>
                      <a:pt x="2319576" y="762476"/>
                      <a:pt x="2310051" y="762476"/>
                    </a:cubicBezTo>
                    <a:cubicBezTo>
                      <a:pt x="2298621" y="762476"/>
                      <a:pt x="2289096" y="772001"/>
                      <a:pt x="2289096" y="783431"/>
                    </a:cubicBezTo>
                    <a:cubicBezTo>
                      <a:pt x="2289096" y="794861"/>
                      <a:pt x="2298621" y="804386"/>
                      <a:pt x="2310051" y="804386"/>
                    </a:cubicBezTo>
                    <a:cubicBezTo>
                      <a:pt x="2319576" y="804386"/>
                      <a:pt x="2328148" y="797719"/>
                      <a:pt x="2330053" y="789146"/>
                    </a:cubicBezTo>
                    <a:lnTo>
                      <a:pt x="2756773" y="789146"/>
                    </a:lnTo>
                    <a:lnTo>
                      <a:pt x="3093958" y="451961"/>
                    </a:lnTo>
                    <a:lnTo>
                      <a:pt x="3410188" y="451961"/>
                    </a:lnTo>
                    <a:lnTo>
                      <a:pt x="3843576" y="18574"/>
                    </a:lnTo>
                    <a:lnTo>
                      <a:pt x="4056936" y="18574"/>
                    </a:lnTo>
                    <a:lnTo>
                      <a:pt x="4154091" y="116681"/>
                    </a:lnTo>
                    <a:cubicBezTo>
                      <a:pt x="4149328" y="124301"/>
                      <a:pt x="4150281" y="134779"/>
                      <a:pt x="4157901" y="142399"/>
                    </a:cubicBezTo>
                    <a:cubicBezTo>
                      <a:pt x="4166473" y="150971"/>
                      <a:pt x="4179808" y="150971"/>
                      <a:pt x="4187428" y="142399"/>
                    </a:cubicBezTo>
                    <a:cubicBezTo>
                      <a:pt x="4196001" y="133826"/>
                      <a:pt x="4196001" y="120491"/>
                      <a:pt x="4187428" y="111919"/>
                    </a:cubicBezTo>
                    <a:close/>
                  </a:path>
                </a:pathLst>
              </a:custGeom>
              <a:grpFill/>
              <a:ln w="9525" cap="flat">
                <a:noFill/>
                <a:prstDash val="solid"/>
                <a:miter/>
              </a:ln>
            </p:spPr>
            <p:txBody>
              <a:bodyPr rtlCol="0" anchor="ctr"/>
              <a:lstStyle/>
              <a:p>
                <a:endParaRPr lang="en-US"/>
              </a:p>
            </p:txBody>
          </p:sp>
        </p:grpSp>
        <p:grpSp>
          <p:nvGrpSpPr>
            <p:cNvPr id="23" name="Graphic 166">
              <a:extLst>
                <a:ext uri="{FF2B5EF4-FFF2-40B4-BE49-F238E27FC236}">
                  <a16:creationId xmlns:a16="http://schemas.microsoft.com/office/drawing/2014/main" id="{F395EF3D-BCFF-4BDA-A136-F3ED3193C979}"/>
                </a:ext>
              </a:extLst>
            </p:cNvPr>
            <p:cNvGrpSpPr/>
            <p:nvPr/>
          </p:nvGrpSpPr>
          <p:grpSpPr>
            <a:xfrm>
              <a:off x="4054049" y="5011904"/>
              <a:ext cx="2667773" cy="560516"/>
              <a:chOff x="4305300" y="3052762"/>
              <a:chExt cx="3581400" cy="752475"/>
            </a:xfrm>
            <a:grpFill/>
          </p:grpSpPr>
          <p:sp>
            <p:nvSpPr>
              <p:cNvPr id="152" name="Freeform: Shape 151">
                <a:extLst>
                  <a:ext uri="{FF2B5EF4-FFF2-40B4-BE49-F238E27FC236}">
                    <a16:creationId xmlns:a16="http://schemas.microsoft.com/office/drawing/2014/main" id="{090CE62D-4354-4DA9-8B3D-ADB230BBCE65}"/>
                  </a:ext>
                </a:extLst>
              </p:cNvPr>
              <p:cNvSpPr/>
              <p:nvPr/>
            </p:nvSpPr>
            <p:spPr>
              <a:xfrm>
                <a:off x="4401979" y="3311366"/>
                <a:ext cx="3476625" cy="200025"/>
              </a:xfrm>
              <a:custGeom>
                <a:avLst/>
                <a:gdLst>
                  <a:gd name="connsiteX0" fmla="*/ 1497806 w 3476625"/>
                  <a:gd name="connsiteY0" fmla="*/ 7144 h 200025"/>
                  <a:gd name="connsiteX1" fmla="*/ 1822609 w 3476625"/>
                  <a:gd name="connsiteY1" fmla="*/ 7144 h 200025"/>
                  <a:gd name="connsiteX2" fmla="*/ 1899761 w 3476625"/>
                  <a:gd name="connsiteY2" fmla="*/ 84296 h 200025"/>
                  <a:gd name="connsiteX3" fmla="*/ 2174081 w 3476625"/>
                  <a:gd name="connsiteY3" fmla="*/ 84296 h 200025"/>
                  <a:gd name="connsiteX4" fmla="*/ 2240756 w 3476625"/>
                  <a:gd name="connsiteY4" fmla="*/ 17621 h 200025"/>
                  <a:gd name="connsiteX5" fmla="*/ 3470434 w 3476625"/>
                  <a:gd name="connsiteY5" fmla="*/ 17621 h 200025"/>
                  <a:gd name="connsiteX6" fmla="*/ 3470434 w 3476625"/>
                  <a:gd name="connsiteY6" fmla="*/ 24289 h 200025"/>
                  <a:gd name="connsiteX7" fmla="*/ 2243614 w 3476625"/>
                  <a:gd name="connsiteY7" fmla="*/ 24289 h 200025"/>
                  <a:gd name="connsiteX8" fmla="*/ 2176939 w 3476625"/>
                  <a:gd name="connsiteY8" fmla="*/ 90964 h 200025"/>
                  <a:gd name="connsiteX9" fmla="*/ 1896904 w 3476625"/>
                  <a:gd name="connsiteY9" fmla="*/ 90964 h 200025"/>
                  <a:gd name="connsiteX10" fmla="*/ 1819751 w 3476625"/>
                  <a:gd name="connsiteY10" fmla="*/ 13811 h 200025"/>
                  <a:gd name="connsiteX11" fmla="*/ 1500664 w 3476625"/>
                  <a:gd name="connsiteY11" fmla="*/ 13811 h 200025"/>
                  <a:gd name="connsiteX12" fmla="*/ 1432084 w 3476625"/>
                  <a:gd name="connsiteY12" fmla="*/ 120491 h 200025"/>
                  <a:gd name="connsiteX13" fmla="*/ 1057751 w 3476625"/>
                  <a:gd name="connsiteY13" fmla="*/ 120491 h 200025"/>
                  <a:gd name="connsiteX14" fmla="*/ 971074 w 3476625"/>
                  <a:gd name="connsiteY14" fmla="*/ 14764 h 200025"/>
                  <a:gd name="connsiteX15" fmla="*/ 379571 w 3476625"/>
                  <a:gd name="connsiteY15" fmla="*/ 14764 h 200025"/>
                  <a:gd name="connsiteX16" fmla="*/ 11906 w 3476625"/>
                  <a:gd name="connsiteY16" fmla="*/ 201454 h 200025"/>
                  <a:gd name="connsiteX17" fmla="*/ 7144 w 3476625"/>
                  <a:gd name="connsiteY17" fmla="*/ 196691 h 200025"/>
                  <a:gd name="connsiteX18" fmla="*/ 376714 w 3476625"/>
                  <a:gd name="connsiteY18" fmla="*/ 8096 h 200025"/>
                  <a:gd name="connsiteX19" fmla="*/ 973931 w 3476625"/>
                  <a:gd name="connsiteY19" fmla="*/ 8096 h 200025"/>
                  <a:gd name="connsiteX20" fmla="*/ 1061561 w 3476625"/>
                  <a:gd name="connsiteY20" fmla="*/ 113824 h 200025"/>
                  <a:gd name="connsiteX21" fmla="*/ 1429226 w 3476625"/>
                  <a:gd name="connsiteY21" fmla="*/ 113824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476625" h="200025">
                    <a:moveTo>
                      <a:pt x="1497806" y="7144"/>
                    </a:moveTo>
                    <a:lnTo>
                      <a:pt x="1822609" y="7144"/>
                    </a:lnTo>
                    <a:lnTo>
                      <a:pt x="1899761" y="84296"/>
                    </a:lnTo>
                    <a:lnTo>
                      <a:pt x="2174081" y="84296"/>
                    </a:lnTo>
                    <a:lnTo>
                      <a:pt x="2240756" y="17621"/>
                    </a:lnTo>
                    <a:lnTo>
                      <a:pt x="3470434" y="17621"/>
                    </a:lnTo>
                    <a:lnTo>
                      <a:pt x="3470434" y="24289"/>
                    </a:lnTo>
                    <a:lnTo>
                      <a:pt x="2243614" y="24289"/>
                    </a:lnTo>
                    <a:lnTo>
                      <a:pt x="2176939" y="90964"/>
                    </a:lnTo>
                    <a:lnTo>
                      <a:pt x="1896904" y="90964"/>
                    </a:lnTo>
                    <a:lnTo>
                      <a:pt x="1819751" y="13811"/>
                    </a:lnTo>
                    <a:lnTo>
                      <a:pt x="1500664" y="13811"/>
                    </a:lnTo>
                    <a:lnTo>
                      <a:pt x="1432084" y="120491"/>
                    </a:lnTo>
                    <a:lnTo>
                      <a:pt x="1057751" y="120491"/>
                    </a:lnTo>
                    <a:lnTo>
                      <a:pt x="971074" y="14764"/>
                    </a:lnTo>
                    <a:lnTo>
                      <a:pt x="379571" y="14764"/>
                    </a:lnTo>
                    <a:lnTo>
                      <a:pt x="11906" y="201454"/>
                    </a:lnTo>
                    <a:lnTo>
                      <a:pt x="7144" y="196691"/>
                    </a:lnTo>
                    <a:lnTo>
                      <a:pt x="376714" y="8096"/>
                    </a:lnTo>
                    <a:lnTo>
                      <a:pt x="973931" y="8096"/>
                    </a:lnTo>
                    <a:lnTo>
                      <a:pt x="1061561" y="113824"/>
                    </a:lnTo>
                    <a:lnTo>
                      <a:pt x="1429226" y="113824"/>
                    </a:lnTo>
                    <a:close/>
                  </a:path>
                </a:pathLst>
              </a:custGeom>
              <a:grpFill/>
              <a:ln w="9525" cap="flat">
                <a:noFill/>
                <a:prstDash val="solid"/>
                <a:miter/>
              </a:ln>
            </p:spPr>
            <p:txBody>
              <a:bodyPr rtlCol="0" anchor="ctr"/>
              <a:lstStyle/>
              <a:p>
                <a:endParaRPr lang="en-US"/>
              </a:p>
            </p:txBody>
          </p:sp>
          <p:sp>
            <p:nvSpPr>
              <p:cNvPr id="153" name="Freeform: Shape 152">
                <a:extLst>
                  <a:ext uri="{FF2B5EF4-FFF2-40B4-BE49-F238E27FC236}">
                    <a16:creationId xmlns:a16="http://schemas.microsoft.com/office/drawing/2014/main" id="{DE406C90-0CD1-4539-B84B-AAEF11219B1F}"/>
                  </a:ext>
                </a:extLst>
              </p:cNvPr>
              <p:cNvSpPr/>
              <p:nvPr/>
            </p:nvSpPr>
            <p:spPr>
              <a:xfrm>
                <a:off x="7851934" y="3312318"/>
                <a:ext cx="38100" cy="38100"/>
              </a:xfrm>
              <a:custGeom>
                <a:avLst/>
                <a:gdLst>
                  <a:gd name="connsiteX0" fmla="*/ 20479 w 38100"/>
                  <a:gd name="connsiteY0" fmla="*/ 7144 h 38100"/>
                  <a:gd name="connsiteX1" fmla="*/ 33814 w 38100"/>
                  <a:gd name="connsiteY1" fmla="*/ 20479 h 38100"/>
                  <a:gd name="connsiteX2" fmla="*/ 20479 w 38100"/>
                  <a:gd name="connsiteY2" fmla="*/ 33814 h 38100"/>
                  <a:gd name="connsiteX3" fmla="*/ 7144 w 38100"/>
                  <a:gd name="connsiteY3" fmla="*/ 20479 h 38100"/>
                  <a:gd name="connsiteX4" fmla="*/ 20479 w 38100"/>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7144"/>
                    </a:moveTo>
                    <a:cubicBezTo>
                      <a:pt x="28099" y="7144"/>
                      <a:pt x="33814" y="12859"/>
                      <a:pt x="33814" y="20479"/>
                    </a:cubicBezTo>
                    <a:cubicBezTo>
                      <a:pt x="33814" y="28099"/>
                      <a:pt x="28099" y="33814"/>
                      <a:pt x="20479" y="33814"/>
                    </a:cubicBezTo>
                    <a:cubicBezTo>
                      <a:pt x="12859" y="33814"/>
                      <a:pt x="7144" y="28099"/>
                      <a:pt x="7144" y="20479"/>
                    </a:cubicBezTo>
                    <a:cubicBezTo>
                      <a:pt x="7144" y="12859"/>
                      <a:pt x="12859" y="7144"/>
                      <a:pt x="20479" y="7144"/>
                    </a:cubicBezTo>
                    <a:close/>
                  </a:path>
                </a:pathLst>
              </a:custGeom>
              <a:grpFill/>
              <a:ln w="9525" cap="flat">
                <a:noFill/>
                <a:prstDash val="solid"/>
                <a:miter/>
              </a:ln>
            </p:spPr>
            <p:txBody>
              <a:bodyPr rtlCol="0" anchor="ctr"/>
              <a:lstStyle/>
              <a:p>
                <a:endParaRPr lang="en-US"/>
              </a:p>
            </p:txBody>
          </p:sp>
          <p:sp>
            <p:nvSpPr>
              <p:cNvPr id="154" name="Freeform: Shape 153">
                <a:extLst>
                  <a:ext uri="{FF2B5EF4-FFF2-40B4-BE49-F238E27FC236}">
                    <a16:creationId xmlns:a16="http://schemas.microsoft.com/office/drawing/2014/main" id="{38A614C4-57FF-4D59-B082-3DE73F78FBCF}"/>
                  </a:ext>
                </a:extLst>
              </p:cNvPr>
              <p:cNvSpPr/>
              <p:nvPr/>
            </p:nvSpPr>
            <p:spPr>
              <a:xfrm>
                <a:off x="4391739" y="3489721"/>
                <a:ext cx="38100" cy="38100"/>
              </a:xfrm>
              <a:custGeom>
                <a:avLst/>
                <a:gdLst>
                  <a:gd name="connsiteX0" fmla="*/ 10716 w 38100"/>
                  <a:gd name="connsiteY0" fmla="*/ 10716 h 38100"/>
                  <a:gd name="connsiteX1" fmla="*/ 10716 w 38100"/>
                  <a:gd name="connsiteY1" fmla="*/ 29766 h 38100"/>
                  <a:gd name="connsiteX2" fmla="*/ 29766 w 38100"/>
                  <a:gd name="connsiteY2" fmla="*/ 29766 h 38100"/>
                  <a:gd name="connsiteX3" fmla="*/ 29766 w 38100"/>
                  <a:gd name="connsiteY3" fmla="*/ 10716 h 38100"/>
                  <a:gd name="connsiteX4" fmla="*/ 10716 w 38100"/>
                  <a:gd name="connsiteY4" fmla="*/ 1071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0716" y="10716"/>
                    </a:moveTo>
                    <a:cubicBezTo>
                      <a:pt x="5953" y="15478"/>
                      <a:pt x="5953" y="24051"/>
                      <a:pt x="10716" y="29766"/>
                    </a:cubicBezTo>
                    <a:cubicBezTo>
                      <a:pt x="15478" y="34528"/>
                      <a:pt x="24051" y="34528"/>
                      <a:pt x="29766" y="29766"/>
                    </a:cubicBezTo>
                    <a:cubicBezTo>
                      <a:pt x="34528" y="25003"/>
                      <a:pt x="34528" y="16431"/>
                      <a:pt x="29766" y="10716"/>
                    </a:cubicBezTo>
                    <a:cubicBezTo>
                      <a:pt x="24051" y="5953"/>
                      <a:pt x="15478" y="5953"/>
                      <a:pt x="10716" y="10716"/>
                    </a:cubicBezTo>
                    <a:close/>
                  </a:path>
                </a:pathLst>
              </a:custGeom>
              <a:grpFill/>
              <a:ln w="9525" cap="flat">
                <a:noFill/>
                <a:prstDash val="solid"/>
                <a:miter/>
              </a:ln>
            </p:spPr>
            <p:txBody>
              <a:bodyPr rtlCol="0" anchor="ctr"/>
              <a:lstStyle/>
              <a:p>
                <a:endParaRPr lang="en-US"/>
              </a:p>
            </p:txBody>
          </p:sp>
          <p:sp>
            <p:nvSpPr>
              <p:cNvPr id="155" name="Freeform: Shape 154">
                <a:extLst>
                  <a:ext uri="{FF2B5EF4-FFF2-40B4-BE49-F238E27FC236}">
                    <a16:creationId xmlns:a16="http://schemas.microsoft.com/office/drawing/2014/main" id="{B97D19A5-209D-458C-B2CE-A9B96792D2D1}"/>
                  </a:ext>
                </a:extLst>
              </p:cNvPr>
              <p:cNvSpPr/>
              <p:nvPr/>
            </p:nvSpPr>
            <p:spPr>
              <a:xfrm>
                <a:off x="4559141" y="3055143"/>
                <a:ext cx="2552700" cy="142875"/>
              </a:xfrm>
              <a:custGeom>
                <a:avLst/>
                <a:gdLst>
                  <a:gd name="connsiteX0" fmla="*/ 7144 w 2552700"/>
                  <a:gd name="connsiteY0" fmla="*/ 7144 h 142875"/>
                  <a:gd name="connsiteX1" fmla="*/ 101441 w 2552700"/>
                  <a:gd name="connsiteY1" fmla="*/ 7144 h 142875"/>
                  <a:gd name="connsiteX2" fmla="*/ 222409 w 2552700"/>
                  <a:gd name="connsiteY2" fmla="*/ 128111 h 142875"/>
                  <a:gd name="connsiteX3" fmla="*/ 813911 w 2552700"/>
                  <a:gd name="connsiteY3" fmla="*/ 128111 h 142875"/>
                  <a:gd name="connsiteX4" fmla="*/ 881539 w 2552700"/>
                  <a:gd name="connsiteY4" fmla="*/ 21431 h 142875"/>
                  <a:gd name="connsiteX5" fmla="*/ 1284446 w 2552700"/>
                  <a:gd name="connsiteY5" fmla="*/ 21431 h 142875"/>
                  <a:gd name="connsiteX6" fmla="*/ 1343501 w 2552700"/>
                  <a:gd name="connsiteY6" fmla="*/ 129064 h 142875"/>
                  <a:gd name="connsiteX7" fmla="*/ 1662589 w 2552700"/>
                  <a:gd name="connsiteY7" fmla="*/ 129064 h 142875"/>
                  <a:gd name="connsiteX8" fmla="*/ 1739741 w 2552700"/>
                  <a:gd name="connsiteY8" fmla="*/ 51911 h 142875"/>
                  <a:gd name="connsiteX9" fmla="*/ 2019776 w 2552700"/>
                  <a:gd name="connsiteY9" fmla="*/ 51911 h 142875"/>
                  <a:gd name="connsiteX10" fmla="*/ 2086451 w 2552700"/>
                  <a:gd name="connsiteY10" fmla="*/ 117634 h 142875"/>
                  <a:gd name="connsiteX11" fmla="*/ 2551271 w 2552700"/>
                  <a:gd name="connsiteY11" fmla="*/ 117634 h 142875"/>
                  <a:gd name="connsiteX12" fmla="*/ 2551271 w 2552700"/>
                  <a:gd name="connsiteY12" fmla="*/ 125254 h 142875"/>
                  <a:gd name="connsiteX13" fmla="*/ 2083594 w 2552700"/>
                  <a:gd name="connsiteY13" fmla="*/ 125254 h 142875"/>
                  <a:gd name="connsiteX14" fmla="*/ 2016919 w 2552700"/>
                  <a:gd name="connsiteY14" fmla="*/ 58579 h 142875"/>
                  <a:gd name="connsiteX15" fmla="*/ 1742599 w 2552700"/>
                  <a:gd name="connsiteY15" fmla="*/ 58579 h 142875"/>
                  <a:gd name="connsiteX16" fmla="*/ 1665446 w 2552700"/>
                  <a:gd name="connsiteY16" fmla="*/ 135731 h 142875"/>
                  <a:gd name="connsiteX17" fmla="*/ 1340644 w 2552700"/>
                  <a:gd name="connsiteY17" fmla="*/ 135731 h 142875"/>
                  <a:gd name="connsiteX18" fmla="*/ 1281589 w 2552700"/>
                  <a:gd name="connsiteY18" fmla="*/ 29051 h 142875"/>
                  <a:gd name="connsiteX19" fmla="*/ 885349 w 2552700"/>
                  <a:gd name="connsiteY19" fmla="*/ 29051 h 142875"/>
                  <a:gd name="connsiteX20" fmla="*/ 816769 w 2552700"/>
                  <a:gd name="connsiteY20" fmla="*/ 134779 h 142875"/>
                  <a:gd name="connsiteX21" fmla="*/ 219551 w 2552700"/>
                  <a:gd name="connsiteY21" fmla="*/ 134779 h 142875"/>
                  <a:gd name="connsiteX22" fmla="*/ 98584 w 2552700"/>
                  <a:gd name="connsiteY22" fmla="*/ 14764 h 142875"/>
                  <a:gd name="connsiteX23" fmla="*/ 7144 w 2552700"/>
                  <a:gd name="connsiteY23" fmla="*/ 14764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552700" h="142875">
                    <a:moveTo>
                      <a:pt x="7144" y="7144"/>
                    </a:moveTo>
                    <a:lnTo>
                      <a:pt x="101441" y="7144"/>
                    </a:lnTo>
                    <a:lnTo>
                      <a:pt x="222409" y="128111"/>
                    </a:lnTo>
                    <a:lnTo>
                      <a:pt x="813911" y="128111"/>
                    </a:lnTo>
                    <a:lnTo>
                      <a:pt x="881539" y="21431"/>
                    </a:lnTo>
                    <a:lnTo>
                      <a:pt x="1284446" y="21431"/>
                    </a:lnTo>
                    <a:lnTo>
                      <a:pt x="1343501" y="129064"/>
                    </a:lnTo>
                    <a:lnTo>
                      <a:pt x="1662589" y="129064"/>
                    </a:lnTo>
                    <a:lnTo>
                      <a:pt x="1739741" y="51911"/>
                    </a:lnTo>
                    <a:lnTo>
                      <a:pt x="2019776" y="51911"/>
                    </a:lnTo>
                    <a:lnTo>
                      <a:pt x="2086451" y="117634"/>
                    </a:lnTo>
                    <a:lnTo>
                      <a:pt x="2551271" y="117634"/>
                    </a:lnTo>
                    <a:lnTo>
                      <a:pt x="2551271" y="125254"/>
                    </a:lnTo>
                    <a:lnTo>
                      <a:pt x="2083594" y="125254"/>
                    </a:lnTo>
                    <a:lnTo>
                      <a:pt x="2016919" y="58579"/>
                    </a:lnTo>
                    <a:lnTo>
                      <a:pt x="1742599" y="58579"/>
                    </a:lnTo>
                    <a:lnTo>
                      <a:pt x="1665446" y="135731"/>
                    </a:lnTo>
                    <a:lnTo>
                      <a:pt x="1340644" y="135731"/>
                    </a:lnTo>
                    <a:lnTo>
                      <a:pt x="1281589" y="29051"/>
                    </a:lnTo>
                    <a:lnTo>
                      <a:pt x="885349" y="29051"/>
                    </a:lnTo>
                    <a:lnTo>
                      <a:pt x="816769" y="134779"/>
                    </a:lnTo>
                    <a:lnTo>
                      <a:pt x="219551" y="134779"/>
                    </a:lnTo>
                    <a:lnTo>
                      <a:pt x="98584" y="14764"/>
                    </a:lnTo>
                    <a:lnTo>
                      <a:pt x="7144" y="14764"/>
                    </a:lnTo>
                    <a:close/>
                  </a:path>
                </a:pathLst>
              </a:custGeom>
              <a:grpFill/>
              <a:ln w="9525" cap="flat">
                <a:noFill/>
                <a:prstDash val="solid"/>
                <a:miter/>
              </a:ln>
            </p:spPr>
            <p:txBody>
              <a:bodyPr rtlCol="0" anchor="ctr"/>
              <a:lstStyle/>
              <a:p>
                <a:endParaRPr lang="en-US"/>
              </a:p>
            </p:txBody>
          </p:sp>
          <p:sp>
            <p:nvSpPr>
              <p:cNvPr id="156" name="Freeform: Shape 155">
                <a:extLst>
                  <a:ext uri="{FF2B5EF4-FFF2-40B4-BE49-F238E27FC236}">
                    <a16:creationId xmlns:a16="http://schemas.microsoft.com/office/drawing/2014/main" id="{9C778A36-9280-4E18-87A5-C28A322B9F1E}"/>
                  </a:ext>
                </a:extLst>
              </p:cNvPr>
              <p:cNvSpPr/>
              <p:nvPr/>
            </p:nvSpPr>
            <p:spPr>
              <a:xfrm>
                <a:off x="7089934" y="3156108"/>
                <a:ext cx="38100" cy="38100"/>
              </a:xfrm>
              <a:custGeom>
                <a:avLst/>
                <a:gdLst>
                  <a:gd name="connsiteX0" fmla="*/ 20479 w 38100"/>
                  <a:gd name="connsiteY0" fmla="*/ 7144 h 38100"/>
                  <a:gd name="connsiteX1" fmla="*/ 33814 w 38100"/>
                  <a:gd name="connsiteY1" fmla="*/ 20479 h 38100"/>
                  <a:gd name="connsiteX2" fmla="*/ 20479 w 38100"/>
                  <a:gd name="connsiteY2" fmla="*/ 33814 h 38100"/>
                  <a:gd name="connsiteX3" fmla="*/ 7144 w 38100"/>
                  <a:gd name="connsiteY3" fmla="*/ 20479 h 38100"/>
                  <a:gd name="connsiteX4" fmla="*/ 20479 w 38100"/>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7144"/>
                    </a:moveTo>
                    <a:cubicBezTo>
                      <a:pt x="28099" y="7144"/>
                      <a:pt x="33814" y="12859"/>
                      <a:pt x="33814" y="20479"/>
                    </a:cubicBezTo>
                    <a:cubicBezTo>
                      <a:pt x="33814" y="28099"/>
                      <a:pt x="28099" y="33814"/>
                      <a:pt x="20479" y="33814"/>
                    </a:cubicBezTo>
                    <a:cubicBezTo>
                      <a:pt x="12859" y="33814"/>
                      <a:pt x="7144" y="28099"/>
                      <a:pt x="7144" y="20479"/>
                    </a:cubicBezTo>
                    <a:cubicBezTo>
                      <a:pt x="7144" y="13811"/>
                      <a:pt x="12859" y="7144"/>
                      <a:pt x="20479" y="7144"/>
                    </a:cubicBezTo>
                    <a:close/>
                  </a:path>
                </a:pathLst>
              </a:custGeom>
              <a:grpFill/>
              <a:ln w="9525" cap="flat">
                <a:noFill/>
                <a:prstDash val="solid"/>
                <a:miter/>
              </a:ln>
            </p:spPr>
            <p:txBody>
              <a:bodyPr rtlCol="0" anchor="ctr"/>
              <a:lstStyle/>
              <a:p>
                <a:endParaRPr lang="en-US"/>
              </a:p>
            </p:txBody>
          </p:sp>
          <p:sp>
            <p:nvSpPr>
              <p:cNvPr id="157" name="Freeform: Shape 156">
                <a:extLst>
                  <a:ext uri="{FF2B5EF4-FFF2-40B4-BE49-F238E27FC236}">
                    <a16:creationId xmlns:a16="http://schemas.microsoft.com/office/drawing/2014/main" id="{1C30A4CA-403E-4D76-99C6-A2460E109FEE}"/>
                  </a:ext>
                </a:extLst>
              </p:cNvPr>
              <p:cNvSpPr/>
              <p:nvPr/>
            </p:nvSpPr>
            <p:spPr>
              <a:xfrm>
                <a:off x="4546759" y="3045618"/>
                <a:ext cx="38100" cy="38100"/>
              </a:xfrm>
              <a:custGeom>
                <a:avLst/>
                <a:gdLst>
                  <a:gd name="connsiteX0" fmla="*/ 20479 w 38100"/>
                  <a:gd name="connsiteY0" fmla="*/ 7144 h 38100"/>
                  <a:gd name="connsiteX1" fmla="*/ 7144 w 38100"/>
                  <a:gd name="connsiteY1" fmla="*/ 20479 h 38100"/>
                  <a:gd name="connsiteX2" fmla="*/ 20479 w 38100"/>
                  <a:gd name="connsiteY2" fmla="*/ 33814 h 38100"/>
                  <a:gd name="connsiteX3" fmla="*/ 33814 w 38100"/>
                  <a:gd name="connsiteY3" fmla="*/ 20479 h 38100"/>
                  <a:gd name="connsiteX4" fmla="*/ 20479 w 38100"/>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7144"/>
                    </a:moveTo>
                    <a:cubicBezTo>
                      <a:pt x="12859" y="7144"/>
                      <a:pt x="7144" y="12859"/>
                      <a:pt x="7144" y="20479"/>
                    </a:cubicBezTo>
                    <a:cubicBezTo>
                      <a:pt x="7144" y="28099"/>
                      <a:pt x="12859" y="33814"/>
                      <a:pt x="20479" y="33814"/>
                    </a:cubicBezTo>
                    <a:cubicBezTo>
                      <a:pt x="28099" y="33814"/>
                      <a:pt x="33814" y="28099"/>
                      <a:pt x="33814" y="20479"/>
                    </a:cubicBezTo>
                    <a:cubicBezTo>
                      <a:pt x="33814" y="12859"/>
                      <a:pt x="28099" y="7144"/>
                      <a:pt x="20479" y="7144"/>
                    </a:cubicBezTo>
                    <a:close/>
                  </a:path>
                </a:pathLst>
              </a:custGeom>
              <a:grpFill/>
              <a:ln w="9525" cap="flat">
                <a:noFill/>
                <a:prstDash val="solid"/>
                <a:miter/>
              </a:ln>
            </p:spPr>
            <p:txBody>
              <a:bodyPr rtlCol="0" anchor="ctr"/>
              <a:lstStyle/>
              <a:p>
                <a:endParaRPr lang="en-US"/>
              </a:p>
            </p:txBody>
          </p:sp>
          <p:sp>
            <p:nvSpPr>
              <p:cNvPr id="158" name="Freeform: Shape 157">
                <a:extLst>
                  <a:ext uri="{FF2B5EF4-FFF2-40B4-BE49-F238E27FC236}">
                    <a16:creationId xmlns:a16="http://schemas.microsoft.com/office/drawing/2014/main" id="{3D6A0DE6-8215-44CE-858E-554564A3DBAD}"/>
                  </a:ext>
                </a:extLst>
              </p:cNvPr>
              <p:cNvSpPr/>
              <p:nvPr/>
            </p:nvSpPr>
            <p:spPr>
              <a:xfrm>
                <a:off x="6717506" y="3322796"/>
                <a:ext cx="676275" cy="104775"/>
              </a:xfrm>
              <a:custGeom>
                <a:avLst/>
                <a:gdLst>
                  <a:gd name="connsiteX0" fmla="*/ 668179 w 676275"/>
                  <a:gd name="connsiteY0" fmla="*/ 7144 h 104775"/>
                  <a:gd name="connsiteX1" fmla="*/ 672941 w 676275"/>
                  <a:gd name="connsiteY1" fmla="*/ 11906 h 104775"/>
                  <a:gd name="connsiteX2" fmla="*/ 471964 w 676275"/>
                  <a:gd name="connsiteY2" fmla="*/ 98584 h 104775"/>
                  <a:gd name="connsiteX3" fmla="*/ 7144 w 676275"/>
                  <a:gd name="connsiteY3" fmla="*/ 98584 h 104775"/>
                  <a:gd name="connsiteX4" fmla="*/ 7144 w 676275"/>
                  <a:gd name="connsiteY4" fmla="*/ 91916 h 104775"/>
                  <a:gd name="connsiteX5" fmla="*/ 469106 w 676275"/>
                  <a:gd name="connsiteY5" fmla="*/ 91916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6275" h="104775">
                    <a:moveTo>
                      <a:pt x="668179" y="7144"/>
                    </a:moveTo>
                    <a:lnTo>
                      <a:pt x="672941" y="11906"/>
                    </a:lnTo>
                    <a:lnTo>
                      <a:pt x="471964" y="98584"/>
                    </a:lnTo>
                    <a:lnTo>
                      <a:pt x="7144" y="98584"/>
                    </a:lnTo>
                    <a:lnTo>
                      <a:pt x="7144" y="91916"/>
                    </a:lnTo>
                    <a:lnTo>
                      <a:pt x="469106" y="91916"/>
                    </a:lnTo>
                    <a:close/>
                  </a:path>
                </a:pathLst>
              </a:custGeom>
              <a:grpFill/>
              <a:ln w="9525" cap="flat">
                <a:noFill/>
                <a:prstDash val="solid"/>
                <a:miter/>
              </a:ln>
            </p:spPr>
            <p:txBody>
              <a:bodyPr rtlCol="0" anchor="ctr"/>
              <a:lstStyle/>
              <a:p>
                <a:endParaRPr lang="en-US"/>
              </a:p>
            </p:txBody>
          </p:sp>
          <p:sp>
            <p:nvSpPr>
              <p:cNvPr id="159" name="Freeform: Shape 158">
                <a:extLst>
                  <a:ext uri="{FF2B5EF4-FFF2-40B4-BE49-F238E27FC236}">
                    <a16:creationId xmlns:a16="http://schemas.microsoft.com/office/drawing/2014/main" id="{443681FF-EAB2-40D4-ABBB-348FA45228B7}"/>
                  </a:ext>
                </a:extLst>
              </p:cNvPr>
              <p:cNvSpPr/>
              <p:nvPr/>
            </p:nvSpPr>
            <p:spPr>
              <a:xfrm>
                <a:off x="6705124" y="3398043"/>
                <a:ext cx="38100" cy="38100"/>
              </a:xfrm>
              <a:custGeom>
                <a:avLst/>
                <a:gdLst>
                  <a:gd name="connsiteX0" fmla="*/ 20479 w 38100"/>
                  <a:gd name="connsiteY0" fmla="*/ 7144 h 38100"/>
                  <a:gd name="connsiteX1" fmla="*/ 7144 w 38100"/>
                  <a:gd name="connsiteY1" fmla="*/ 20479 h 38100"/>
                  <a:gd name="connsiteX2" fmla="*/ 20479 w 38100"/>
                  <a:gd name="connsiteY2" fmla="*/ 33814 h 38100"/>
                  <a:gd name="connsiteX3" fmla="*/ 33814 w 38100"/>
                  <a:gd name="connsiteY3" fmla="*/ 20479 h 38100"/>
                  <a:gd name="connsiteX4" fmla="*/ 20479 w 38100"/>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7144"/>
                    </a:moveTo>
                    <a:cubicBezTo>
                      <a:pt x="12859" y="7144"/>
                      <a:pt x="7144" y="12859"/>
                      <a:pt x="7144" y="20479"/>
                    </a:cubicBezTo>
                    <a:cubicBezTo>
                      <a:pt x="7144" y="28099"/>
                      <a:pt x="12859" y="33814"/>
                      <a:pt x="20479" y="33814"/>
                    </a:cubicBezTo>
                    <a:cubicBezTo>
                      <a:pt x="28099" y="33814"/>
                      <a:pt x="33814" y="28099"/>
                      <a:pt x="33814" y="20479"/>
                    </a:cubicBezTo>
                    <a:cubicBezTo>
                      <a:pt x="33814" y="12859"/>
                      <a:pt x="27146" y="7144"/>
                      <a:pt x="20479" y="7144"/>
                    </a:cubicBezTo>
                    <a:close/>
                  </a:path>
                </a:pathLst>
              </a:custGeom>
              <a:grpFill/>
              <a:ln w="9525" cap="flat">
                <a:noFill/>
                <a:prstDash val="solid"/>
                <a:miter/>
              </a:ln>
            </p:spPr>
            <p:txBody>
              <a:bodyPr rtlCol="0" anchor="ctr"/>
              <a:lstStyle/>
              <a:p>
                <a:endParaRPr lang="en-US"/>
              </a:p>
            </p:txBody>
          </p:sp>
          <p:sp>
            <p:nvSpPr>
              <p:cNvPr id="160" name="Freeform: Shape 159">
                <a:extLst>
                  <a:ext uri="{FF2B5EF4-FFF2-40B4-BE49-F238E27FC236}">
                    <a16:creationId xmlns:a16="http://schemas.microsoft.com/office/drawing/2014/main" id="{559C4C46-1F53-4756-B0C3-28A9C2C5231B}"/>
                  </a:ext>
                </a:extLst>
              </p:cNvPr>
              <p:cNvSpPr/>
              <p:nvPr/>
            </p:nvSpPr>
            <p:spPr>
              <a:xfrm>
                <a:off x="5352574" y="3312318"/>
                <a:ext cx="742950" cy="485775"/>
              </a:xfrm>
              <a:custGeom>
                <a:avLst/>
                <a:gdLst>
                  <a:gd name="connsiteX0" fmla="*/ 736759 w 742950"/>
                  <a:gd name="connsiteY0" fmla="*/ 7144 h 485775"/>
                  <a:gd name="connsiteX1" fmla="*/ 741521 w 742950"/>
                  <a:gd name="connsiteY1" fmla="*/ 11906 h 485775"/>
                  <a:gd name="connsiteX2" fmla="*/ 552926 w 742950"/>
                  <a:gd name="connsiteY2" fmla="*/ 200501 h 485775"/>
                  <a:gd name="connsiteX3" fmla="*/ 260509 w 742950"/>
                  <a:gd name="connsiteY3" fmla="*/ 200501 h 485775"/>
                  <a:gd name="connsiteX4" fmla="*/ 12859 w 742950"/>
                  <a:gd name="connsiteY4" fmla="*/ 486251 h 485775"/>
                  <a:gd name="connsiteX5" fmla="*/ 7144 w 742950"/>
                  <a:gd name="connsiteY5" fmla="*/ 481489 h 485775"/>
                  <a:gd name="connsiteX6" fmla="*/ 257651 w 742950"/>
                  <a:gd name="connsiteY6" fmla="*/ 192881 h 485775"/>
                  <a:gd name="connsiteX7" fmla="*/ 550069 w 742950"/>
                  <a:gd name="connsiteY7" fmla="*/ 192881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2950" h="485775">
                    <a:moveTo>
                      <a:pt x="736759" y="7144"/>
                    </a:moveTo>
                    <a:lnTo>
                      <a:pt x="741521" y="11906"/>
                    </a:lnTo>
                    <a:lnTo>
                      <a:pt x="552926" y="200501"/>
                    </a:lnTo>
                    <a:lnTo>
                      <a:pt x="260509" y="200501"/>
                    </a:lnTo>
                    <a:lnTo>
                      <a:pt x="12859" y="486251"/>
                    </a:lnTo>
                    <a:lnTo>
                      <a:pt x="7144" y="481489"/>
                    </a:lnTo>
                    <a:lnTo>
                      <a:pt x="257651" y="192881"/>
                    </a:lnTo>
                    <a:lnTo>
                      <a:pt x="550069" y="192881"/>
                    </a:lnTo>
                    <a:close/>
                  </a:path>
                </a:pathLst>
              </a:custGeom>
              <a:grpFill/>
              <a:ln w="9525" cap="flat">
                <a:noFill/>
                <a:prstDash val="solid"/>
                <a:miter/>
              </a:ln>
            </p:spPr>
            <p:txBody>
              <a:bodyPr rtlCol="0" anchor="ctr"/>
              <a:lstStyle/>
              <a:p>
                <a:endParaRPr lang="en-US"/>
              </a:p>
            </p:txBody>
          </p:sp>
          <p:sp>
            <p:nvSpPr>
              <p:cNvPr id="161" name="Freeform: Shape 160">
                <a:extLst>
                  <a:ext uri="{FF2B5EF4-FFF2-40B4-BE49-F238E27FC236}">
                    <a16:creationId xmlns:a16="http://schemas.microsoft.com/office/drawing/2014/main" id="{E01D6716-8E57-4D4B-BF98-02539AEDEE2B}"/>
                  </a:ext>
                </a:extLst>
              </p:cNvPr>
              <p:cNvSpPr/>
              <p:nvPr/>
            </p:nvSpPr>
            <p:spPr>
              <a:xfrm>
                <a:off x="5343287" y="3775709"/>
                <a:ext cx="38100" cy="38100"/>
              </a:xfrm>
              <a:custGeom>
                <a:avLst/>
                <a:gdLst>
                  <a:gd name="connsiteX0" fmla="*/ 10716 w 38100"/>
                  <a:gd name="connsiteY0" fmla="*/ 11430 h 38100"/>
                  <a:gd name="connsiteX1" fmla="*/ 10716 w 38100"/>
                  <a:gd name="connsiteY1" fmla="*/ 30480 h 38100"/>
                  <a:gd name="connsiteX2" fmla="*/ 29766 w 38100"/>
                  <a:gd name="connsiteY2" fmla="*/ 30480 h 38100"/>
                  <a:gd name="connsiteX3" fmla="*/ 29766 w 38100"/>
                  <a:gd name="connsiteY3" fmla="*/ 11430 h 38100"/>
                  <a:gd name="connsiteX4" fmla="*/ 10716 w 38100"/>
                  <a:gd name="connsiteY4" fmla="*/ 11430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0716" y="11430"/>
                    </a:moveTo>
                    <a:cubicBezTo>
                      <a:pt x="5953" y="16192"/>
                      <a:pt x="5953" y="24765"/>
                      <a:pt x="10716" y="30480"/>
                    </a:cubicBezTo>
                    <a:cubicBezTo>
                      <a:pt x="15478" y="35242"/>
                      <a:pt x="24051" y="35242"/>
                      <a:pt x="29766" y="30480"/>
                    </a:cubicBezTo>
                    <a:cubicBezTo>
                      <a:pt x="34528" y="25717"/>
                      <a:pt x="34528" y="17145"/>
                      <a:pt x="29766" y="11430"/>
                    </a:cubicBezTo>
                    <a:cubicBezTo>
                      <a:pt x="24051" y="5715"/>
                      <a:pt x="15478" y="5715"/>
                      <a:pt x="10716" y="11430"/>
                    </a:cubicBezTo>
                    <a:close/>
                  </a:path>
                </a:pathLst>
              </a:custGeom>
              <a:grpFill/>
              <a:ln w="9525" cap="flat">
                <a:noFill/>
                <a:prstDash val="solid"/>
                <a:miter/>
              </a:ln>
            </p:spPr>
            <p:txBody>
              <a:bodyPr rtlCol="0" anchor="ctr"/>
              <a:lstStyle/>
              <a:p>
                <a:endParaRPr lang="en-US"/>
              </a:p>
            </p:txBody>
          </p:sp>
          <p:sp>
            <p:nvSpPr>
              <p:cNvPr id="162" name="Freeform: Shape 161">
                <a:extLst>
                  <a:ext uri="{FF2B5EF4-FFF2-40B4-BE49-F238E27FC236}">
                    <a16:creationId xmlns:a16="http://schemas.microsoft.com/office/drawing/2014/main" id="{09F97FBC-5636-4ADD-A2AE-A4EBBA06EA88}"/>
                  </a:ext>
                </a:extLst>
              </p:cNvPr>
              <p:cNvSpPr/>
              <p:nvPr/>
            </p:nvSpPr>
            <p:spPr>
              <a:xfrm>
                <a:off x="4308634" y="3313271"/>
                <a:ext cx="1009650" cy="428625"/>
              </a:xfrm>
              <a:custGeom>
                <a:avLst/>
                <a:gdLst>
                  <a:gd name="connsiteX0" fmla="*/ 998696 w 1009650"/>
                  <a:gd name="connsiteY0" fmla="*/ 7144 h 428625"/>
                  <a:gd name="connsiteX1" fmla="*/ 1003459 w 1009650"/>
                  <a:gd name="connsiteY1" fmla="*/ 11906 h 428625"/>
                  <a:gd name="connsiteX2" fmla="*/ 912019 w 1009650"/>
                  <a:gd name="connsiteY2" fmla="*/ 103346 h 428625"/>
                  <a:gd name="connsiteX3" fmla="*/ 646271 w 1009650"/>
                  <a:gd name="connsiteY3" fmla="*/ 103346 h 428625"/>
                  <a:gd name="connsiteX4" fmla="*/ 476726 w 1009650"/>
                  <a:gd name="connsiteY4" fmla="*/ 272891 h 428625"/>
                  <a:gd name="connsiteX5" fmla="*/ 306229 w 1009650"/>
                  <a:gd name="connsiteY5" fmla="*/ 272891 h 428625"/>
                  <a:gd name="connsiteX6" fmla="*/ 11906 w 1009650"/>
                  <a:gd name="connsiteY6" fmla="*/ 424339 h 428625"/>
                  <a:gd name="connsiteX7" fmla="*/ 7144 w 1009650"/>
                  <a:gd name="connsiteY7" fmla="*/ 419576 h 428625"/>
                  <a:gd name="connsiteX8" fmla="*/ 303371 w 1009650"/>
                  <a:gd name="connsiteY8" fmla="*/ 266224 h 428625"/>
                  <a:gd name="connsiteX9" fmla="*/ 472916 w 1009650"/>
                  <a:gd name="connsiteY9" fmla="*/ 266224 h 428625"/>
                  <a:gd name="connsiteX10" fmla="*/ 643414 w 1009650"/>
                  <a:gd name="connsiteY10" fmla="*/ 95726 h 428625"/>
                  <a:gd name="connsiteX11" fmla="*/ 909161 w 1009650"/>
                  <a:gd name="connsiteY11" fmla="*/ 95726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650" h="428625">
                    <a:moveTo>
                      <a:pt x="998696" y="7144"/>
                    </a:moveTo>
                    <a:lnTo>
                      <a:pt x="1003459" y="11906"/>
                    </a:lnTo>
                    <a:lnTo>
                      <a:pt x="912019" y="103346"/>
                    </a:lnTo>
                    <a:lnTo>
                      <a:pt x="646271" y="103346"/>
                    </a:lnTo>
                    <a:lnTo>
                      <a:pt x="476726" y="272891"/>
                    </a:lnTo>
                    <a:lnTo>
                      <a:pt x="306229" y="272891"/>
                    </a:lnTo>
                    <a:lnTo>
                      <a:pt x="11906" y="424339"/>
                    </a:lnTo>
                    <a:lnTo>
                      <a:pt x="7144" y="419576"/>
                    </a:lnTo>
                    <a:lnTo>
                      <a:pt x="303371" y="266224"/>
                    </a:lnTo>
                    <a:lnTo>
                      <a:pt x="472916" y="266224"/>
                    </a:lnTo>
                    <a:lnTo>
                      <a:pt x="643414" y="95726"/>
                    </a:lnTo>
                    <a:lnTo>
                      <a:pt x="909161" y="95726"/>
                    </a:lnTo>
                    <a:close/>
                  </a:path>
                </a:pathLst>
              </a:custGeom>
              <a:grpFill/>
              <a:ln w="9525" cap="flat">
                <a:noFill/>
                <a:prstDash val="solid"/>
                <a:miter/>
              </a:ln>
            </p:spPr>
            <p:txBody>
              <a:bodyPr rtlCol="0" anchor="ctr"/>
              <a:lstStyle/>
              <a:p>
                <a:endParaRPr lang="en-US"/>
              </a:p>
            </p:txBody>
          </p:sp>
          <p:sp>
            <p:nvSpPr>
              <p:cNvPr id="163" name="Freeform: Shape 162">
                <a:extLst>
                  <a:ext uri="{FF2B5EF4-FFF2-40B4-BE49-F238E27FC236}">
                    <a16:creationId xmlns:a16="http://schemas.microsoft.com/office/drawing/2014/main" id="{44076DDC-7E6F-48CF-8606-FB9B9304D1E9}"/>
                  </a:ext>
                </a:extLst>
              </p:cNvPr>
              <p:cNvSpPr/>
              <p:nvPr/>
            </p:nvSpPr>
            <p:spPr>
              <a:xfrm>
                <a:off x="4298394" y="3714511"/>
                <a:ext cx="38100" cy="38100"/>
              </a:xfrm>
              <a:custGeom>
                <a:avLst/>
                <a:gdLst>
                  <a:gd name="connsiteX0" fmla="*/ 10716 w 38100"/>
                  <a:gd name="connsiteY0" fmla="*/ 10716 h 38100"/>
                  <a:gd name="connsiteX1" fmla="*/ 10716 w 38100"/>
                  <a:gd name="connsiteY1" fmla="*/ 29766 h 38100"/>
                  <a:gd name="connsiteX2" fmla="*/ 29766 w 38100"/>
                  <a:gd name="connsiteY2" fmla="*/ 29766 h 38100"/>
                  <a:gd name="connsiteX3" fmla="*/ 29766 w 38100"/>
                  <a:gd name="connsiteY3" fmla="*/ 10716 h 38100"/>
                  <a:gd name="connsiteX4" fmla="*/ 10716 w 38100"/>
                  <a:gd name="connsiteY4" fmla="*/ 1071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0716" y="10716"/>
                    </a:moveTo>
                    <a:cubicBezTo>
                      <a:pt x="5953" y="15478"/>
                      <a:pt x="5953" y="24051"/>
                      <a:pt x="10716" y="29766"/>
                    </a:cubicBezTo>
                    <a:cubicBezTo>
                      <a:pt x="15478" y="34528"/>
                      <a:pt x="24051" y="34528"/>
                      <a:pt x="29766" y="29766"/>
                    </a:cubicBezTo>
                    <a:cubicBezTo>
                      <a:pt x="34528" y="25003"/>
                      <a:pt x="34528" y="16431"/>
                      <a:pt x="29766" y="10716"/>
                    </a:cubicBezTo>
                    <a:cubicBezTo>
                      <a:pt x="24051" y="5953"/>
                      <a:pt x="15478" y="5953"/>
                      <a:pt x="10716" y="10716"/>
                    </a:cubicBezTo>
                    <a:close/>
                  </a:path>
                </a:pathLst>
              </a:custGeom>
              <a:grpFill/>
              <a:ln w="9525" cap="flat">
                <a:noFill/>
                <a:prstDash val="solid"/>
                <a:miter/>
              </a:ln>
            </p:spPr>
            <p:txBody>
              <a:bodyPr rtlCol="0" anchor="ctr"/>
              <a:lstStyle/>
              <a:p>
                <a:endParaRPr lang="en-US"/>
              </a:p>
            </p:txBody>
          </p:sp>
          <p:sp>
            <p:nvSpPr>
              <p:cNvPr id="164" name="Freeform: Shape 163">
                <a:extLst>
                  <a:ext uri="{FF2B5EF4-FFF2-40B4-BE49-F238E27FC236}">
                    <a16:creationId xmlns:a16="http://schemas.microsoft.com/office/drawing/2014/main" id="{FA21E20B-BA80-44E2-BAD4-D7074C7EE4B0}"/>
                  </a:ext>
                </a:extLst>
              </p:cNvPr>
              <p:cNvSpPr/>
              <p:nvPr/>
            </p:nvSpPr>
            <p:spPr>
              <a:xfrm>
                <a:off x="6470809" y="3194208"/>
                <a:ext cx="1076325" cy="142875"/>
              </a:xfrm>
              <a:custGeom>
                <a:avLst/>
                <a:gdLst>
                  <a:gd name="connsiteX0" fmla="*/ 11906 w 1076325"/>
                  <a:gd name="connsiteY0" fmla="*/ 7144 h 142875"/>
                  <a:gd name="connsiteX1" fmla="*/ 50006 w 1076325"/>
                  <a:gd name="connsiteY1" fmla="*/ 45244 h 142875"/>
                  <a:gd name="connsiteX2" fmla="*/ 869156 w 1076325"/>
                  <a:gd name="connsiteY2" fmla="*/ 45244 h 142875"/>
                  <a:gd name="connsiteX3" fmla="*/ 1072991 w 1076325"/>
                  <a:gd name="connsiteY3" fmla="*/ 134779 h 142875"/>
                  <a:gd name="connsiteX4" fmla="*/ 1068229 w 1076325"/>
                  <a:gd name="connsiteY4" fmla="*/ 139541 h 142875"/>
                  <a:gd name="connsiteX5" fmla="*/ 866299 w 1076325"/>
                  <a:gd name="connsiteY5" fmla="*/ 51911 h 142875"/>
                  <a:gd name="connsiteX6" fmla="*/ 47149 w 1076325"/>
                  <a:gd name="connsiteY6" fmla="*/ 51911 h 142875"/>
                  <a:gd name="connsiteX7" fmla="*/ 7144 w 1076325"/>
                  <a:gd name="connsiteY7" fmla="*/ 12859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6325" h="142875">
                    <a:moveTo>
                      <a:pt x="11906" y="7144"/>
                    </a:moveTo>
                    <a:lnTo>
                      <a:pt x="50006" y="45244"/>
                    </a:lnTo>
                    <a:lnTo>
                      <a:pt x="869156" y="45244"/>
                    </a:lnTo>
                    <a:lnTo>
                      <a:pt x="1072991" y="134779"/>
                    </a:lnTo>
                    <a:lnTo>
                      <a:pt x="1068229" y="139541"/>
                    </a:lnTo>
                    <a:lnTo>
                      <a:pt x="866299" y="51911"/>
                    </a:lnTo>
                    <a:lnTo>
                      <a:pt x="47149" y="51911"/>
                    </a:lnTo>
                    <a:lnTo>
                      <a:pt x="7144" y="12859"/>
                    </a:lnTo>
                    <a:close/>
                  </a:path>
                </a:pathLst>
              </a:custGeom>
              <a:grpFill/>
              <a:ln w="9525" cap="flat">
                <a:noFill/>
                <a:prstDash val="solid"/>
                <a:miter/>
              </a:ln>
            </p:spPr>
            <p:txBody>
              <a:bodyPr rtlCol="0" anchor="ctr"/>
              <a:lstStyle/>
              <a:p>
                <a:endParaRPr lang="en-US"/>
              </a:p>
            </p:txBody>
          </p:sp>
          <p:sp>
            <p:nvSpPr>
              <p:cNvPr id="165" name="Freeform: Shape 164">
                <a:extLst>
                  <a:ext uri="{FF2B5EF4-FFF2-40B4-BE49-F238E27FC236}">
                    <a16:creationId xmlns:a16="http://schemas.microsoft.com/office/drawing/2014/main" id="{B4C7D4B5-B4AA-4AA9-BD57-7D8D8F221349}"/>
                  </a:ext>
                </a:extLst>
              </p:cNvPr>
              <p:cNvSpPr/>
              <p:nvPr/>
            </p:nvSpPr>
            <p:spPr>
              <a:xfrm>
                <a:off x="6460569" y="3184921"/>
                <a:ext cx="38100" cy="38100"/>
              </a:xfrm>
              <a:custGeom>
                <a:avLst/>
                <a:gdLst>
                  <a:gd name="connsiteX0" fmla="*/ 29766 w 38100"/>
                  <a:gd name="connsiteY0" fmla="*/ 10716 h 38100"/>
                  <a:gd name="connsiteX1" fmla="*/ 10716 w 38100"/>
                  <a:gd name="connsiteY1" fmla="*/ 10716 h 38100"/>
                  <a:gd name="connsiteX2" fmla="*/ 10716 w 38100"/>
                  <a:gd name="connsiteY2" fmla="*/ 29766 h 38100"/>
                  <a:gd name="connsiteX3" fmla="*/ 29766 w 38100"/>
                  <a:gd name="connsiteY3" fmla="*/ 29766 h 38100"/>
                  <a:gd name="connsiteX4" fmla="*/ 29766 w 38100"/>
                  <a:gd name="connsiteY4" fmla="*/ 1071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9766" y="10716"/>
                    </a:moveTo>
                    <a:cubicBezTo>
                      <a:pt x="25003" y="5953"/>
                      <a:pt x="16431" y="5953"/>
                      <a:pt x="10716" y="10716"/>
                    </a:cubicBezTo>
                    <a:cubicBezTo>
                      <a:pt x="5953" y="15478"/>
                      <a:pt x="5953" y="24051"/>
                      <a:pt x="10716" y="29766"/>
                    </a:cubicBezTo>
                    <a:cubicBezTo>
                      <a:pt x="15478" y="34528"/>
                      <a:pt x="24051" y="34528"/>
                      <a:pt x="29766" y="29766"/>
                    </a:cubicBezTo>
                    <a:cubicBezTo>
                      <a:pt x="34528" y="24051"/>
                      <a:pt x="34528" y="15478"/>
                      <a:pt x="29766" y="10716"/>
                    </a:cubicBezTo>
                    <a:close/>
                  </a:path>
                </a:pathLst>
              </a:custGeom>
              <a:grpFill/>
              <a:ln w="9525" cap="flat">
                <a:noFill/>
                <a:prstDash val="solid"/>
                <a:miter/>
              </a:ln>
            </p:spPr>
            <p:txBody>
              <a:bodyPr rtlCol="0" anchor="ctr"/>
              <a:lstStyle/>
              <a:p>
                <a:endParaRPr lang="en-US"/>
              </a:p>
            </p:txBody>
          </p:sp>
          <p:sp>
            <p:nvSpPr>
              <p:cNvPr id="166" name="Freeform: Shape 165">
                <a:extLst>
                  <a:ext uri="{FF2B5EF4-FFF2-40B4-BE49-F238E27FC236}">
                    <a16:creationId xmlns:a16="http://schemas.microsoft.com/office/drawing/2014/main" id="{B00AF39C-D107-404C-A81D-C80709F4A833}"/>
                  </a:ext>
                </a:extLst>
              </p:cNvPr>
              <p:cNvSpPr/>
              <p:nvPr/>
            </p:nvSpPr>
            <p:spPr>
              <a:xfrm>
                <a:off x="5156359" y="3240881"/>
                <a:ext cx="590550" cy="190500"/>
              </a:xfrm>
              <a:custGeom>
                <a:avLst/>
                <a:gdLst>
                  <a:gd name="connsiteX0" fmla="*/ 7144 w 590550"/>
                  <a:gd name="connsiteY0" fmla="*/ 7144 h 190500"/>
                  <a:gd name="connsiteX1" fmla="*/ 408146 w 590550"/>
                  <a:gd name="connsiteY1" fmla="*/ 7144 h 190500"/>
                  <a:gd name="connsiteX2" fmla="*/ 585311 w 590550"/>
                  <a:gd name="connsiteY2" fmla="*/ 184309 h 190500"/>
                  <a:gd name="connsiteX3" fmla="*/ 580549 w 590550"/>
                  <a:gd name="connsiteY3" fmla="*/ 189071 h 190500"/>
                  <a:gd name="connsiteX4" fmla="*/ 405289 w 590550"/>
                  <a:gd name="connsiteY4" fmla="*/ 13811 h 190500"/>
                  <a:gd name="connsiteX5" fmla="*/ 7144 w 590550"/>
                  <a:gd name="connsiteY5" fmla="*/ 13811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550" h="190500">
                    <a:moveTo>
                      <a:pt x="7144" y="7144"/>
                    </a:moveTo>
                    <a:lnTo>
                      <a:pt x="408146" y="7144"/>
                    </a:lnTo>
                    <a:lnTo>
                      <a:pt x="585311" y="184309"/>
                    </a:lnTo>
                    <a:lnTo>
                      <a:pt x="580549" y="189071"/>
                    </a:lnTo>
                    <a:lnTo>
                      <a:pt x="405289" y="13811"/>
                    </a:lnTo>
                    <a:lnTo>
                      <a:pt x="7144" y="13811"/>
                    </a:lnTo>
                    <a:close/>
                  </a:path>
                </a:pathLst>
              </a:custGeom>
              <a:grpFill/>
              <a:ln w="9525" cap="flat">
                <a:noFill/>
                <a:prstDash val="solid"/>
                <a:miter/>
              </a:ln>
            </p:spPr>
            <p:txBody>
              <a:bodyPr rtlCol="0" anchor="ctr"/>
              <a:lstStyle/>
              <a:p>
                <a:endParaRPr lang="en-US"/>
              </a:p>
            </p:txBody>
          </p:sp>
          <p:sp>
            <p:nvSpPr>
              <p:cNvPr id="167" name="Freeform: Shape 166">
                <a:extLst>
                  <a:ext uri="{FF2B5EF4-FFF2-40B4-BE49-F238E27FC236}">
                    <a16:creationId xmlns:a16="http://schemas.microsoft.com/office/drawing/2014/main" id="{2C86537A-A636-4F9B-A44B-F82BF4DBFD1C}"/>
                  </a:ext>
                </a:extLst>
              </p:cNvPr>
              <p:cNvSpPr/>
              <p:nvPr/>
            </p:nvSpPr>
            <p:spPr>
              <a:xfrm>
                <a:off x="5134451" y="3231356"/>
                <a:ext cx="38100" cy="38100"/>
              </a:xfrm>
              <a:custGeom>
                <a:avLst/>
                <a:gdLst>
                  <a:gd name="connsiteX0" fmla="*/ 20479 w 38100"/>
                  <a:gd name="connsiteY0" fmla="*/ 7144 h 38100"/>
                  <a:gd name="connsiteX1" fmla="*/ 7144 w 38100"/>
                  <a:gd name="connsiteY1" fmla="*/ 20479 h 38100"/>
                  <a:gd name="connsiteX2" fmla="*/ 20479 w 38100"/>
                  <a:gd name="connsiteY2" fmla="*/ 33814 h 38100"/>
                  <a:gd name="connsiteX3" fmla="*/ 33814 w 38100"/>
                  <a:gd name="connsiteY3" fmla="*/ 20479 h 38100"/>
                  <a:gd name="connsiteX4" fmla="*/ 20479 w 38100"/>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7144"/>
                    </a:moveTo>
                    <a:cubicBezTo>
                      <a:pt x="12859" y="7144"/>
                      <a:pt x="7144" y="12859"/>
                      <a:pt x="7144" y="20479"/>
                    </a:cubicBezTo>
                    <a:cubicBezTo>
                      <a:pt x="7144" y="28099"/>
                      <a:pt x="12859" y="33814"/>
                      <a:pt x="20479" y="33814"/>
                    </a:cubicBezTo>
                    <a:cubicBezTo>
                      <a:pt x="28099" y="33814"/>
                      <a:pt x="33814" y="28099"/>
                      <a:pt x="33814" y="20479"/>
                    </a:cubicBezTo>
                    <a:cubicBezTo>
                      <a:pt x="33814" y="12859"/>
                      <a:pt x="28099" y="7144"/>
                      <a:pt x="20479" y="7144"/>
                    </a:cubicBezTo>
                    <a:close/>
                  </a:path>
                </a:pathLst>
              </a:custGeom>
              <a:grpFill/>
              <a:ln w="9525" cap="flat">
                <a:noFill/>
                <a:prstDash val="solid"/>
                <a:miter/>
              </a:ln>
            </p:spPr>
            <p:txBody>
              <a:bodyPr rtlCol="0" anchor="ctr"/>
              <a:lstStyle/>
              <a:p>
                <a:endParaRPr lang="en-US"/>
              </a:p>
            </p:txBody>
          </p:sp>
          <p:sp>
            <p:nvSpPr>
              <p:cNvPr id="168" name="Freeform: Shape 167">
                <a:extLst>
                  <a:ext uri="{FF2B5EF4-FFF2-40B4-BE49-F238E27FC236}">
                    <a16:creationId xmlns:a16="http://schemas.microsoft.com/office/drawing/2014/main" id="{4268C19B-7D5C-4751-9E7F-1EF92882C0EF}"/>
                  </a:ext>
                </a:extLst>
              </p:cNvPr>
              <p:cNvSpPr/>
              <p:nvPr/>
            </p:nvSpPr>
            <p:spPr>
              <a:xfrm>
                <a:off x="5084921" y="3377088"/>
                <a:ext cx="361950" cy="95250"/>
              </a:xfrm>
              <a:custGeom>
                <a:avLst/>
                <a:gdLst>
                  <a:gd name="connsiteX0" fmla="*/ 349091 w 361950"/>
                  <a:gd name="connsiteY0" fmla="*/ 7144 h 95250"/>
                  <a:gd name="connsiteX1" fmla="*/ 354806 w 361950"/>
                  <a:gd name="connsiteY1" fmla="*/ 12859 h 95250"/>
                  <a:gd name="connsiteX2" fmla="*/ 271939 w 361950"/>
                  <a:gd name="connsiteY2" fmla="*/ 94774 h 95250"/>
                  <a:gd name="connsiteX3" fmla="*/ 7144 w 361950"/>
                  <a:gd name="connsiteY3" fmla="*/ 94774 h 95250"/>
                  <a:gd name="connsiteX4" fmla="*/ 7144 w 361950"/>
                  <a:gd name="connsiteY4" fmla="*/ 88106 h 95250"/>
                  <a:gd name="connsiteX5" fmla="*/ 269081 w 361950"/>
                  <a:gd name="connsiteY5" fmla="*/ 88106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1950" h="95250">
                    <a:moveTo>
                      <a:pt x="349091" y="7144"/>
                    </a:moveTo>
                    <a:lnTo>
                      <a:pt x="354806" y="12859"/>
                    </a:lnTo>
                    <a:lnTo>
                      <a:pt x="271939" y="94774"/>
                    </a:lnTo>
                    <a:lnTo>
                      <a:pt x="7144" y="94774"/>
                    </a:lnTo>
                    <a:lnTo>
                      <a:pt x="7144" y="88106"/>
                    </a:lnTo>
                    <a:lnTo>
                      <a:pt x="269081" y="88106"/>
                    </a:lnTo>
                    <a:close/>
                  </a:path>
                </a:pathLst>
              </a:custGeom>
              <a:grpFill/>
              <a:ln w="9525" cap="flat">
                <a:noFill/>
                <a:prstDash val="solid"/>
                <a:miter/>
              </a:ln>
            </p:spPr>
            <p:txBody>
              <a:bodyPr rtlCol="0" anchor="ctr"/>
              <a:lstStyle/>
              <a:p>
                <a:endParaRPr lang="en-US"/>
              </a:p>
            </p:txBody>
          </p:sp>
          <p:sp>
            <p:nvSpPr>
              <p:cNvPr id="169" name="Freeform: Shape 168">
                <a:extLst>
                  <a:ext uri="{FF2B5EF4-FFF2-40B4-BE49-F238E27FC236}">
                    <a16:creationId xmlns:a16="http://schemas.microsoft.com/office/drawing/2014/main" id="{1CDF8655-1534-4557-AB56-575CDACF01BF}"/>
                  </a:ext>
                </a:extLst>
              </p:cNvPr>
              <p:cNvSpPr/>
              <p:nvPr/>
            </p:nvSpPr>
            <p:spPr>
              <a:xfrm>
                <a:off x="5072539" y="3448526"/>
                <a:ext cx="38100" cy="38100"/>
              </a:xfrm>
              <a:custGeom>
                <a:avLst/>
                <a:gdLst>
                  <a:gd name="connsiteX0" fmla="*/ 20479 w 38100"/>
                  <a:gd name="connsiteY0" fmla="*/ 7144 h 38100"/>
                  <a:gd name="connsiteX1" fmla="*/ 7144 w 38100"/>
                  <a:gd name="connsiteY1" fmla="*/ 20479 h 38100"/>
                  <a:gd name="connsiteX2" fmla="*/ 20479 w 38100"/>
                  <a:gd name="connsiteY2" fmla="*/ 33814 h 38100"/>
                  <a:gd name="connsiteX3" fmla="*/ 33814 w 38100"/>
                  <a:gd name="connsiteY3" fmla="*/ 20479 h 38100"/>
                  <a:gd name="connsiteX4" fmla="*/ 20479 w 38100"/>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7144"/>
                    </a:moveTo>
                    <a:cubicBezTo>
                      <a:pt x="12859" y="7144"/>
                      <a:pt x="7144" y="12859"/>
                      <a:pt x="7144" y="20479"/>
                    </a:cubicBezTo>
                    <a:cubicBezTo>
                      <a:pt x="7144" y="28099"/>
                      <a:pt x="12859" y="33814"/>
                      <a:pt x="20479" y="33814"/>
                    </a:cubicBezTo>
                    <a:cubicBezTo>
                      <a:pt x="28099" y="33814"/>
                      <a:pt x="33814" y="28099"/>
                      <a:pt x="33814" y="20479"/>
                    </a:cubicBezTo>
                    <a:cubicBezTo>
                      <a:pt x="32861" y="12859"/>
                      <a:pt x="27146" y="7144"/>
                      <a:pt x="20479" y="7144"/>
                    </a:cubicBezTo>
                    <a:close/>
                  </a:path>
                </a:pathLst>
              </a:custGeom>
              <a:grpFill/>
              <a:ln w="9525" cap="flat">
                <a:noFill/>
                <a:prstDash val="solid"/>
                <a:miter/>
              </a:ln>
            </p:spPr>
            <p:txBody>
              <a:bodyPr rtlCol="0" anchor="ctr"/>
              <a:lstStyle/>
              <a:p>
                <a:endParaRPr lang="en-US"/>
              </a:p>
            </p:txBody>
          </p:sp>
          <p:sp>
            <p:nvSpPr>
              <p:cNvPr id="170" name="Freeform: Shape 169">
                <a:extLst>
                  <a:ext uri="{FF2B5EF4-FFF2-40B4-BE49-F238E27FC236}">
                    <a16:creationId xmlns:a16="http://schemas.microsoft.com/office/drawing/2014/main" id="{73B7697A-913B-4B31-8445-898BFEBE1C7E}"/>
                  </a:ext>
                </a:extLst>
              </p:cNvPr>
              <p:cNvSpPr/>
              <p:nvPr/>
            </p:nvSpPr>
            <p:spPr>
              <a:xfrm>
                <a:off x="5571649" y="3071336"/>
                <a:ext cx="809625" cy="200025"/>
              </a:xfrm>
              <a:custGeom>
                <a:avLst/>
                <a:gdLst>
                  <a:gd name="connsiteX0" fmla="*/ 11906 w 809625"/>
                  <a:gd name="connsiteY0" fmla="*/ 7144 h 200025"/>
                  <a:gd name="connsiteX1" fmla="*/ 192881 w 809625"/>
                  <a:gd name="connsiteY1" fmla="*/ 188119 h 200025"/>
                  <a:gd name="connsiteX2" fmla="*/ 808196 w 809625"/>
                  <a:gd name="connsiteY2" fmla="*/ 188119 h 200025"/>
                  <a:gd name="connsiteX3" fmla="*/ 808196 w 809625"/>
                  <a:gd name="connsiteY3" fmla="*/ 195739 h 200025"/>
                  <a:gd name="connsiteX4" fmla="*/ 190024 w 809625"/>
                  <a:gd name="connsiteY4" fmla="*/ 194786 h 200025"/>
                  <a:gd name="connsiteX5" fmla="*/ 7144 w 809625"/>
                  <a:gd name="connsiteY5" fmla="*/ 11906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9625" h="200025">
                    <a:moveTo>
                      <a:pt x="11906" y="7144"/>
                    </a:moveTo>
                    <a:lnTo>
                      <a:pt x="192881" y="188119"/>
                    </a:lnTo>
                    <a:lnTo>
                      <a:pt x="808196" y="188119"/>
                    </a:lnTo>
                    <a:lnTo>
                      <a:pt x="808196" y="195739"/>
                    </a:lnTo>
                    <a:lnTo>
                      <a:pt x="190024" y="194786"/>
                    </a:lnTo>
                    <a:lnTo>
                      <a:pt x="7144" y="11906"/>
                    </a:lnTo>
                    <a:close/>
                  </a:path>
                </a:pathLst>
              </a:custGeom>
              <a:grpFill/>
              <a:ln w="9525" cap="flat">
                <a:noFill/>
                <a:prstDash val="solid"/>
                <a:miter/>
              </a:ln>
            </p:spPr>
            <p:txBody>
              <a:bodyPr rtlCol="0" anchor="ctr"/>
              <a:lstStyle/>
              <a:p>
                <a:endParaRPr lang="en-US"/>
              </a:p>
            </p:txBody>
          </p:sp>
          <p:sp>
            <p:nvSpPr>
              <p:cNvPr id="171" name="Freeform: Shape 170">
                <a:extLst>
                  <a:ext uri="{FF2B5EF4-FFF2-40B4-BE49-F238E27FC236}">
                    <a16:creationId xmlns:a16="http://schemas.microsoft.com/office/drawing/2014/main" id="{71031A19-1A7C-4901-966B-5346553B35C1}"/>
                  </a:ext>
                </a:extLst>
              </p:cNvPr>
              <p:cNvSpPr/>
              <p:nvPr/>
            </p:nvSpPr>
            <p:spPr>
              <a:xfrm>
                <a:off x="6358414" y="3242786"/>
                <a:ext cx="38100" cy="38100"/>
              </a:xfrm>
              <a:custGeom>
                <a:avLst/>
                <a:gdLst>
                  <a:gd name="connsiteX0" fmla="*/ 20479 w 38100"/>
                  <a:gd name="connsiteY0" fmla="*/ 33814 h 38100"/>
                  <a:gd name="connsiteX1" fmla="*/ 33814 w 38100"/>
                  <a:gd name="connsiteY1" fmla="*/ 20479 h 38100"/>
                  <a:gd name="connsiteX2" fmla="*/ 20479 w 38100"/>
                  <a:gd name="connsiteY2" fmla="*/ 7144 h 38100"/>
                  <a:gd name="connsiteX3" fmla="*/ 7144 w 38100"/>
                  <a:gd name="connsiteY3" fmla="*/ 20479 h 38100"/>
                  <a:gd name="connsiteX4" fmla="*/ 20479 w 38100"/>
                  <a:gd name="connsiteY4" fmla="*/ 3381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33814"/>
                    </a:moveTo>
                    <a:cubicBezTo>
                      <a:pt x="28099" y="33814"/>
                      <a:pt x="33814" y="28099"/>
                      <a:pt x="33814" y="20479"/>
                    </a:cubicBezTo>
                    <a:cubicBezTo>
                      <a:pt x="33814" y="12859"/>
                      <a:pt x="28099" y="7144"/>
                      <a:pt x="20479" y="7144"/>
                    </a:cubicBezTo>
                    <a:cubicBezTo>
                      <a:pt x="12859" y="7144"/>
                      <a:pt x="7144" y="12859"/>
                      <a:pt x="7144" y="20479"/>
                    </a:cubicBezTo>
                    <a:cubicBezTo>
                      <a:pt x="7144" y="28099"/>
                      <a:pt x="13811" y="33814"/>
                      <a:pt x="20479" y="33814"/>
                    </a:cubicBezTo>
                    <a:close/>
                  </a:path>
                </a:pathLst>
              </a:custGeom>
              <a:grpFill/>
              <a:ln w="9525" cap="flat">
                <a:noFill/>
                <a:prstDash val="solid"/>
                <a:miter/>
              </a:ln>
            </p:spPr>
            <p:txBody>
              <a:bodyPr rtlCol="0" anchor="ctr"/>
              <a:lstStyle/>
              <a:p>
                <a:endParaRPr lang="en-US"/>
              </a:p>
            </p:txBody>
          </p:sp>
        </p:grpSp>
        <p:grpSp>
          <p:nvGrpSpPr>
            <p:cNvPr id="24" name="Graphic 3">
              <a:extLst>
                <a:ext uri="{FF2B5EF4-FFF2-40B4-BE49-F238E27FC236}">
                  <a16:creationId xmlns:a16="http://schemas.microsoft.com/office/drawing/2014/main" id="{A11F8951-D580-4389-8CEC-94BFFE8B462E}"/>
                </a:ext>
              </a:extLst>
            </p:cNvPr>
            <p:cNvGrpSpPr/>
            <p:nvPr/>
          </p:nvGrpSpPr>
          <p:grpSpPr>
            <a:xfrm>
              <a:off x="4386205" y="2166705"/>
              <a:ext cx="2891731" cy="3429727"/>
              <a:chOff x="5276850" y="2457450"/>
              <a:chExt cx="1638300" cy="1943100"/>
            </a:xfrm>
            <a:grpFill/>
          </p:grpSpPr>
          <p:sp>
            <p:nvSpPr>
              <p:cNvPr id="25" name="Freeform: Shape 24">
                <a:extLst>
                  <a:ext uri="{FF2B5EF4-FFF2-40B4-BE49-F238E27FC236}">
                    <a16:creationId xmlns:a16="http://schemas.microsoft.com/office/drawing/2014/main" id="{6652FEE1-5D21-4162-850A-023CFB4ABDFA}"/>
                  </a:ext>
                </a:extLst>
              </p:cNvPr>
              <p:cNvSpPr/>
              <p:nvPr/>
            </p:nvSpPr>
            <p:spPr>
              <a:xfrm>
                <a:off x="6101239" y="2703671"/>
                <a:ext cx="28575" cy="28575"/>
              </a:xfrm>
              <a:custGeom>
                <a:avLst/>
                <a:gdLst>
                  <a:gd name="connsiteX0" fmla="*/ 14764 w 28575"/>
                  <a:gd name="connsiteY0" fmla="*/ 22384 h 28575"/>
                  <a:gd name="connsiteX1" fmla="*/ 22384 w 28575"/>
                  <a:gd name="connsiteY1" fmla="*/ 14764 h 28575"/>
                  <a:gd name="connsiteX2" fmla="*/ 14764 w 28575"/>
                  <a:gd name="connsiteY2" fmla="*/ 7144 h 28575"/>
                  <a:gd name="connsiteX3" fmla="*/ 7144 w 28575"/>
                  <a:gd name="connsiteY3" fmla="*/ 14764 h 28575"/>
                  <a:gd name="connsiteX4" fmla="*/ 14764 w 28575"/>
                  <a:gd name="connsiteY4" fmla="*/ 22384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764" y="22384"/>
                    </a:moveTo>
                    <a:cubicBezTo>
                      <a:pt x="18574" y="22384"/>
                      <a:pt x="22384" y="18574"/>
                      <a:pt x="22384" y="14764"/>
                    </a:cubicBezTo>
                    <a:cubicBezTo>
                      <a:pt x="22384" y="10954"/>
                      <a:pt x="18574" y="7144"/>
                      <a:pt x="14764" y="7144"/>
                    </a:cubicBezTo>
                    <a:cubicBezTo>
                      <a:pt x="10954" y="7144"/>
                      <a:pt x="7144" y="10954"/>
                      <a:pt x="7144" y="14764"/>
                    </a:cubicBezTo>
                    <a:cubicBezTo>
                      <a:pt x="7144" y="19526"/>
                      <a:pt x="10954" y="22384"/>
                      <a:pt x="14764" y="22384"/>
                    </a:cubicBezTo>
                    <a:close/>
                  </a:path>
                </a:pathLst>
              </a:custGeom>
              <a:grpFill/>
              <a:ln w="952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721A7032-4210-4948-8AA7-82671C232F79}"/>
                  </a:ext>
                </a:extLst>
              </p:cNvPr>
              <p:cNvSpPr/>
              <p:nvPr/>
            </p:nvSpPr>
            <p:spPr>
              <a:xfrm>
                <a:off x="5951696" y="2877026"/>
                <a:ext cx="38100" cy="38100"/>
              </a:xfrm>
              <a:custGeom>
                <a:avLst/>
                <a:gdLst>
                  <a:gd name="connsiteX0" fmla="*/ 19526 w 38100"/>
                  <a:gd name="connsiteY0" fmla="*/ 31909 h 38100"/>
                  <a:gd name="connsiteX1" fmla="*/ 31909 w 38100"/>
                  <a:gd name="connsiteY1" fmla="*/ 19526 h 38100"/>
                  <a:gd name="connsiteX2" fmla="*/ 19526 w 38100"/>
                  <a:gd name="connsiteY2" fmla="*/ 7144 h 38100"/>
                  <a:gd name="connsiteX3" fmla="*/ 7144 w 38100"/>
                  <a:gd name="connsiteY3" fmla="*/ 19526 h 38100"/>
                  <a:gd name="connsiteX4" fmla="*/ 19526 w 38100"/>
                  <a:gd name="connsiteY4" fmla="*/ 31909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9526" y="31909"/>
                    </a:moveTo>
                    <a:cubicBezTo>
                      <a:pt x="26194" y="31909"/>
                      <a:pt x="31909" y="26194"/>
                      <a:pt x="31909" y="19526"/>
                    </a:cubicBezTo>
                    <a:cubicBezTo>
                      <a:pt x="31909" y="12859"/>
                      <a:pt x="26194" y="7144"/>
                      <a:pt x="19526" y="7144"/>
                    </a:cubicBezTo>
                    <a:cubicBezTo>
                      <a:pt x="12859" y="7144"/>
                      <a:pt x="7144" y="12859"/>
                      <a:pt x="7144" y="19526"/>
                    </a:cubicBezTo>
                    <a:cubicBezTo>
                      <a:pt x="7144" y="26194"/>
                      <a:pt x="11906" y="31909"/>
                      <a:pt x="19526" y="31909"/>
                    </a:cubicBezTo>
                    <a:close/>
                  </a:path>
                </a:pathLst>
              </a:custGeom>
              <a:grp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8FADED69-6170-4C5E-80CE-3C1F5E0125EA}"/>
                  </a:ext>
                </a:extLst>
              </p:cNvPr>
              <p:cNvSpPr/>
              <p:nvPr/>
            </p:nvSpPr>
            <p:spPr>
              <a:xfrm>
                <a:off x="5698331" y="3973354"/>
                <a:ext cx="19050" cy="19050"/>
              </a:xfrm>
              <a:custGeom>
                <a:avLst/>
                <a:gdLst>
                  <a:gd name="connsiteX0" fmla="*/ 18574 w 19050"/>
                  <a:gd name="connsiteY0" fmla="*/ 12859 h 19050"/>
                  <a:gd name="connsiteX1" fmla="*/ 12859 w 19050"/>
                  <a:gd name="connsiteY1" fmla="*/ 18574 h 19050"/>
                  <a:gd name="connsiteX2" fmla="*/ 7144 w 19050"/>
                  <a:gd name="connsiteY2" fmla="*/ 12859 h 19050"/>
                  <a:gd name="connsiteX3" fmla="*/ 12859 w 19050"/>
                  <a:gd name="connsiteY3" fmla="*/ 7144 h 19050"/>
                  <a:gd name="connsiteX4" fmla="*/ 18574 w 19050"/>
                  <a:gd name="connsiteY4" fmla="*/ 12859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8574" y="12859"/>
                    </a:moveTo>
                    <a:cubicBezTo>
                      <a:pt x="18574" y="16015"/>
                      <a:pt x="16015" y="18574"/>
                      <a:pt x="12859" y="18574"/>
                    </a:cubicBezTo>
                    <a:cubicBezTo>
                      <a:pt x="9702" y="18574"/>
                      <a:pt x="7144" y="16015"/>
                      <a:pt x="7144" y="12859"/>
                    </a:cubicBezTo>
                    <a:cubicBezTo>
                      <a:pt x="7144" y="9702"/>
                      <a:pt x="9702" y="7144"/>
                      <a:pt x="12859" y="7144"/>
                    </a:cubicBezTo>
                    <a:cubicBezTo>
                      <a:pt x="16015" y="7144"/>
                      <a:pt x="18574" y="9702"/>
                      <a:pt x="18574" y="12859"/>
                    </a:cubicBezTo>
                    <a:close/>
                  </a:path>
                </a:pathLst>
              </a:custGeom>
              <a:grpFill/>
              <a:ln w="9525"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804C4903-4291-4B86-AEBD-DBB246FAE01D}"/>
                  </a:ext>
                </a:extLst>
              </p:cNvPr>
              <p:cNvSpPr/>
              <p:nvPr/>
            </p:nvSpPr>
            <p:spPr>
              <a:xfrm>
                <a:off x="5746909" y="4064794"/>
                <a:ext cx="123825" cy="114300"/>
              </a:xfrm>
              <a:custGeom>
                <a:avLst/>
                <a:gdLst>
                  <a:gd name="connsiteX0" fmla="*/ 21431 w 123825"/>
                  <a:gd name="connsiteY0" fmla="*/ 61436 h 114300"/>
                  <a:gd name="connsiteX1" fmla="*/ 20479 w 123825"/>
                  <a:gd name="connsiteY1" fmla="*/ 68104 h 114300"/>
                  <a:gd name="connsiteX2" fmla="*/ 59531 w 123825"/>
                  <a:gd name="connsiteY2" fmla="*/ 107156 h 114300"/>
                  <a:gd name="connsiteX3" fmla="*/ 98584 w 123825"/>
                  <a:gd name="connsiteY3" fmla="*/ 68104 h 114300"/>
                  <a:gd name="connsiteX4" fmla="*/ 91916 w 123825"/>
                  <a:gd name="connsiteY4" fmla="*/ 46196 h 114300"/>
                  <a:gd name="connsiteX5" fmla="*/ 92869 w 123825"/>
                  <a:gd name="connsiteY5" fmla="*/ 46196 h 114300"/>
                  <a:gd name="connsiteX6" fmla="*/ 109061 w 123825"/>
                  <a:gd name="connsiteY6" fmla="*/ 30004 h 114300"/>
                  <a:gd name="connsiteX7" fmla="*/ 109061 w 123825"/>
                  <a:gd name="connsiteY7" fmla="*/ 27146 h 114300"/>
                  <a:gd name="connsiteX8" fmla="*/ 116681 w 123825"/>
                  <a:gd name="connsiteY8" fmla="*/ 17621 h 114300"/>
                  <a:gd name="connsiteX9" fmla="*/ 106204 w 123825"/>
                  <a:gd name="connsiteY9" fmla="*/ 7144 h 114300"/>
                  <a:gd name="connsiteX10" fmla="*/ 96679 w 123825"/>
                  <a:gd name="connsiteY10" fmla="*/ 13811 h 114300"/>
                  <a:gd name="connsiteX11" fmla="*/ 92869 w 123825"/>
                  <a:gd name="connsiteY11" fmla="*/ 12859 h 114300"/>
                  <a:gd name="connsiteX12" fmla="*/ 76676 w 123825"/>
                  <a:gd name="connsiteY12" fmla="*/ 29051 h 114300"/>
                  <a:gd name="connsiteX13" fmla="*/ 76676 w 123825"/>
                  <a:gd name="connsiteY13" fmla="*/ 31909 h 114300"/>
                  <a:gd name="connsiteX14" fmla="*/ 59531 w 123825"/>
                  <a:gd name="connsiteY14" fmla="*/ 28099 h 114300"/>
                  <a:gd name="connsiteX15" fmla="*/ 31909 w 123825"/>
                  <a:gd name="connsiteY15" fmla="*/ 39529 h 114300"/>
                  <a:gd name="connsiteX16" fmla="*/ 20479 w 123825"/>
                  <a:gd name="connsiteY16" fmla="*/ 33814 h 114300"/>
                  <a:gd name="connsiteX17" fmla="*/ 7144 w 123825"/>
                  <a:gd name="connsiteY17" fmla="*/ 47149 h 114300"/>
                  <a:gd name="connsiteX18" fmla="*/ 21431 w 123825"/>
                  <a:gd name="connsiteY18" fmla="*/ 61436 h 114300"/>
                  <a:gd name="connsiteX19" fmla="*/ 21431 w 123825"/>
                  <a:gd name="connsiteY19" fmla="*/ 61436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825" h="114300">
                    <a:moveTo>
                      <a:pt x="21431" y="61436"/>
                    </a:moveTo>
                    <a:cubicBezTo>
                      <a:pt x="21431" y="63341"/>
                      <a:pt x="20479" y="66199"/>
                      <a:pt x="20479" y="68104"/>
                    </a:cubicBezTo>
                    <a:cubicBezTo>
                      <a:pt x="20479" y="90011"/>
                      <a:pt x="37624" y="107156"/>
                      <a:pt x="59531" y="107156"/>
                    </a:cubicBezTo>
                    <a:cubicBezTo>
                      <a:pt x="81439" y="107156"/>
                      <a:pt x="98584" y="90011"/>
                      <a:pt x="98584" y="68104"/>
                    </a:cubicBezTo>
                    <a:cubicBezTo>
                      <a:pt x="98584" y="60484"/>
                      <a:pt x="95726" y="52864"/>
                      <a:pt x="91916" y="46196"/>
                    </a:cubicBezTo>
                    <a:cubicBezTo>
                      <a:pt x="91916" y="46196"/>
                      <a:pt x="91916" y="46196"/>
                      <a:pt x="92869" y="46196"/>
                    </a:cubicBezTo>
                    <a:cubicBezTo>
                      <a:pt x="101441" y="46196"/>
                      <a:pt x="109061" y="38576"/>
                      <a:pt x="109061" y="30004"/>
                    </a:cubicBezTo>
                    <a:cubicBezTo>
                      <a:pt x="109061" y="29051"/>
                      <a:pt x="109061" y="28099"/>
                      <a:pt x="109061" y="27146"/>
                    </a:cubicBezTo>
                    <a:cubicBezTo>
                      <a:pt x="112871" y="26194"/>
                      <a:pt x="116681" y="22384"/>
                      <a:pt x="116681" y="17621"/>
                    </a:cubicBezTo>
                    <a:cubicBezTo>
                      <a:pt x="116681" y="11906"/>
                      <a:pt x="111919" y="7144"/>
                      <a:pt x="106204" y="7144"/>
                    </a:cubicBezTo>
                    <a:cubicBezTo>
                      <a:pt x="102394" y="7144"/>
                      <a:pt x="98584" y="10001"/>
                      <a:pt x="96679" y="13811"/>
                    </a:cubicBezTo>
                    <a:cubicBezTo>
                      <a:pt x="95726" y="13811"/>
                      <a:pt x="93821" y="12859"/>
                      <a:pt x="92869" y="12859"/>
                    </a:cubicBezTo>
                    <a:cubicBezTo>
                      <a:pt x="84296" y="12859"/>
                      <a:pt x="76676" y="20479"/>
                      <a:pt x="76676" y="29051"/>
                    </a:cubicBezTo>
                    <a:cubicBezTo>
                      <a:pt x="76676" y="30004"/>
                      <a:pt x="76676" y="30956"/>
                      <a:pt x="76676" y="31909"/>
                    </a:cubicBezTo>
                    <a:cubicBezTo>
                      <a:pt x="71914" y="29051"/>
                      <a:pt x="66199" y="28099"/>
                      <a:pt x="59531" y="28099"/>
                    </a:cubicBezTo>
                    <a:cubicBezTo>
                      <a:pt x="49054" y="28099"/>
                      <a:pt x="39529" y="32861"/>
                      <a:pt x="31909" y="39529"/>
                    </a:cubicBezTo>
                    <a:cubicBezTo>
                      <a:pt x="29051" y="35719"/>
                      <a:pt x="25241" y="33814"/>
                      <a:pt x="20479" y="33814"/>
                    </a:cubicBezTo>
                    <a:cubicBezTo>
                      <a:pt x="12859" y="33814"/>
                      <a:pt x="7144" y="39529"/>
                      <a:pt x="7144" y="47149"/>
                    </a:cubicBezTo>
                    <a:cubicBezTo>
                      <a:pt x="7144" y="54769"/>
                      <a:pt x="14764" y="61436"/>
                      <a:pt x="21431" y="61436"/>
                    </a:cubicBezTo>
                    <a:cubicBezTo>
                      <a:pt x="21431" y="61436"/>
                      <a:pt x="21431" y="61436"/>
                      <a:pt x="21431" y="61436"/>
                    </a:cubicBezTo>
                    <a:close/>
                  </a:path>
                </a:pathLst>
              </a:custGeom>
              <a:grpFill/>
              <a:ln w="9525"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9E6B3CF6-2811-4E64-AB8C-1BCEBC432F0D}"/>
                  </a:ext>
                </a:extLst>
              </p:cNvPr>
              <p:cNvSpPr/>
              <p:nvPr/>
            </p:nvSpPr>
            <p:spPr>
              <a:xfrm>
                <a:off x="5687854" y="3799046"/>
                <a:ext cx="28575" cy="28575"/>
              </a:xfrm>
              <a:custGeom>
                <a:avLst/>
                <a:gdLst>
                  <a:gd name="connsiteX0" fmla="*/ 24289 w 28575"/>
                  <a:gd name="connsiteY0" fmla="*/ 15716 h 28575"/>
                  <a:gd name="connsiteX1" fmla="*/ 15716 w 28575"/>
                  <a:gd name="connsiteY1" fmla="*/ 24289 h 28575"/>
                  <a:gd name="connsiteX2" fmla="*/ 7144 w 28575"/>
                  <a:gd name="connsiteY2" fmla="*/ 15716 h 28575"/>
                  <a:gd name="connsiteX3" fmla="*/ 15716 w 28575"/>
                  <a:gd name="connsiteY3" fmla="*/ 7144 h 28575"/>
                  <a:gd name="connsiteX4" fmla="*/ 24289 w 28575"/>
                  <a:gd name="connsiteY4" fmla="*/ 15716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4289" y="15716"/>
                    </a:moveTo>
                    <a:cubicBezTo>
                      <a:pt x="24289" y="20451"/>
                      <a:pt x="20451" y="24289"/>
                      <a:pt x="15716" y="24289"/>
                    </a:cubicBezTo>
                    <a:cubicBezTo>
                      <a:pt x="10982" y="24289"/>
                      <a:pt x="7144" y="20451"/>
                      <a:pt x="7144" y="15716"/>
                    </a:cubicBezTo>
                    <a:cubicBezTo>
                      <a:pt x="7144" y="10982"/>
                      <a:pt x="10982" y="7144"/>
                      <a:pt x="15716" y="7144"/>
                    </a:cubicBezTo>
                    <a:cubicBezTo>
                      <a:pt x="20451" y="7144"/>
                      <a:pt x="24289" y="10982"/>
                      <a:pt x="24289" y="15716"/>
                    </a:cubicBezTo>
                    <a:close/>
                  </a:path>
                </a:pathLst>
              </a:custGeom>
              <a:grp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B4A18E7B-6A5E-439A-950C-D24B1A57FFC6}"/>
                  </a:ext>
                </a:extLst>
              </p:cNvPr>
              <p:cNvSpPr/>
              <p:nvPr/>
            </p:nvSpPr>
            <p:spPr>
              <a:xfrm>
                <a:off x="5623084" y="3319939"/>
                <a:ext cx="38100" cy="38100"/>
              </a:xfrm>
              <a:custGeom>
                <a:avLst/>
                <a:gdLst>
                  <a:gd name="connsiteX0" fmla="*/ 23336 w 38100"/>
                  <a:gd name="connsiteY0" fmla="*/ 39529 h 38100"/>
                  <a:gd name="connsiteX1" fmla="*/ 39529 w 38100"/>
                  <a:gd name="connsiteY1" fmla="*/ 23336 h 38100"/>
                  <a:gd name="connsiteX2" fmla="*/ 23336 w 38100"/>
                  <a:gd name="connsiteY2" fmla="*/ 7144 h 38100"/>
                  <a:gd name="connsiteX3" fmla="*/ 7144 w 38100"/>
                  <a:gd name="connsiteY3" fmla="*/ 23336 h 38100"/>
                  <a:gd name="connsiteX4" fmla="*/ 23336 w 38100"/>
                  <a:gd name="connsiteY4" fmla="*/ 39529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3336" y="39529"/>
                    </a:moveTo>
                    <a:cubicBezTo>
                      <a:pt x="31909" y="39529"/>
                      <a:pt x="39529" y="31909"/>
                      <a:pt x="39529" y="23336"/>
                    </a:cubicBezTo>
                    <a:cubicBezTo>
                      <a:pt x="39529" y="14764"/>
                      <a:pt x="31909" y="7144"/>
                      <a:pt x="23336" y="7144"/>
                    </a:cubicBezTo>
                    <a:cubicBezTo>
                      <a:pt x="14764" y="7144"/>
                      <a:pt x="7144" y="14764"/>
                      <a:pt x="7144" y="23336"/>
                    </a:cubicBezTo>
                    <a:cubicBezTo>
                      <a:pt x="8096" y="31909"/>
                      <a:pt x="14764" y="39529"/>
                      <a:pt x="23336" y="39529"/>
                    </a:cubicBezTo>
                    <a:close/>
                  </a:path>
                </a:pathLst>
              </a:custGeom>
              <a:grp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B8EE48EF-3528-49E6-BE95-FD71748CB1DB}"/>
                  </a:ext>
                </a:extLst>
              </p:cNvPr>
              <p:cNvSpPr/>
              <p:nvPr/>
            </p:nvSpPr>
            <p:spPr>
              <a:xfrm>
                <a:off x="5570696" y="3153251"/>
                <a:ext cx="38100" cy="38100"/>
              </a:xfrm>
              <a:custGeom>
                <a:avLst/>
                <a:gdLst>
                  <a:gd name="connsiteX0" fmla="*/ 22384 w 38100"/>
                  <a:gd name="connsiteY0" fmla="*/ 37624 h 38100"/>
                  <a:gd name="connsiteX1" fmla="*/ 37624 w 38100"/>
                  <a:gd name="connsiteY1" fmla="*/ 22384 h 38100"/>
                  <a:gd name="connsiteX2" fmla="*/ 22384 w 38100"/>
                  <a:gd name="connsiteY2" fmla="*/ 7144 h 38100"/>
                  <a:gd name="connsiteX3" fmla="*/ 7144 w 38100"/>
                  <a:gd name="connsiteY3" fmla="*/ 22384 h 38100"/>
                  <a:gd name="connsiteX4" fmla="*/ 22384 w 38100"/>
                  <a:gd name="connsiteY4" fmla="*/ 3762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2384" y="37624"/>
                    </a:moveTo>
                    <a:cubicBezTo>
                      <a:pt x="30956" y="37624"/>
                      <a:pt x="37624" y="30956"/>
                      <a:pt x="37624" y="22384"/>
                    </a:cubicBezTo>
                    <a:cubicBezTo>
                      <a:pt x="37624" y="13811"/>
                      <a:pt x="30956" y="7144"/>
                      <a:pt x="22384" y="7144"/>
                    </a:cubicBezTo>
                    <a:cubicBezTo>
                      <a:pt x="13811" y="7144"/>
                      <a:pt x="7144" y="13811"/>
                      <a:pt x="7144" y="22384"/>
                    </a:cubicBezTo>
                    <a:cubicBezTo>
                      <a:pt x="7144" y="30956"/>
                      <a:pt x="13811" y="37624"/>
                      <a:pt x="22384" y="37624"/>
                    </a:cubicBezTo>
                    <a:close/>
                  </a:path>
                </a:pathLst>
              </a:custGeom>
              <a:grp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33F8C2AB-1474-4D19-8F9D-C95FB8620184}"/>
                  </a:ext>
                </a:extLst>
              </p:cNvPr>
              <p:cNvSpPr/>
              <p:nvPr/>
            </p:nvSpPr>
            <p:spPr>
              <a:xfrm>
                <a:off x="5729764" y="3684746"/>
                <a:ext cx="28575" cy="28575"/>
              </a:xfrm>
              <a:custGeom>
                <a:avLst/>
                <a:gdLst>
                  <a:gd name="connsiteX0" fmla="*/ 22384 w 28575"/>
                  <a:gd name="connsiteY0" fmla="*/ 14764 h 28575"/>
                  <a:gd name="connsiteX1" fmla="*/ 14764 w 28575"/>
                  <a:gd name="connsiteY1" fmla="*/ 22384 h 28575"/>
                  <a:gd name="connsiteX2" fmla="*/ 7144 w 28575"/>
                  <a:gd name="connsiteY2" fmla="*/ 14764 h 28575"/>
                  <a:gd name="connsiteX3" fmla="*/ 14764 w 28575"/>
                  <a:gd name="connsiteY3" fmla="*/ 7144 h 28575"/>
                  <a:gd name="connsiteX4" fmla="*/ 22384 w 28575"/>
                  <a:gd name="connsiteY4" fmla="*/ 14764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2384" y="14764"/>
                    </a:moveTo>
                    <a:cubicBezTo>
                      <a:pt x="22384" y="18972"/>
                      <a:pt x="18972" y="22384"/>
                      <a:pt x="14764" y="22384"/>
                    </a:cubicBezTo>
                    <a:cubicBezTo>
                      <a:pt x="10555" y="22384"/>
                      <a:pt x="7144" y="18972"/>
                      <a:pt x="7144" y="14764"/>
                    </a:cubicBezTo>
                    <a:cubicBezTo>
                      <a:pt x="7144" y="10555"/>
                      <a:pt x="10555" y="7144"/>
                      <a:pt x="14764" y="7144"/>
                    </a:cubicBezTo>
                    <a:cubicBezTo>
                      <a:pt x="18972" y="7144"/>
                      <a:pt x="22384" y="10555"/>
                      <a:pt x="22384" y="14764"/>
                    </a:cubicBezTo>
                    <a:close/>
                  </a:path>
                </a:pathLst>
              </a:custGeom>
              <a:grpFill/>
              <a:ln w="9525"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BF8ACD57-7FE0-49D4-95B9-532A99819F8C}"/>
                  </a:ext>
                </a:extLst>
              </p:cNvPr>
              <p:cNvSpPr/>
              <p:nvPr/>
            </p:nvSpPr>
            <p:spPr>
              <a:xfrm>
                <a:off x="6108859" y="3107531"/>
                <a:ext cx="19050" cy="19050"/>
              </a:xfrm>
              <a:custGeom>
                <a:avLst/>
                <a:gdLst>
                  <a:gd name="connsiteX0" fmla="*/ 7144 w 19050"/>
                  <a:gd name="connsiteY0" fmla="*/ 11906 h 19050"/>
                  <a:gd name="connsiteX1" fmla="*/ 11906 w 19050"/>
                  <a:gd name="connsiteY1" fmla="*/ 16669 h 19050"/>
                  <a:gd name="connsiteX2" fmla="*/ 16669 w 19050"/>
                  <a:gd name="connsiteY2" fmla="*/ 11906 h 19050"/>
                  <a:gd name="connsiteX3" fmla="*/ 10954 w 19050"/>
                  <a:gd name="connsiteY3" fmla="*/ 7144 h 19050"/>
                  <a:gd name="connsiteX4" fmla="*/ 7144 w 19050"/>
                  <a:gd name="connsiteY4" fmla="*/ 11906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7144" y="11906"/>
                    </a:moveTo>
                    <a:cubicBezTo>
                      <a:pt x="7144" y="14764"/>
                      <a:pt x="9049" y="16669"/>
                      <a:pt x="11906" y="16669"/>
                    </a:cubicBezTo>
                    <a:cubicBezTo>
                      <a:pt x="14764" y="16669"/>
                      <a:pt x="16669" y="14764"/>
                      <a:pt x="16669" y="11906"/>
                    </a:cubicBezTo>
                    <a:cubicBezTo>
                      <a:pt x="16669" y="9049"/>
                      <a:pt x="13811" y="7144"/>
                      <a:pt x="10954" y="7144"/>
                    </a:cubicBezTo>
                    <a:cubicBezTo>
                      <a:pt x="9049" y="7144"/>
                      <a:pt x="7144" y="9049"/>
                      <a:pt x="7144" y="11906"/>
                    </a:cubicBezTo>
                    <a:close/>
                  </a:path>
                </a:pathLst>
              </a:custGeom>
              <a:grpFill/>
              <a:ln w="9525"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4584B00E-9B2D-4C79-8631-88F8B901AF16}"/>
                  </a:ext>
                </a:extLst>
              </p:cNvPr>
              <p:cNvSpPr/>
              <p:nvPr/>
            </p:nvSpPr>
            <p:spPr>
              <a:xfrm>
                <a:off x="5836444" y="4114324"/>
                <a:ext cx="57150" cy="47625"/>
              </a:xfrm>
              <a:custGeom>
                <a:avLst/>
                <a:gdLst>
                  <a:gd name="connsiteX0" fmla="*/ 47149 w 57150"/>
                  <a:gd name="connsiteY0" fmla="*/ 43339 h 47625"/>
                  <a:gd name="connsiteX1" fmla="*/ 57626 w 57150"/>
                  <a:gd name="connsiteY1" fmla="*/ 32861 h 47625"/>
                  <a:gd name="connsiteX2" fmla="*/ 48101 w 57150"/>
                  <a:gd name="connsiteY2" fmla="*/ 22384 h 47625"/>
                  <a:gd name="connsiteX3" fmla="*/ 30004 w 57150"/>
                  <a:gd name="connsiteY3" fmla="*/ 7144 h 47625"/>
                  <a:gd name="connsiteX4" fmla="*/ 11906 w 57150"/>
                  <a:gd name="connsiteY4" fmla="*/ 25241 h 47625"/>
                  <a:gd name="connsiteX5" fmla="*/ 11906 w 57150"/>
                  <a:gd name="connsiteY5" fmla="*/ 28099 h 47625"/>
                  <a:gd name="connsiteX6" fmla="*/ 7144 w 57150"/>
                  <a:gd name="connsiteY6" fmla="*/ 33814 h 47625"/>
                  <a:gd name="connsiteX7" fmla="*/ 12859 w 57150"/>
                  <a:gd name="connsiteY7" fmla="*/ 39529 h 47625"/>
                  <a:gd name="connsiteX8" fmla="*/ 16669 w 57150"/>
                  <a:gd name="connsiteY8" fmla="*/ 37624 h 47625"/>
                  <a:gd name="connsiteX9" fmla="*/ 29051 w 57150"/>
                  <a:gd name="connsiteY9" fmla="*/ 42386 h 47625"/>
                  <a:gd name="connsiteX10" fmla="*/ 39529 w 57150"/>
                  <a:gd name="connsiteY10" fmla="*/ 38576 h 47625"/>
                  <a:gd name="connsiteX11" fmla="*/ 47149 w 57150"/>
                  <a:gd name="connsiteY11" fmla="*/ 4333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150" h="47625">
                    <a:moveTo>
                      <a:pt x="47149" y="43339"/>
                    </a:moveTo>
                    <a:cubicBezTo>
                      <a:pt x="52864" y="43339"/>
                      <a:pt x="57626" y="38576"/>
                      <a:pt x="57626" y="32861"/>
                    </a:cubicBezTo>
                    <a:cubicBezTo>
                      <a:pt x="57626" y="27146"/>
                      <a:pt x="52864" y="22384"/>
                      <a:pt x="48101" y="22384"/>
                    </a:cubicBezTo>
                    <a:cubicBezTo>
                      <a:pt x="46196" y="13811"/>
                      <a:pt x="39529" y="7144"/>
                      <a:pt x="30004" y="7144"/>
                    </a:cubicBezTo>
                    <a:cubicBezTo>
                      <a:pt x="19526" y="7144"/>
                      <a:pt x="11906" y="15716"/>
                      <a:pt x="11906" y="25241"/>
                    </a:cubicBezTo>
                    <a:cubicBezTo>
                      <a:pt x="11906" y="26194"/>
                      <a:pt x="11906" y="27146"/>
                      <a:pt x="11906" y="28099"/>
                    </a:cubicBezTo>
                    <a:cubicBezTo>
                      <a:pt x="9049" y="29051"/>
                      <a:pt x="7144" y="30956"/>
                      <a:pt x="7144" y="33814"/>
                    </a:cubicBezTo>
                    <a:cubicBezTo>
                      <a:pt x="7144" y="37624"/>
                      <a:pt x="10001" y="39529"/>
                      <a:pt x="12859" y="39529"/>
                    </a:cubicBezTo>
                    <a:cubicBezTo>
                      <a:pt x="14764" y="39529"/>
                      <a:pt x="15716" y="38576"/>
                      <a:pt x="16669" y="37624"/>
                    </a:cubicBezTo>
                    <a:cubicBezTo>
                      <a:pt x="19526" y="40481"/>
                      <a:pt x="24289" y="42386"/>
                      <a:pt x="29051" y="42386"/>
                    </a:cubicBezTo>
                    <a:cubicBezTo>
                      <a:pt x="32861" y="42386"/>
                      <a:pt x="36671" y="41434"/>
                      <a:pt x="39529" y="38576"/>
                    </a:cubicBezTo>
                    <a:cubicBezTo>
                      <a:pt x="42386" y="42386"/>
                      <a:pt x="44291" y="43339"/>
                      <a:pt x="47149" y="43339"/>
                    </a:cubicBezTo>
                    <a:close/>
                  </a:path>
                </a:pathLst>
              </a:custGeom>
              <a:grpFill/>
              <a:ln w="9525"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5A04A99C-43CA-4D08-9874-917C9491BAFB}"/>
                  </a:ext>
                </a:extLst>
              </p:cNvPr>
              <p:cNvSpPr/>
              <p:nvPr/>
            </p:nvSpPr>
            <p:spPr>
              <a:xfrm>
                <a:off x="5983129" y="4121944"/>
                <a:ext cx="28575" cy="28575"/>
              </a:xfrm>
              <a:custGeom>
                <a:avLst/>
                <a:gdLst>
                  <a:gd name="connsiteX0" fmla="*/ 17621 w 28575"/>
                  <a:gd name="connsiteY0" fmla="*/ 7144 h 28575"/>
                  <a:gd name="connsiteX1" fmla="*/ 7144 w 28575"/>
                  <a:gd name="connsiteY1" fmla="*/ 17621 h 28575"/>
                  <a:gd name="connsiteX2" fmla="*/ 17621 w 28575"/>
                  <a:gd name="connsiteY2" fmla="*/ 28099 h 28575"/>
                  <a:gd name="connsiteX3" fmla="*/ 28099 w 28575"/>
                  <a:gd name="connsiteY3" fmla="*/ 17621 h 28575"/>
                  <a:gd name="connsiteX4" fmla="*/ 17621 w 28575"/>
                  <a:gd name="connsiteY4" fmla="*/ 7144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7621" y="7144"/>
                    </a:moveTo>
                    <a:cubicBezTo>
                      <a:pt x="11906" y="7144"/>
                      <a:pt x="7144" y="11906"/>
                      <a:pt x="7144" y="17621"/>
                    </a:cubicBezTo>
                    <a:cubicBezTo>
                      <a:pt x="7144" y="23336"/>
                      <a:pt x="11906" y="28099"/>
                      <a:pt x="17621" y="28099"/>
                    </a:cubicBezTo>
                    <a:cubicBezTo>
                      <a:pt x="23336" y="28099"/>
                      <a:pt x="28099" y="23336"/>
                      <a:pt x="28099" y="17621"/>
                    </a:cubicBezTo>
                    <a:cubicBezTo>
                      <a:pt x="28099" y="11906"/>
                      <a:pt x="23336" y="7144"/>
                      <a:pt x="17621" y="7144"/>
                    </a:cubicBezTo>
                    <a:close/>
                  </a:path>
                </a:pathLst>
              </a:custGeom>
              <a:grpFill/>
              <a:ln w="9525"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2969B493-6C24-468D-B452-55DCC56546F6}"/>
                  </a:ext>
                </a:extLst>
              </p:cNvPr>
              <p:cNvSpPr/>
              <p:nvPr/>
            </p:nvSpPr>
            <p:spPr>
              <a:xfrm>
                <a:off x="5954554" y="4154329"/>
                <a:ext cx="47625" cy="38100"/>
              </a:xfrm>
              <a:custGeom>
                <a:avLst/>
                <a:gdLst>
                  <a:gd name="connsiteX0" fmla="*/ 7144 w 47625"/>
                  <a:gd name="connsiteY0" fmla="*/ 22384 h 38100"/>
                  <a:gd name="connsiteX1" fmla="*/ 13811 w 47625"/>
                  <a:gd name="connsiteY1" fmla="*/ 29051 h 38100"/>
                  <a:gd name="connsiteX2" fmla="*/ 20479 w 47625"/>
                  <a:gd name="connsiteY2" fmla="*/ 24289 h 38100"/>
                  <a:gd name="connsiteX3" fmla="*/ 31909 w 47625"/>
                  <a:gd name="connsiteY3" fmla="*/ 31909 h 38100"/>
                  <a:gd name="connsiteX4" fmla="*/ 44291 w 47625"/>
                  <a:gd name="connsiteY4" fmla="*/ 19526 h 38100"/>
                  <a:gd name="connsiteX5" fmla="*/ 31909 w 47625"/>
                  <a:gd name="connsiteY5" fmla="*/ 7144 h 38100"/>
                  <a:gd name="connsiteX6" fmla="*/ 19526 w 47625"/>
                  <a:gd name="connsiteY6" fmla="*/ 18574 h 38100"/>
                  <a:gd name="connsiteX7" fmla="*/ 13811 w 47625"/>
                  <a:gd name="connsiteY7" fmla="*/ 15716 h 38100"/>
                  <a:gd name="connsiteX8" fmla="*/ 7144 w 47625"/>
                  <a:gd name="connsiteY8" fmla="*/ 22384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38100">
                    <a:moveTo>
                      <a:pt x="7144" y="22384"/>
                    </a:moveTo>
                    <a:cubicBezTo>
                      <a:pt x="7144" y="26194"/>
                      <a:pt x="10001" y="29051"/>
                      <a:pt x="13811" y="29051"/>
                    </a:cubicBezTo>
                    <a:cubicBezTo>
                      <a:pt x="16669" y="29051"/>
                      <a:pt x="19526" y="27146"/>
                      <a:pt x="20479" y="24289"/>
                    </a:cubicBezTo>
                    <a:cubicBezTo>
                      <a:pt x="22384" y="28099"/>
                      <a:pt x="26194" y="31909"/>
                      <a:pt x="31909" y="31909"/>
                    </a:cubicBezTo>
                    <a:cubicBezTo>
                      <a:pt x="38576" y="31909"/>
                      <a:pt x="44291" y="26194"/>
                      <a:pt x="44291" y="19526"/>
                    </a:cubicBezTo>
                    <a:cubicBezTo>
                      <a:pt x="44291" y="12859"/>
                      <a:pt x="38576" y="7144"/>
                      <a:pt x="31909" y="7144"/>
                    </a:cubicBezTo>
                    <a:cubicBezTo>
                      <a:pt x="25241" y="7144"/>
                      <a:pt x="20479" y="11906"/>
                      <a:pt x="19526" y="18574"/>
                    </a:cubicBezTo>
                    <a:cubicBezTo>
                      <a:pt x="18574" y="16669"/>
                      <a:pt x="16669" y="15716"/>
                      <a:pt x="13811" y="15716"/>
                    </a:cubicBezTo>
                    <a:cubicBezTo>
                      <a:pt x="10001" y="14764"/>
                      <a:pt x="7144" y="18574"/>
                      <a:pt x="7144" y="22384"/>
                    </a:cubicBezTo>
                    <a:close/>
                  </a:path>
                </a:pathLst>
              </a:custGeom>
              <a:grpFill/>
              <a:ln w="9525"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84F31F34-3E80-44CB-8583-7F8A36CFF232}"/>
                  </a:ext>
                </a:extLst>
              </p:cNvPr>
              <p:cNvSpPr/>
              <p:nvPr/>
            </p:nvSpPr>
            <p:spPr>
              <a:xfrm>
                <a:off x="5931694" y="3744754"/>
                <a:ext cx="28575" cy="38100"/>
              </a:xfrm>
              <a:custGeom>
                <a:avLst/>
                <a:gdLst>
                  <a:gd name="connsiteX0" fmla="*/ 18574 w 28575"/>
                  <a:gd name="connsiteY0" fmla="*/ 30956 h 38100"/>
                  <a:gd name="connsiteX1" fmla="*/ 30004 w 28575"/>
                  <a:gd name="connsiteY1" fmla="*/ 18574 h 38100"/>
                  <a:gd name="connsiteX2" fmla="*/ 18574 w 28575"/>
                  <a:gd name="connsiteY2" fmla="*/ 7144 h 38100"/>
                  <a:gd name="connsiteX3" fmla="*/ 7144 w 28575"/>
                  <a:gd name="connsiteY3" fmla="*/ 18574 h 38100"/>
                  <a:gd name="connsiteX4" fmla="*/ 18574 w 28575"/>
                  <a:gd name="connsiteY4" fmla="*/ 3095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38100">
                    <a:moveTo>
                      <a:pt x="18574" y="30956"/>
                    </a:moveTo>
                    <a:cubicBezTo>
                      <a:pt x="25241" y="30956"/>
                      <a:pt x="30004" y="25241"/>
                      <a:pt x="30004" y="18574"/>
                    </a:cubicBezTo>
                    <a:cubicBezTo>
                      <a:pt x="30004" y="11906"/>
                      <a:pt x="24289" y="7144"/>
                      <a:pt x="18574" y="7144"/>
                    </a:cubicBezTo>
                    <a:cubicBezTo>
                      <a:pt x="11906" y="7144"/>
                      <a:pt x="7144" y="12859"/>
                      <a:pt x="7144" y="18574"/>
                    </a:cubicBezTo>
                    <a:cubicBezTo>
                      <a:pt x="7144" y="24289"/>
                      <a:pt x="11906" y="30956"/>
                      <a:pt x="18574" y="30956"/>
                    </a:cubicBezTo>
                    <a:close/>
                  </a:path>
                </a:pathLst>
              </a:custGeom>
              <a:grpFill/>
              <a:ln w="9525"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9F223C60-188E-49FC-AD18-163F73C3EAB5}"/>
                  </a:ext>
                </a:extLst>
              </p:cNvPr>
              <p:cNvSpPr/>
              <p:nvPr/>
            </p:nvSpPr>
            <p:spPr>
              <a:xfrm>
                <a:off x="5695474" y="3153251"/>
                <a:ext cx="28575" cy="28575"/>
              </a:xfrm>
              <a:custGeom>
                <a:avLst/>
                <a:gdLst>
                  <a:gd name="connsiteX0" fmla="*/ 16669 w 28575"/>
                  <a:gd name="connsiteY0" fmla="*/ 26194 h 28575"/>
                  <a:gd name="connsiteX1" fmla="*/ 26194 w 28575"/>
                  <a:gd name="connsiteY1" fmla="*/ 16669 h 28575"/>
                  <a:gd name="connsiteX2" fmla="*/ 16669 w 28575"/>
                  <a:gd name="connsiteY2" fmla="*/ 7144 h 28575"/>
                  <a:gd name="connsiteX3" fmla="*/ 7144 w 28575"/>
                  <a:gd name="connsiteY3" fmla="*/ 16669 h 28575"/>
                  <a:gd name="connsiteX4" fmla="*/ 16669 w 28575"/>
                  <a:gd name="connsiteY4" fmla="*/ 26194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6669" y="26194"/>
                    </a:moveTo>
                    <a:cubicBezTo>
                      <a:pt x="22384" y="26194"/>
                      <a:pt x="26194" y="21431"/>
                      <a:pt x="26194" y="16669"/>
                    </a:cubicBezTo>
                    <a:cubicBezTo>
                      <a:pt x="26194" y="10954"/>
                      <a:pt x="21431" y="7144"/>
                      <a:pt x="16669" y="7144"/>
                    </a:cubicBezTo>
                    <a:cubicBezTo>
                      <a:pt x="10954" y="7144"/>
                      <a:pt x="7144" y="11906"/>
                      <a:pt x="7144" y="16669"/>
                    </a:cubicBezTo>
                    <a:cubicBezTo>
                      <a:pt x="7144" y="22384"/>
                      <a:pt x="11906" y="26194"/>
                      <a:pt x="16669" y="26194"/>
                    </a:cubicBezTo>
                    <a:close/>
                  </a:path>
                </a:pathLst>
              </a:custGeom>
              <a:grpFill/>
              <a:ln w="9525"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504AF744-B4F5-4145-A113-D9876D5CFC10}"/>
                  </a:ext>
                </a:extLst>
              </p:cNvPr>
              <p:cNvSpPr/>
              <p:nvPr/>
            </p:nvSpPr>
            <p:spPr>
              <a:xfrm>
                <a:off x="5837396" y="2713196"/>
                <a:ext cx="19050" cy="19050"/>
              </a:xfrm>
              <a:custGeom>
                <a:avLst/>
                <a:gdLst>
                  <a:gd name="connsiteX0" fmla="*/ 13811 w 19050"/>
                  <a:gd name="connsiteY0" fmla="*/ 20479 h 19050"/>
                  <a:gd name="connsiteX1" fmla="*/ 20479 w 19050"/>
                  <a:gd name="connsiteY1" fmla="*/ 13811 h 19050"/>
                  <a:gd name="connsiteX2" fmla="*/ 13811 w 19050"/>
                  <a:gd name="connsiteY2" fmla="*/ 7144 h 19050"/>
                  <a:gd name="connsiteX3" fmla="*/ 7144 w 19050"/>
                  <a:gd name="connsiteY3" fmla="*/ 13811 h 19050"/>
                  <a:gd name="connsiteX4" fmla="*/ 13811 w 19050"/>
                  <a:gd name="connsiteY4" fmla="*/ 20479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3811" y="20479"/>
                    </a:moveTo>
                    <a:cubicBezTo>
                      <a:pt x="17621" y="20479"/>
                      <a:pt x="20479" y="17621"/>
                      <a:pt x="20479" y="13811"/>
                    </a:cubicBezTo>
                    <a:cubicBezTo>
                      <a:pt x="20479" y="10001"/>
                      <a:pt x="17621" y="7144"/>
                      <a:pt x="13811" y="7144"/>
                    </a:cubicBezTo>
                    <a:cubicBezTo>
                      <a:pt x="10001" y="7144"/>
                      <a:pt x="7144" y="10001"/>
                      <a:pt x="7144" y="13811"/>
                    </a:cubicBezTo>
                    <a:cubicBezTo>
                      <a:pt x="7144" y="17621"/>
                      <a:pt x="10001" y="20479"/>
                      <a:pt x="13811" y="20479"/>
                    </a:cubicBezTo>
                    <a:close/>
                  </a:path>
                </a:pathLst>
              </a:custGeom>
              <a:grpFill/>
              <a:ln w="9525"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F50B4BB1-5D23-49BD-82BC-35D3DCDFE246}"/>
                  </a:ext>
                </a:extLst>
              </p:cNvPr>
              <p:cNvSpPr/>
              <p:nvPr/>
            </p:nvSpPr>
            <p:spPr>
              <a:xfrm>
                <a:off x="6235541" y="2754154"/>
                <a:ext cx="38100" cy="38100"/>
              </a:xfrm>
              <a:custGeom>
                <a:avLst/>
                <a:gdLst>
                  <a:gd name="connsiteX0" fmla="*/ 31909 w 38100"/>
                  <a:gd name="connsiteY0" fmla="*/ 19526 h 38100"/>
                  <a:gd name="connsiteX1" fmla="*/ 19526 w 38100"/>
                  <a:gd name="connsiteY1" fmla="*/ 7144 h 38100"/>
                  <a:gd name="connsiteX2" fmla="*/ 7144 w 38100"/>
                  <a:gd name="connsiteY2" fmla="*/ 19526 h 38100"/>
                  <a:gd name="connsiteX3" fmla="*/ 19526 w 38100"/>
                  <a:gd name="connsiteY3" fmla="*/ 31909 h 38100"/>
                  <a:gd name="connsiteX4" fmla="*/ 31909 w 38100"/>
                  <a:gd name="connsiteY4" fmla="*/ 1952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1909" y="19526"/>
                    </a:moveTo>
                    <a:cubicBezTo>
                      <a:pt x="31909" y="12859"/>
                      <a:pt x="26194" y="7144"/>
                      <a:pt x="19526" y="7144"/>
                    </a:cubicBezTo>
                    <a:cubicBezTo>
                      <a:pt x="12859" y="7144"/>
                      <a:pt x="7144" y="12859"/>
                      <a:pt x="7144" y="19526"/>
                    </a:cubicBezTo>
                    <a:cubicBezTo>
                      <a:pt x="7144" y="26194"/>
                      <a:pt x="12859" y="31909"/>
                      <a:pt x="19526" y="31909"/>
                    </a:cubicBezTo>
                    <a:cubicBezTo>
                      <a:pt x="26194" y="31909"/>
                      <a:pt x="31909" y="26194"/>
                      <a:pt x="31909" y="19526"/>
                    </a:cubicBezTo>
                    <a:close/>
                  </a:path>
                </a:pathLst>
              </a:custGeom>
              <a:grpFill/>
              <a:ln w="9525"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B0E5B37A-1BB2-472D-B176-ABE1116F2440}"/>
                  </a:ext>
                </a:extLst>
              </p:cNvPr>
              <p:cNvSpPr/>
              <p:nvPr/>
            </p:nvSpPr>
            <p:spPr>
              <a:xfrm>
                <a:off x="5832634" y="2902744"/>
                <a:ext cx="19050" cy="19050"/>
              </a:xfrm>
              <a:custGeom>
                <a:avLst/>
                <a:gdLst>
                  <a:gd name="connsiteX0" fmla="*/ 12859 w 19050"/>
                  <a:gd name="connsiteY0" fmla="*/ 18574 h 19050"/>
                  <a:gd name="connsiteX1" fmla="*/ 18574 w 19050"/>
                  <a:gd name="connsiteY1" fmla="*/ 12859 h 19050"/>
                  <a:gd name="connsiteX2" fmla="*/ 12859 w 19050"/>
                  <a:gd name="connsiteY2" fmla="*/ 7144 h 19050"/>
                  <a:gd name="connsiteX3" fmla="*/ 7144 w 19050"/>
                  <a:gd name="connsiteY3" fmla="*/ 12859 h 19050"/>
                  <a:gd name="connsiteX4" fmla="*/ 12859 w 19050"/>
                  <a:gd name="connsiteY4" fmla="*/ 18574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2859" y="18574"/>
                    </a:moveTo>
                    <a:cubicBezTo>
                      <a:pt x="15716" y="18574"/>
                      <a:pt x="18574" y="15716"/>
                      <a:pt x="18574" y="12859"/>
                    </a:cubicBezTo>
                    <a:cubicBezTo>
                      <a:pt x="18574" y="10001"/>
                      <a:pt x="15716" y="7144"/>
                      <a:pt x="12859" y="7144"/>
                    </a:cubicBezTo>
                    <a:cubicBezTo>
                      <a:pt x="10001" y="7144"/>
                      <a:pt x="7144" y="10001"/>
                      <a:pt x="7144" y="12859"/>
                    </a:cubicBezTo>
                    <a:cubicBezTo>
                      <a:pt x="7144" y="16669"/>
                      <a:pt x="9049" y="18574"/>
                      <a:pt x="12859" y="18574"/>
                    </a:cubicBezTo>
                    <a:close/>
                  </a:path>
                </a:pathLst>
              </a:custGeom>
              <a:grpFill/>
              <a:ln w="9525"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B13B717E-9DBC-49FF-912A-C05DAA8992AF}"/>
                  </a:ext>
                </a:extLst>
              </p:cNvPr>
              <p:cNvSpPr/>
              <p:nvPr/>
            </p:nvSpPr>
            <p:spPr>
              <a:xfrm>
                <a:off x="5535454" y="3318034"/>
                <a:ext cx="66675" cy="66675"/>
              </a:xfrm>
              <a:custGeom>
                <a:avLst/>
                <a:gdLst>
                  <a:gd name="connsiteX0" fmla="*/ 62389 w 66675"/>
                  <a:gd name="connsiteY0" fmla="*/ 34766 h 66675"/>
                  <a:gd name="connsiteX1" fmla="*/ 34766 w 66675"/>
                  <a:gd name="connsiteY1" fmla="*/ 62389 h 66675"/>
                  <a:gd name="connsiteX2" fmla="*/ 7144 w 66675"/>
                  <a:gd name="connsiteY2" fmla="*/ 34766 h 66675"/>
                  <a:gd name="connsiteX3" fmla="*/ 34766 w 66675"/>
                  <a:gd name="connsiteY3" fmla="*/ 7144 h 66675"/>
                  <a:gd name="connsiteX4" fmla="*/ 62389 w 66675"/>
                  <a:gd name="connsiteY4" fmla="*/ 34766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6675">
                    <a:moveTo>
                      <a:pt x="62389" y="34766"/>
                    </a:moveTo>
                    <a:cubicBezTo>
                      <a:pt x="62389" y="50022"/>
                      <a:pt x="50022" y="62389"/>
                      <a:pt x="34766" y="62389"/>
                    </a:cubicBezTo>
                    <a:cubicBezTo>
                      <a:pt x="19511" y="62389"/>
                      <a:pt x="7144" y="50022"/>
                      <a:pt x="7144" y="34766"/>
                    </a:cubicBezTo>
                    <a:cubicBezTo>
                      <a:pt x="7144" y="19511"/>
                      <a:pt x="19511" y="7144"/>
                      <a:pt x="34766" y="7144"/>
                    </a:cubicBezTo>
                    <a:cubicBezTo>
                      <a:pt x="50022" y="7144"/>
                      <a:pt x="62389" y="19511"/>
                      <a:pt x="62389" y="34766"/>
                    </a:cubicBezTo>
                    <a:close/>
                  </a:path>
                </a:pathLst>
              </a:custGeom>
              <a:grpFill/>
              <a:ln w="9525"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1EFE2F74-B037-4337-8DE2-3000F7280576}"/>
                  </a:ext>
                </a:extLst>
              </p:cNvPr>
              <p:cNvSpPr/>
              <p:nvPr/>
            </p:nvSpPr>
            <p:spPr>
              <a:xfrm>
                <a:off x="5367814" y="3373279"/>
                <a:ext cx="19050" cy="19050"/>
              </a:xfrm>
              <a:custGeom>
                <a:avLst/>
                <a:gdLst>
                  <a:gd name="connsiteX0" fmla="*/ 11906 w 19050"/>
                  <a:gd name="connsiteY0" fmla="*/ 16669 h 19050"/>
                  <a:gd name="connsiteX1" fmla="*/ 16669 w 19050"/>
                  <a:gd name="connsiteY1" fmla="*/ 11906 h 19050"/>
                  <a:gd name="connsiteX2" fmla="*/ 11906 w 19050"/>
                  <a:gd name="connsiteY2" fmla="*/ 7144 h 19050"/>
                  <a:gd name="connsiteX3" fmla="*/ 7144 w 19050"/>
                  <a:gd name="connsiteY3" fmla="*/ 11906 h 19050"/>
                  <a:gd name="connsiteX4" fmla="*/ 11906 w 19050"/>
                  <a:gd name="connsiteY4" fmla="*/ 16669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1906" y="16669"/>
                    </a:moveTo>
                    <a:cubicBezTo>
                      <a:pt x="14764" y="16669"/>
                      <a:pt x="16669" y="14764"/>
                      <a:pt x="16669" y="11906"/>
                    </a:cubicBezTo>
                    <a:cubicBezTo>
                      <a:pt x="16669" y="9049"/>
                      <a:pt x="14764" y="7144"/>
                      <a:pt x="11906" y="7144"/>
                    </a:cubicBezTo>
                    <a:cubicBezTo>
                      <a:pt x="9049" y="7144"/>
                      <a:pt x="7144" y="9049"/>
                      <a:pt x="7144" y="11906"/>
                    </a:cubicBezTo>
                    <a:cubicBezTo>
                      <a:pt x="7144" y="14764"/>
                      <a:pt x="10001" y="16669"/>
                      <a:pt x="11906" y="16669"/>
                    </a:cubicBezTo>
                    <a:close/>
                  </a:path>
                </a:pathLst>
              </a:custGeom>
              <a:grpFill/>
              <a:ln w="9525"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6F5B4E6C-5E23-4AAC-9C68-CA945BA9C2F2}"/>
                  </a:ext>
                </a:extLst>
              </p:cNvPr>
              <p:cNvSpPr/>
              <p:nvPr/>
            </p:nvSpPr>
            <p:spPr>
              <a:xfrm>
                <a:off x="5561171" y="3803809"/>
                <a:ext cx="76200" cy="85725"/>
              </a:xfrm>
              <a:custGeom>
                <a:avLst/>
                <a:gdLst>
                  <a:gd name="connsiteX0" fmla="*/ 62389 w 76200"/>
                  <a:gd name="connsiteY0" fmla="*/ 18574 h 85725"/>
                  <a:gd name="connsiteX1" fmla="*/ 50959 w 76200"/>
                  <a:gd name="connsiteY1" fmla="*/ 7144 h 85725"/>
                  <a:gd name="connsiteX2" fmla="*/ 39529 w 76200"/>
                  <a:gd name="connsiteY2" fmla="*/ 18574 h 85725"/>
                  <a:gd name="connsiteX3" fmla="*/ 39529 w 76200"/>
                  <a:gd name="connsiteY3" fmla="*/ 19526 h 85725"/>
                  <a:gd name="connsiteX4" fmla="*/ 38576 w 76200"/>
                  <a:gd name="connsiteY4" fmla="*/ 19526 h 85725"/>
                  <a:gd name="connsiteX5" fmla="*/ 7144 w 76200"/>
                  <a:gd name="connsiteY5" fmla="*/ 50959 h 85725"/>
                  <a:gd name="connsiteX6" fmla="*/ 38576 w 76200"/>
                  <a:gd name="connsiteY6" fmla="*/ 82391 h 85725"/>
                  <a:gd name="connsiteX7" fmla="*/ 70009 w 76200"/>
                  <a:gd name="connsiteY7" fmla="*/ 50959 h 85725"/>
                  <a:gd name="connsiteX8" fmla="*/ 58579 w 76200"/>
                  <a:gd name="connsiteY8" fmla="*/ 27146 h 85725"/>
                  <a:gd name="connsiteX9" fmla="*/ 62389 w 76200"/>
                  <a:gd name="connsiteY9" fmla="*/ 18574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 h="85725">
                    <a:moveTo>
                      <a:pt x="62389" y="18574"/>
                    </a:moveTo>
                    <a:cubicBezTo>
                      <a:pt x="62389" y="11906"/>
                      <a:pt x="57626" y="7144"/>
                      <a:pt x="50959" y="7144"/>
                    </a:cubicBezTo>
                    <a:cubicBezTo>
                      <a:pt x="44291" y="7144"/>
                      <a:pt x="39529" y="11906"/>
                      <a:pt x="39529" y="18574"/>
                    </a:cubicBezTo>
                    <a:cubicBezTo>
                      <a:pt x="39529" y="18574"/>
                      <a:pt x="39529" y="18574"/>
                      <a:pt x="39529" y="19526"/>
                    </a:cubicBezTo>
                    <a:cubicBezTo>
                      <a:pt x="39529" y="19526"/>
                      <a:pt x="38576" y="19526"/>
                      <a:pt x="38576" y="19526"/>
                    </a:cubicBezTo>
                    <a:cubicBezTo>
                      <a:pt x="21431" y="19526"/>
                      <a:pt x="7144" y="33814"/>
                      <a:pt x="7144" y="50959"/>
                    </a:cubicBezTo>
                    <a:cubicBezTo>
                      <a:pt x="7144" y="68104"/>
                      <a:pt x="21431" y="82391"/>
                      <a:pt x="38576" y="82391"/>
                    </a:cubicBezTo>
                    <a:cubicBezTo>
                      <a:pt x="55721" y="82391"/>
                      <a:pt x="70009" y="68104"/>
                      <a:pt x="70009" y="50959"/>
                    </a:cubicBezTo>
                    <a:cubicBezTo>
                      <a:pt x="70009" y="41434"/>
                      <a:pt x="65246" y="32861"/>
                      <a:pt x="58579" y="27146"/>
                    </a:cubicBezTo>
                    <a:cubicBezTo>
                      <a:pt x="60484" y="24289"/>
                      <a:pt x="62389" y="21431"/>
                      <a:pt x="62389" y="18574"/>
                    </a:cubicBezTo>
                    <a:close/>
                  </a:path>
                </a:pathLst>
              </a:custGeom>
              <a:grpFill/>
              <a:ln w="9525"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84AD5165-C08D-477D-80DC-A719D2044DD0}"/>
                  </a:ext>
                </a:extLst>
              </p:cNvPr>
              <p:cNvSpPr/>
              <p:nvPr/>
            </p:nvSpPr>
            <p:spPr>
              <a:xfrm>
                <a:off x="5891689" y="3838099"/>
                <a:ext cx="66675" cy="57150"/>
              </a:xfrm>
              <a:custGeom>
                <a:avLst/>
                <a:gdLst>
                  <a:gd name="connsiteX0" fmla="*/ 23336 w 66675"/>
                  <a:gd name="connsiteY0" fmla="*/ 17621 h 57150"/>
                  <a:gd name="connsiteX1" fmla="*/ 7144 w 66675"/>
                  <a:gd name="connsiteY1" fmla="*/ 33814 h 57150"/>
                  <a:gd name="connsiteX2" fmla="*/ 23336 w 66675"/>
                  <a:gd name="connsiteY2" fmla="*/ 50006 h 57150"/>
                  <a:gd name="connsiteX3" fmla="*/ 38576 w 66675"/>
                  <a:gd name="connsiteY3" fmla="*/ 38576 h 57150"/>
                  <a:gd name="connsiteX4" fmla="*/ 45244 w 66675"/>
                  <a:gd name="connsiteY4" fmla="*/ 39529 h 57150"/>
                  <a:gd name="connsiteX5" fmla="*/ 61436 w 66675"/>
                  <a:gd name="connsiteY5" fmla="*/ 23336 h 57150"/>
                  <a:gd name="connsiteX6" fmla="*/ 45244 w 66675"/>
                  <a:gd name="connsiteY6" fmla="*/ 7144 h 57150"/>
                  <a:gd name="connsiteX7" fmla="*/ 30004 w 66675"/>
                  <a:gd name="connsiteY7" fmla="*/ 19526 h 57150"/>
                  <a:gd name="connsiteX8" fmla="*/ 23336 w 66675"/>
                  <a:gd name="connsiteY8" fmla="*/ 17621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675" h="57150">
                    <a:moveTo>
                      <a:pt x="23336" y="17621"/>
                    </a:moveTo>
                    <a:cubicBezTo>
                      <a:pt x="14764" y="17621"/>
                      <a:pt x="7144" y="25241"/>
                      <a:pt x="7144" y="33814"/>
                    </a:cubicBezTo>
                    <a:cubicBezTo>
                      <a:pt x="7144" y="42386"/>
                      <a:pt x="14764" y="50006"/>
                      <a:pt x="23336" y="50006"/>
                    </a:cubicBezTo>
                    <a:cubicBezTo>
                      <a:pt x="30956" y="50006"/>
                      <a:pt x="36671" y="45244"/>
                      <a:pt x="38576" y="38576"/>
                    </a:cubicBezTo>
                    <a:cubicBezTo>
                      <a:pt x="40481" y="39529"/>
                      <a:pt x="42386" y="39529"/>
                      <a:pt x="45244" y="39529"/>
                    </a:cubicBezTo>
                    <a:cubicBezTo>
                      <a:pt x="53816" y="39529"/>
                      <a:pt x="61436" y="31909"/>
                      <a:pt x="61436" y="23336"/>
                    </a:cubicBezTo>
                    <a:cubicBezTo>
                      <a:pt x="61436" y="14764"/>
                      <a:pt x="53816" y="7144"/>
                      <a:pt x="45244" y="7144"/>
                    </a:cubicBezTo>
                    <a:cubicBezTo>
                      <a:pt x="37624" y="7144"/>
                      <a:pt x="31909" y="11906"/>
                      <a:pt x="30004" y="19526"/>
                    </a:cubicBezTo>
                    <a:cubicBezTo>
                      <a:pt x="28099" y="17621"/>
                      <a:pt x="26194" y="17621"/>
                      <a:pt x="23336" y="17621"/>
                    </a:cubicBezTo>
                    <a:close/>
                  </a:path>
                </a:pathLst>
              </a:custGeom>
              <a:grpFill/>
              <a:ln w="9525"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92A8D20B-1A5D-49B7-8A34-32B03993A1CB}"/>
                  </a:ext>
                </a:extLst>
              </p:cNvPr>
              <p:cNvSpPr/>
              <p:nvPr/>
            </p:nvSpPr>
            <p:spPr>
              <a:xfrm>
                <a:off x="5664994" y="3268504"/>
                <a:ext cx="114300" cy="114300"/>
              </a:xfrm>
              <a:custGeom>
                <a:avLst/>
                <a:gdLst>
                  <a:gd name="connsiteX0" fmla="*/ 98584 w 114300"/>
                  <a:gd name="connsiteY0" fmla="*/ 43339 h 114300"/>
                  <a:gd name="connsiteX1" fmla="*/ 108109 w 114300"/>
                  <a:gd name="connsiteY1" fmla="*/ 33814 h 114300"/>
                  <a:gd name="connsiteX2" fmla="*/ 98584 w 114300"/>
                  <a:gd name="connsiteY2" fmla="*/ 24289 h 114300"/>
                  <a:gd name="connsiteX3" fmla="*/ 94774 w 114300"/>
                  <a:gd name="connsiteY3" fmla="*/ 25241 h 114300"/>
                  <a:gd name="connsiteX4" fmla="*/ 75724 w 114300"/>
                  <a:gd name="connsiteY4" fmla="*/ 7144 h 114300"/>
                  <a:gd name="connsiteX5" fmla="*/ 56674 w 114300"/>
                  <a:gd name="connsiteY5" fmla="*/ 26194 h 114300"/>
                  <a:gd name="connsiteX6" fmla="*/ 57626 w 114300"/>
                  <a:gd name="connsiteY6" fmla="*/ 30956 h 114300"/>
                  <a:gd name="connsiteX7" fmla="*/ 46196 w 114300"/>
                  <a:gd name="connsiteY7" fmla="*/ 46196 h 114300"/>
                  <a:gd name="connsiteX8" fmla="*/ 27146 w 114300"/>
                  <a:gd name="connsiteY8" fmla="*/ 30956 h 114300"/>
                  <a:gd name="connsiteX9" fmla="*/ 7144 w 114300"/>
                  <a:gd name="connsiteY9" fmla="*/ 50959 h 114300"/>
                  <a:gd name="connsiteX10" fmla="*/ 27146 w 114300"/>
                  <a:gd name="connsiteY10" fmla="*/ 70961 h 114300"/>
                  <a:gd name="connsiteX11" fmla="*/ 46196 w 114300"/>
                  <a:gd name="connsiteY11" fmla="*/ 56674 h 114300"/>
                  <a:gd name="connsiteX12" fmla="*/ 69056 w 114300"/>
                  <a:gd name="connsiteY12" fmla="*/ 75724 h 114300"/>
                  <a:gd name="connsiteX13" fmla="*/ 73819 w 114300"/>
                  <a:gd name="connsiteY13" fmla="*/ 74771 h 114300"/>
                  <a:gd name="connsiteX14" fmla="*/ 72866 w 114300"/>
                  <a:gd name="connsiteY14" fmla="*/ 77629 h 114300"/>
                  <a:gd name="connsiteX15" fmla="*/ 85249 w 114300"/>
                  <a:gd name="connsiteY15" fmla="*/ 90011 h 114300"/>
                  <a:gd name="connsiteX16" fmla="*/ 88106 w 114300"/>
                  <a:gd name="connsiteY16" fmla="*/ 89059 h 114300"/>
                  <a:gd name="connsiteX17" fmla="*/ 88106 w 114300"/>
                  <a:gd name="connsiteY17" fmla="*/ 90964 h 114300"/>
                  <a:gd name="connsiteX18" fmla="*/ 90964 w 114300"/>
                  <a:gd name="connsiteY18" fmla="*/ 99536 h 114300"/>
                  <a:gd name="connsiteX19" fmla="*/ 86201 w 114300"/>
                  <a:gd name="connsiteY19" fmla="*/ 106204 h 114300"/>
                  <a:gd name="connsiteX20" fmla="*/ 93821 w 114300"/>
                  <a:gd name="connsiteY20" fmla="*/ 113824 h 114300"/>
                  <a:gd name="connsiteX21" fmla="*/ 101441 w 114300"/>
                  <a:gd name="connsiteY21" fmla="*/ 106204 h 114300"/>
                  <a:gd name="connsiteX22" fmla="*/ 100489 w 114300"/>
                  <a:gd name="connsiteY22" fmla="*/ 103346 h 114300"/>
                  <a:gd name="connsiteX23" fmla="*/ 111919 w 114300"/>
                  <a:gd name="connsiteY23" fmla="*/ 91916 h 114300"/>
                  <a:gd name="connsiteX24" fmla="*/ 99536 w 114300"/>
                  <a:gd name="connsiteY24" fmla="*/ 79534 h 114300"/>
                  <a:gd name="connsiteX25" fmla="*/ 96679 w 114300"/>
                  <a:gd name="connsiteY25" fmla="*/ 80486 h 114300"/>
                  <a:gd name="connsiteX26" fmla="*/ 96679 w 114300"/>
                  <a:gd name="connsiteY26" fmla="*/ 78581 h 114300"/>
                  <a:gd name="connsiteX27" fmla="*/ 86201 w 114300"/>
                  <a:gd name="connsiteY27" fmla="*/ 67151 h 114300"/>
                  <a:gd name="connsiteX28" fmla="*/ 90964 w 114300"/>
                  <a:gd name="connsiteY28" fmla="*/ 53816 h 114300"/>
                  <a:gd name="connsiteX29" fmla="*/ 88106 w 114300"/>
                  <a:gd name="connsiteY29" fmla="*/ 43339 h 114300"/>
                  <a:gd name="connsiteX30" fmla="*/ 89059 w 114300"/>
                  <a:gd name="connsiteY30" fmla="*/ 42386 h 114300"/>
                  <a:gd name="connsiteX31" fmla="*/ 98584 w 114300"/>
                  <a:gd name="connsiteY31" fmla="*/ 4333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14300" h="114300">
                    <a:moveTo>
                      <a:pt x="98584" y="43339"/>
                    </a:moveTo>
                    <a:cubicBezTo>
                      <a:pt x="104299" y="43339"/>
                      <a:pt x="108109" y="38576"/>
                      <a:pt x="108109" y="33814"/>
                    </a:cubicBezTo>
                    <a:cubicBezTo>
                      <a:pt x="108109" y="29051"/>
                      <a:pt x="103346" y="24289"/>
                      <a:pt x="98584" y="24289"/>
                    </a:cubicBezTo>
                    <a:cubicBezTo>
                      <a:pt x="97631" y="24289"/>
                      <a:pt x="96679" y="24289"/>
                      <a:pt x="94774" y="25241"/>
                    </a:cubicBezTo>
                    <a:cubicBezTo>
                      <a:pt x="93821" y="15716"/>
                      <a:pt x="86201" y="7144"/>
                      <a:pt x="75724" y="7144"/>
                    </a:cubicBezTo>
                    <a:cubicBezTo>
                      <a:pt x="65246" y="7144"/>
                      <a:pt x="56674" y="15716"/>
                      <a:pt x="56674" y="26194"/>
                    </a:cubicBezTo>
                    <a:cubicBezTo>
                      <a:pt x="56674" y="28099"/>
                      <a:pt x="56674" y="29051"/>
                      <a:pt x="57626" y="30956"/>
                    </a:cubicBezTo>
                    <a:cubicBezTo>
                      <a:pt x="51911" y="33814"/>
                      <a:pt x="48101" y="39529"/>
                      <a:pt x="46196" y="46196"/>
                    </a:cubicBezTo>
                    <a:cubicBezTo>
                      <a:pt x="44291" y="37624"/>
                      <a:pt x="36671" y="30956"/>
                      <a:pt x="27146" y="30956"/>
                    </a:cubicBezTo>
                    <a:cubicBezTo>
                      <a:pt x="16669" y="30956"/>
                      <a:pt x="7144" y="39529"/>
                      <a:pt x="7144" y="50959"/>
                    </a:cubicBezTo>
                    <a:cubicBezTo>
                      <a:pt x="7144" y="62389"/>
                      <a:pt x="15716" y="70961"/>
                      <a:pt x="27146" y="70961"/>
                    </a:cubicBezTo>
                    <a:cubicBezTo>
                      <a:pt x="36671" y="70961"/>
                      <a:pt x="43339" y="64294"/>
                      <a:pt x="46196" y="56674"/>
                    </a:cubicBezTo>
                    <a:cubicBezTo>
                      <a:pt x="48101" y="68104"/>
                      <a:pt x="57626" y="75724"/>
                      <a:pt x="69056" y="75724"/>
                    </a:cubicBezTo>
                    <a:cubicBezTo>
                      <a:pt x="70961" y="75724"/>
                      <a:pt x="72866" y="75724"/>
                      <a:pt x="73819" y="74771"/>
                    </a:cubicBezTo>
                    <a:cubicBezTo>
                      <a:pt x="73819" y="75724"/>
                      <a:pt x="72866" y="76676"/>
                      <a:pt x="72866" y="77629"/>
                    </a:cubicBezTo>
                    <a:cubicBezTo>
                      <a:pt x="72866" y="84296"/>
                      <a:pt x="78581" y="90011"/>
                      <a:pt x="85249" y="90011"/>
                    </a:cubicBezTo>
                    <a:cubicBezTo>
                      <a:pt x="86201" y="90011"/>
                      <a:pt x="87154" y="90011"/>
                      <a:pt x="88106" y="89059"/>
                    </a:cubicBezTo>
                    <a:cubicBezTo>
                      <a:pt x="88106" y="90011"/>
                      <a:pt x="88106" y="90011"/>
                      <a:pt x="88106" y="90964"/>
                    </a:cubicBezTo>
                    <a:cubicBezTo>
                      <a:pt x="88106" y="93821"/>
                      <a:pt x="89059" y="96679"/>
                      <a:pt x="90964" y="99536"/>
                    </a:cubicBezTo>
                    <a:cubicBezTo>
                      <a:pt x="88106" y="100489"/>
                      <a:pt x="86201" y="103346"/>
                      <a:pt x="86201" y="106204"/>
                    </a:cubicBezTo>
                    <a:cubicBezTo>
                      <a:pt x="86201" y="110014"/>
                      <a:pt x="90011" y="113824"/>
                      <a:pt x="93821" y="113824"/>
                    </a:cubicBezTo>
                    <a:cubicBezTo>
                      <a:pt x="97631" y="113824"/>
                      <a:pt x="101441" y="110014"/>
                      <a:pt x="101441" y="106204"/>
                    </a:cubicBezTo>
                    <a:cubicBezTo>
                      <a:pt x="101441" y="105251"/>
                      <a:pt x="101441" y="104299"/>
                      <a:pt x="100489" y="103346"/>
                    </a:cubicBezTo>
                    <a:cubicBezTo>
                      <a:pt x="107156" y="103346"/>
                      <a:pt x="111919" y="97631"/>
                      <a:pt x="111919" y="91916"/>
                    </a:cubicBezTo>
                    <a:cubicBezTo>
                      <a:pt x="111919" y="85249"/>
                      <a:pt x="106204" y="79534"/>
                      <a:pt x="99536" y="79534"/>
                    </a:cubicBezTo>
                    <a:cubicBezTo>
                      <a:pt x="98584" y="79534"/>
                      <a:pt x="97631" y="79534"/>
                      <a:pt x="96679" y="80486"/>
                    </a:cubicBezTo>
                    <a:cubicBezTo>
                      <a:pt x="96679" y="79534"/>
                      <a:pt x="96679" y="79534"/>
                      <a:pt x="96679" y="78581"/>
                    </a:cubicBezTo>
                    <a:cubicBezTo>
                      <a:pt x="96679" y="72866"/>
                      <a:pt x="91916" y="68104"/>
                      <a:pt x="86201" y="67151"/>
                    </a:cubicBezTo>
                    <a:cubicBezTo>
                      <a:pt x="89059" y="63341"/>
                      <a:pt x="90964" y="58579"/>
                      <a:pt x="90964" y="53816"/>
                    </a:cubicBezTo>
                    <a:cubicBezTo>
                      <a:pt x="90964" y="50006"/>
                      <a:pt x="90011" y="46196"/>
                      <a:pt x="88106" y="43339"/>
                    </a:cubicBezTo>
                    <a:cubicBezTo>
                      <a:pt x="88106" y="43339"/>
                      <a:pt x="89059" y="42386"/>
                      <a:pt x="89059" y="42386"/>
                    </a:cubicBezTo>
                    <a:cubicBezTo>
                      <a:pt x="91916" y="41434"/>
                      <a:pt x="94774" y="43339"/>
                      <a:pt x="98584" y="43339"/>
                    </a:cubicBezTo>
                    <a:close/>
                  </a:path>
                </a:pathLst>
              </a:custGeom>
              <a:grpFill/>
              <a:ln w="9525"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B7E613D9-3BB1-4543-953F-5057185EB1A1}"/>
                  </a:ext>
                </a:extLst>
              </p:cNvPr>
              <p:cNvSpPr/>
              <p:nvPr/>
            </p:nvSpPr>
            <p:spPr>
              <a:xfrm>
                <a:off x="5531644" y="2882741"/>
                <a:ext cx="28575" cy="28575"/>
              </a:xfrm>
              <a:custGeom>
                <a:avLst/>
                <a:gdLst>
                  <a:gd name="connsiteX0" fmla="*/ 17621 w 28575"/>
                  <a:gd name="connsiteY0" fmla="*/ 28099 h 28575"/>
                  <a:gd name="connsiteX1" fmla="*/ 28099 w 28575"/>
                  <a:gd name="connsiteY1" fmla="*/ 17621 h 28575"/>
                  <a:gd name="connsiteX2" fmla="*/ 17621 w 28575"/>
                  <a:gd name="connsiteY2" fmla="*/ 7144 h 28575"/>
                  <a:gd name="connsiteX3" fmla="*/ 7144 w 28575"/>
                  <a:gd name="connsiteY3" fmla="*/ 17621 h 28575"/>
                  <a:gd name="connsiteX4" fmla="*/ 17621 w 28575"/>
                  <a:gd name="connsiteY4" fmla="*/ 2809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7621" y="28099"/>
                    </a:moveTo>
                    <a:cubicBezTo>
                      <a:pt x="23336" y="28099"/>
                      <a:pt x="28099" y="23336"/>
                      <a:pt x="28099" y="17621"/>
                    </a:cubicBezTo>
                    <a:cubicBezTo>
                      <a:pt x="28099" y="11906"/>
                      <a:pt x="23336" y="7144"/>
                      <a:pt x="17621" y="7144"/>
                    </a:cubicBezTo>
                    <a:cubicBezTo>
                      <a:pt x="11906" y="7144"/>
                      <a:pt x="7144" y="11906"/>
                      <a:pt x="7144" y="17621"/>
                    </a:cubicBezTo>
                    <a:cubicBezTo>
                      <a:pt x="7144" y="23336"/>
                      <a:pt x="11906" y="28099"/>
                      <a:pt x="17621" y="28099"/>
                    </a:cubicBezTo>
                    <a:close/>
                  </a:path>
                </a:pathLst>
              </a:custGeom>
              <a:grpFill/>
              <a:ln w="9525"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E0207523-EE14-42DB-8279-9BAE73CE8B3D}"/>
                  </a:ext>
                </a:extLst>
              </p:cNvPr>
              <p:cNvSpPr/>
              <p:nvPr/>
            </p:nvSpPr>
            <p:spPr>
              <a:xfrm>
                <a:off x="5657374" y="3650456"/>
                <a:ext cx="57150" cy="85725"/>
              </a:xfrm>
              <a:custGeom>
                <a:avLst/>
                <a:gdLst>
                  <a:gd name="connsiteX0" fmla="*/ 53816 w 57150"/>
                  <a:gd name="connsiteY0" fmla="*/ 61436 h 85725"/>
                  <a:gd name="connsiteX1" fmla="*/ 46196 w 57150"/>
                  <a:gd name="connsiteY1" fmla="*/ 44291 h 85725"/>
                  <a:gd name="connsiteX2" fmla="*/ 58579 w 57150"/>
                  <a:gd name="connsiteY2" fmla="*/ 28099 h 85725"/>
                  <a:gd name="connsiteX3" fmla="*/ 41434 w 57150"/>
                  <a:gd name="connsiteY3" fmla="*/ 10954 h 85725"/>
                  <a:gd name="connsiteX4" fmla="*/ 27146 w 57150"/>
                  <a:gd name="connsiteY4" fmla="*/ 18574 h 85725"/>
                  <a:gd name="connsiteX5" fmla="*/ 28099 w 57150"/>
                  <a:gd name="connsiteY5" fmla="*/ 15716 h 85725"/>
                  <a:gd name="connsiteX6" fmla="*/ 19526 w 57150"/>
                  <a:gd name="connsiteY6" fmla="*/ 7144 h 85725"/>
                  <a:gd name="connsiteX7" fmla="*/ 10001 w 57150"/>
                  <a:gd name="connsiteY7" fmla="*/ 16669 h 85725"/>
                  <a:gd name="connsiteX8" fmla="*/ 18574 w 57150"/>
                  <a:gd name="connsiteY8" fmla="*/ 25241 h 85725"/>
                  <a:gd name="connsiteX9" fmla="*/ 25241 w 57150"/>
                  <a:gd name="connsiteY9" fmla="*/ 21431 h 85725"/>
                  <a:gd name="connsiteX10" fmla="*/ 24289 w 57150"/>
                  <a:gd name="connsiteY10" fmla="*/ 28099 h 85725"/>
                  <a:gd name="connsiteX11" fmla="*/ 28099 w 57150"/>
                  <a:gd name="connsiteY11" fmla="*/ 38576 h 85725"/>
                  <a:gd name="connsiteX12" fmla="*/ 7144 w 57150"/>
                  <a:gd name="connsiteY12" fmla="*/ 61436 h 85725"/>
                  <a:gd name="connsiteX13" fmla="*/ 30004 w 57150"/>
                  <a:gd name="connsiteY13" fmla="*/ 84296 h 85725"/>
                  <a:gd name="connsiteX14" fmla="*/ 53816 w 57150"/>
                  <a:gd name="connsiteY14" fmla="*/ 61436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150" h="85725">
                    <a:moveTo>
                      <a:pt x="53816" y="61436"/>
                    </a:moveTo>
                    <a:cubicBezTo>
                      <a:pt x="53816" y="54769"/>
                      <a:pt x="50959" y="49054"/>
                      <a:pt x="46196" y="44291"/>
                    </a:cubicBezTo>
                    <a:cubicBezTo>
                      <a:pt x="52864" y="42386"/>
                      <a:pt x="58579" y="35719"/>
                      <a:pt x="58579" y="28099"/>
                    </a:cubicBezTo>
                    <a:cubicBezTo>
                      <a:pt x="58579" y="18574"/>
                      <a:pt x="50959" y="10954"/>
                      <a:pt x="41434" y="10954"/>
                    </a:cubicBezTo>
                    <a:cubicBezTo>
                      <a:pt x="35719" y="10954"/>
                      <a:pt x="30004" y="13811"/>
                      <a:pt x="27146" y="18574"/>
                    </a:cubicBezTo>
                    <a:cubicBezTo>
                      <a:pt x="27146" y="17621"/>
                      <a:pt x="28099" y="16669"/>
                      <a:pt x="28099" y="15716"/>
                    </a:cubicBezTo>
                    <a:cubicBezTo>
                      <a:pt x="28099" y="10954"/>
                      <a:pt x="24289" y="7144"/>
                      <a:pt x="19526" y="7144"/>
                    </a:cubicBezTo>
                    <a:cubicBezTo>
                      <a:pt x="14764" y="7144"/>
                      <a:pt x="10001" y="10954"/>
                      <a:pt x="10001" y="16669"/>
                    </a:cubicBezTo>
                    <a:cubicBezTo>
                      <a:pt x="10001" y="21431"/>
                      <a:pt x="13811" y="25241"/>
                      <a:pt x="18574" y="25241"/>
                    </a:cubicBezTo>
                    <a:cubicBezTo>
                      <a:pt x="21431" y="25241"/>
                      <a:pt x="24289" y="23336"/>
                      <a:pt x="25241" y="21431"/>
                    </a:cubicBezTo>
                    <a:cubicBezTo>
                      <a:pt x="24289" y="23336"/>
                      <a:pt x="24289" y="26194"/>
                      <a:pt x="24289" y="28099"/>
                    </a:cubicBezTo>
                    <a:cubicBezTo>
                      <a:pt x="24289" y="31909"/>
                      <a:pt x="25241" y="35719"/>
                      <a:pt x="28099" y="38576"/>
                    </a:cubicBezTo>
                    <a:cubicBezTo>
                      <a:pt x="16669" y="39529"/>
                      <a:pt x="7144" y="49054"/>
                      <a:pt x="7144" y="61436"/>
                    </a:cubicBezTo>
                    <a:cubicBezTo>
                      <a:pt x="7144" y="73819"/>
                      <a:pt x="17621" y="84296"/>
                      <a:pt x="30004" y="84296"/>
                    </a:cubicBezTo>
                    <a:cubicBezTo>
                      <a:pt x="43339" y="84296"/>
                      <a:pt x="53816" y="73819"/>
                      <a:pt x="53816" y="61436"/>
                    </a:cubicBezTo>
                    <a:close/>
                  </a:path>
                </a:pathLst>
              </a:custGeom>
              <a:grpFill/>
              <a:ln w="9525"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42080175-49BF-43BC-9CC0-A435D947869C}"/>
                  </a:ext>
                </a:extLst>
              </p:cNvPr>
              <p:cNvSpPr/>
              <p:nvPr/>
            </p:nvSpPr>
            <p:spPr>
              <a:xfrm>
                <a:off x="5672614" y="3374231"/>
                <a:ext cx="47625" cy="47625"/>
              </a:xfrm>
              <a:custGeom>
                <a:avLst/>
                <a:gdLst>
                  <a:gd name="connsiteX0" fmla="*/ 7144 w 47625"/>
                  <a:gd name="connsiteY0" fmla="*/ 25241 h 47625"/>
                  <a:gd name="connsiteX1" fmla="*/ 25241 w 47625"/>
                  <a:gd name="connsiteY1" fmla="*/ 43339 h 47625"/>
                  <a:gd name="connsiteX2" fmla="*/ 43339 w 47625"/>
                  <a:gd name="connsiteY2" fmla="*/ 25241 h 47625"/>
                  <a:gd name="connsiteX3" fmla="*/ 25241 w 47625"/>
                  <a:gd name="connsiteY3" fmla="*/ 7144 h 47625"/>
                  <a:gd name="connsiteX4" fmla="*/ 7144 w 47625"/>
                  <a:gd name="connsiteY4" fmla="*/ 25241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7144" y="25241"/>
                    </a:moveTo>
                    <a:cubicBezTo>
                      <a:pt x="7144" y="35719"/>
                      <a:pt x="15716" y="43339"/>
                      <a:pt x="25241" y="43339"/>
                    </a:cubicBezTo>
                    <a:cubicBezTo>
                      <a:pt x="34766" y="43339"/>
                      <a:pt x="43339" y="34766"/>
                      <a:pt x="43339" y="25241"/>
                    </a:cubicBezTo>
                    <a:cubicBezTo>
                      <a:pt x="43339" y="14764"/>
                      <a:pt x="34766" y="7144"/>
                      <a:pt x="25241" y="7144"/>
                    </a:cubicBezTo>
                    <a:cubicBezTo>
                      <a:pt x="15716" y="7144"/>
                      <a:pt x="7144" y="14764"/>
                      <a:pt x="7144" y="25241"/>
                    </a:cubicBezTo>
                    <a:close/>
                  </a:path>
                </a:pathLst>
              </a:custGeom>
              <a:grpFill/>
              <a:ln w="9525"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FC9268F1-F46A-4805-884D-CA88A2F1006A}"/>
                  </a:ext>
                </a:extLst>
              </p:cNvPr>
              <p:cNvSpPr/>
              <p:nvPr/>
            </p:nvSpPr>
            <p:spPr>
              <a:xfrm>
                <a:off x="5797391" y="4164806"/>
                <a:ext cx="28575" cy="28575"/>
              </a:xfrm>
              <a:custGeom>
                <a:avLst/>
                <a:gdLst>
                  <a:gd name="connsiteX0" fmla="*/ 24289 w 28575"/>
                  <a:gd name="connsiteY0" fmla="*/ 15716 h 28575"/>
                  <a:gd name="connsiteX1" fmla="*/ 15716 w 28575"/>
                  <a:gd name="connsiteY1" fmla="*/ 7144 h 28575"/>
                  <a:gd name="connsiteX2" fmla="*/ 7144 w 28575"/>
                  <a:gd name="connsiteY2" fmla="*/ 15716 h 28575"/>
                  <a:gd name="connsiteX3" fmla="*/ 15716 w 28575"/>
                  <a:gd name="connsiteY3" fmla="*/ 24289 h 28575"/>
                  <a:gd name="connsiteX4" fmla="*/ 24289 w 28575"/>
                  <a:gd name="connsiteY4" fmla="*/ 15716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4289" y="15716"/>
                    </a:moveTo>
                    <a:cubicBezTo>
                      <a:pt x="24289" y="10954"/>
                      <a:pt x="20479" y="7144"/>
                      <a:pt x="15716" y="7144"/>
                    </a:cubicBezTo>
                    <a:cubicBezTo>
                      <a:pt x="10954" y="7144"/>
                      <a:pt x="7144" y="10954"/>
                      <a:pt x="7144" y="15716"/>
                    </a:cubicBezTo>
                    <a:cubicBezTo>
                      <a:pt x="7144" y="20479"/>
                      <a:pt x="10954" y="24289"/>
                      <a:pt x="15716" y="24289"/>
                    </a:cubicBezTo>
                    <a:cubicBezTo>
                      <a:pt x="20479" y="23336"/>
                      <a:pt x="24289" y="19526"/>
                      <a:pt x="24289" y="15716"/>
                    </a:cubicBezTo>
                    <a:close/>
                  </a:path>
                </a:pathLst>
              </a:custGeom>
              <a:grpFill/>
              <a:ln w="9525"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0FE25E3C-C9B2-41BD-9727-EC76C0B3DEF3}"/>
                  </a:ext>
                </a:extLst>
              </p:cNvPr>
              <p:cNvSpPr/>
              <p:nvPr/>
            </p:nvSpPr>
            <p:spPr>
              <a:xfrm>
                <a:off x="6067717" y="3886676"/>
                <a:ext cx="19050" cy="19050"/>
              </a:xfrm>
              <a:custGeom>
                <a:avLst/>
                <a:gdLst>
                  <a:gd name="connsiteX0" fmla="*/ 13043 w 19050"/>
                  <a:gd name="connsiteY0" fmla="*/ 18574 h 19050"/>
                  <a:gd name="connsiteX1" fmla="*/ 18758 w 19050"/>
                  <a:gd name="connsiteY1" fmla="*/ 12859 h 19050"/>
                  <a:gd name="connsiteX2" fmla="*/ 13043 w 19050"/>
                  <a:gd name="connsiteY2" fmla="*/ 7144 h 19050"/>
                  <a:gd name="connsiteX3" fmla="*/ 7328 w 19050"/>
                  <a:gd name="connsiteY3" fmla="*/ 12859 h 19050"/>
                  <a:gd name="connsiteX4" fmla="*/ 13043 w 19050"/>
                  <a:gd name="connsiteY4" fmla="*/ 18574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3043" y="18574"/>
                    </a:moveTo>
                    <a:cubicBezTo>
                      <a:pt x="15901" y="18574"/>
                      <a:pt x="18758" y="15716"/>
                      <a:pt x="18758" y="12859"/>
                    </a:cubicBezTo>
                    <a:cubicBezTo>
                      <a:pt x="18758" y="10001"/>
                      <a:pt x="15901" y="7144"/>
                      <a:pt x="13043" y="7144"/>
                    </a:cubicBezTo>
                    <a:cubicBezTo>
                      <a:pt x="10186" y="7144"/>
                      <a:pt x="7328" y="10001"/>
                      <a:pt x="7328" y="12859"/>
                    </a:cubicBezTo>
                    <a:cubicBezTo>
                      <a:pt x="6376" y="15716"/>
                      <a:pt x="9233" y="18574"/>
                      <a:pt x="13043" y="18574"/>
                    </a:cubicBezTo>
                    <a:close/>
                  </a:path>
                </a:pathLst>
              </a:custGeom>
              <a:grpFill/>
              <a:ln w="9525"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5041F865-C946-41C9-95D9-31420B1F04FC}"/>
                  </a:ext>
                </a:extLst>
              </p:cNvPr>
              <p:cNvSpPr/>
              <p:nvPr/>
            </p:nvSpPr>
            <p:spPr>
              <a:xfrm>
                <a:off x="5555456" y="3539014"/>
                <a:ext cx="57150" cy="57150"/>
              </a:xfrm>
              <a:custGeom>
                <a:avLst/>
                <a:gdLst>
                  <a:gd name="connsiteX0" fmla="*/ 31909 w 57150"/>
                  <a:gd name="connsiteY0" fmla="*/ 56674 h 57150"/>
                  <a:gd name="connsiteX1" fmla="*/ 56674 w 57150"/>
                  <a:gd name="connsiteY1" fmla="*/ 31909 h 57150"/>
                  <a:gd name="connsiteX2" fmla="*/ 31909 w 57150"/>
                  <a:gd name="connsiteY2" fmla="*/ 7144 h 57150"/>
                  <a:gd name="connsiteX3" fmla="*/ 7144 w 57150"/>
                  <a:gd name="connsiteY3" fmla="*/ 31909 h 57150"/>
                  <a:gd name="connsiteX4" fmla="*/ 31909 w 57150"/>
                  <a:gd name="connsiteY4" fmla="*/ 56674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31909" y="56674"/>
                    </a:moveTo>
                    <a:cubicBezTo>
                      <a:pt x="45244" y="56674"/>
                      <a:pt x="56674" y="46196"/>
                      <a:pt x="56674" y="31909"/>
                    </a:cubicBezTo>
                    <a:cubicBezTo>
                      <a:pt x="56674" y="18574"/>
                      <a:pt x="46196" y="7144"/>
                      <a:pt x="31909" y="7144"/>
                    </a:cubicBezTo>
                    <a:cubicBezTo>
                      <a:pt x="18574" y="7144"/>
                      <a:pt x="7144" y="17621"/>
                      <a:pt x="7144" y="31909"/>
                    </a:cubicBezTo>
                    <a:cubicBezTo>
                      <a:pt x="7144" y="46196"/>
                      <a:pt x="18574" y="56674"/>
                      <a:pt x="31909" y="56674"/>
                    </a:cubicBezTo>
                    <a:close/>
                  </a:path>
                </a:pathLst>
              </a:custGeom>
              <a:grpFill/>
              <a:ln w="9525"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21A31480-EEC2-438C-9B69-CD7870676EC9}"/>
                  </a:ext>
                </a:extLst>
              </p:cNvPr>
              <p:cNvSpPr/>
              <p:nvPr/>
            </p:nvSpPr>
            <p:spPr>
              <a:xfrm>
                <a:off x="6038374" y="4180046"/>
                <a:ext cx="19050" cy="19050"/>
              </a:xfrm>
              <a:custGeom>
                <a:avLst/>
                <a:gdLst>
                  <a:gd name="connsiteX0" fmla="*/ 7144 w 19050"/>
                  <a:gd name="connsiteY0" fmla="*/ 12859 h 19050"/>
                  <a:gd name="connsiteX1" fmla="*/ 12859 w 19050"/>
                  <a:gd name="connsiteY1" fmla="*/ 18574 h 19050"/>
                  <a:gd name="connsiteX2" fmla="*/ 18574 w 19050"/>
                  <a:gd name="connsiteY2" fmla="*/ 12859 h 19050"/>
                  <a:gd name="connsiteX3" fmla="*/ 12859 w 19050"/>
                  <a:gd name="connsiteY3" fmla="*/ 7144 h 19050"/>
                  <a:gd name="connsiteX4" fmla="*/ 7144 w 19050"/>
                  <a:gd name="connsiteY4" fmla="*/ 12859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7144" y="12859"/>
                    </a:moveTo>
                    <a:cubicBezTo>
                      <a:pt x="7144" y="15716"/>
                      <a:pt x="10001" y="18574"/>
                      <a:pt x="12859" y="18574"/>
                    </a:cubicBezTo>
                    <a:cubicBezTo>
                      <a:pt x="15716" y="18574"/>
                      <a:pt x="18574" y="15716"/>
                      <a:pt x="18574" y="12859"/>
                    </a:cubicBezTo>
                    <a:cubicBezTo>
                      <a:pt x="18574" y="10001"/>
                      <a:pt x="15716" y="7144"/>
                      <a:pt x="12859" y="7144"/>
                    </a:cubicBezTo>
                    <a:cubicBezTo>
                      <a:pt x="10001" y="8096"/>
                      <a:pt x="7144" y="10001"/>
                      <a:pt x="7144" y="12859"/>
                    </a:cubicBezTo>
                    <a:close/>
                  </a:path>
                </a:pathLst>
              </a:custGeom>
              <a:grpFill/>
              <a:ln w="9525"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8F2DEF52-A27C-4E23-A031-8BBAA6F799E1}"/>
                  </a:ext>
                </a:extLst>
              </p:cNvPr>
              <p:cNvSpPr/>
              <p:nvPr/>
            </p:nvSpPr>
            <p:spPr>
              <a:xfrm>
                <a:off x="5919311" y="3565684"/>
                <a:ext cx="19050" cy="19050"/>
              </a:xfrm>
              <a:custGeom>
                <a:avLst/>
                <a:gdLst>
                  <a:gd name="connsiteX0" fmla="*/ 7144 w 19050"/>
                  <a:gd name="connsiteY0" fmla="*/ 12859 h 19050"/>
                  <a:gd name="connsiteX1" fmla="*/ 12859 w 19050"/>
                  <a:gd name="connsiteY1" fmla="*/ 18574 h 19050"/>
                  <a:gd name="connsiteX2" fmla="*/ 18574 w 19050"/>
                  <a:gd name="connsiteY2" fmla="*/ 12859 h 19050"/>
                  <a:gd name="connsiteX3" fmla="*/ 12859 w 19050"/>
                  <a:gd name="connsiteY3" fmla="*/ 7144 h 19050"/>
                  <a:gd name="connsiteX4" fmla="*/ 7144 w 19050"/>
                  <a:gd name="connsiteY4" fmla="*/ 12859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7144" y="12859"/>
                    </a:moveTo>
                    <a:cubicBezTo>
                      <a:pt x="7144" y="15716"/>
                      <a:pt x="10001" y="18574"/>
                      <a:pt x="12859" y="18574"/>
                    </a:cubicBezTo>
                    <a:cubicBezTo>
                      <a:pt x="15716" y="18574"/>
                      <a:pt x="18574" y="15716"/>
                      <a:pt x="18574" y="12859"/>
                    </a:cubicBezTo>
                    <a:cubicBezTo>
                      <a:pt x="18574" y="10001"/>
                      <a:pt x="15716" y="7144"/>
                      <a:pt x="12859" y="7144"/>
                    </a:cubicBezTo>
                    <a:cubicBezTo>
                      <a:pt x="10001" y="7144"/>
                      <a:pt x="7144" y="10001"/>
                      <a:pt x="7144" y="12859"/>
                    </a:cubicBezTo>
                    <a:close/>
                  </a:path>
                </a:pathLst>
              </a:custGeom>
              <a:grpFill/>
              <a:ln w="9525"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CF365CE0-D26C-4FFE-AD62-CEE7CCEAA690}"/>
                  </a:ext>
                </a:extLst>
              </p:cNvPr>
              <p:cNvSpPr/>
              <p:nvPr/>
            </p:nvSpPr>
            <p:spPr>
              <a:xfrm>
                <a:off x="5928836" y="4101941"/>
                <a:ext cx="19050" cy="19050"/>
              </a:xfrm>
              <a:custGeom>
                <a:avLst/>
                <a:gdLst>
                  <a:gd name="connsiteX0" fmla="*/ 12859 w 19050"/>
                  <a:gd name="connsiteY0" fmla="*/ 18574 h 19050"/>
                  <a:gd name="connsiteX1" fmla="*/ 18574 w 19050"/>
                  <a:gd name="connsiteY1" fmla="*/ 12859 h 19050"/>
                  <a:gd name="connsiteX2" fmla="*/ 12859 w 19050"/>
                  <a:gd name="connsiteY2" fmla="*/ 7144 h 19050"/>
                  <a:gd name="connsiteX3" fmla="*/ 7144 w 19050"/>
                  <a:gd name="connsiteY3" fmla="*/ 12859 h 19050"/>
                  <a:gd name="connsiteX4" fmla="*/ 12859 w 19050"/>
                  <a:gd name="connsiteY4" fmla="*/ 18574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2859" y="18574"/>
                    </a:moveTo>
                    <a:cubicBezTo>
                      <a:pt x="15716" y="18574"/>
                      <a:pt x="18574" y="15716"/>
                      <a:pt x="18574" y="12859"/>
                    </a:cubicBezTo>
                    <a:cubicBezTo>
                      <a:pt x="18574" y="10001"/>
                      <a:pt x="15716" y="7144"/>
                      <a:pt x="12859" y="7144"/>
                    </a:cubicBezTo>
                    <a:cubicBezTo>
                      <a:pt x="10001" y="7144"/>
                      <a:pt x="7144" y="10001"/>
                      <a:pt x="7144" y="12859"/>
                    </a:cubicBezTo>
                    <a:cubicBezTo>
                      <a:pt x="7144" y="15716"/>
                      <a:pt x="10001" y="18574"/>
                      <a:pt x="12859" y="18574"/>
                    </a:cubicBezTo>
                    <a:close/>
                  </a:path>
                </a:pathLst>
              </a:custGeom>
              <a:grpFill/>
              <a:ln w="9525"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4CDF836D-FA76-4532-8E91-1ED01A061322}"/>
                  </a:ext>
                </a:extLst>
              </p:cNvPr>
              <p:cNvSpPr/>
              <p:nvPr/>
            </p:nvSpPr>
            <p:spPr>
              <a:xfrm>
                <a:off x="5470684" y="3559016"/>
                <a:ext cx="66675" cy="66675"/>
              </a:xfrm>
              <a:custGeom>
                <a:avLst/>
                <a:gdLst>
                  <a:gd name="connsiteX0" fmla="*/ 33814 w 66675"/>
                  <a:gd name="connsiteY0" fmla="*/ 7144 h 66675"/>
                  <a:gd name="connsiteX1" fmla="*/ 7144 w 66675"/>
                  <a:gd name="connsiteY1" fmla="*/ 33814 h 66675"/>
                  <a:gd name="connsiteX2" fmla="*/ 33814 w 66675"/>
                  <a:gd name="connsiteY2" fmla="*/ 60484 h 66675"/>
                  <a:gd name="connsiteX3" fmla="*/ 60484 w 66675"/>
                  <a:gd name="connsiteY3" fmla="*/ 33814 h 66675"/>
                  <a:gd name="connsiteX4" fmla="*/ 33814 w 66675"/>
                  <a:gd name="connsiteY4" fmla="*/ 7144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6675">
                    <a:moveTo>
                      <a:pt x="33814" y="7144"/>
                    </a:moveTo>
                    <a:cubicBezTo>
                      <a:pt x="19526" y="7144"/>
                      <a:pt x="7144" y="18574"/>
                      <a:pt x="7144" y="33814"/>
                    </a:cubicBezTo>
                    <a:cubicBezTo>
                      <a:pt x="7144" y="48101"/>
                      <a:pt x="18574" y="60484"/>
                      <a:pt x="33814" y="60484"/>
                    </a:cubicBezTo>
                    <a:cubicBezTo>
                      <a:pt x="48101" y="60484"/>
                      <a:pt x="60484" y="49054"/>
                      <a:pt x="60484" y="33814"/>
                    </a:cubicBezTo>
                    <a:cubicBezTo>
                      <a:pt x="59531" y="18574"/>
                      <a:pt x="48101" y="7144"/>
                      <a:pt x="33814" y="7144"/>
                    </a:cubicBezTo>
                    <a:close/>
                  </a:path>
                </a:pathLst>
              </a:custGeom>
              <a:grpFill/>
              <a:ln w="9525"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13BB298A-41BD-4F46-A885-398B760E6553}"/>
                  </a:ext>
                </a:extLst>
              </p:cNvPr>
              <p:cNvSpPr/>
              <p:nvPr/>
            </p:nvSpPr>
            <p:spPr>
              <a:xfrm>
                <a:off x="5958364" y="3854291"/>
                <a:ext cx="38100" cy="38100"/>
              </a:xfrm>
              <a:custGeom>
                <a:avLst/>
                <a:gdLst>
                  <a:gd name="connsiteX0" fmla="*/ 20479 w 38100"/>
                  <a:gd name="connsiteY0" fmla="*/ 33814 h 38100"/>
                  <a:gd name="connsiteX1" fmla="*/ 33814 w 38100"/>
                  <a:gd name="connsiteY1" fmla="*/ 20479 h 38100"/>
                  <a:gd name="connsiteX2" fmla="*/ 20479 w 38100"/>
                  <a:gd name="connsiteY2" fmla="*/ 7144 h 38100"/>
                  <a:gd name="connsiteX3" fmla="*/ 7144 w 38100"/>
                  <a:gd name="connsiteY3" fmla="*/ 20479 h 38100"/>
                  <a:gd name="connsiteX4" fmla="*/ 20479 w 38100"/>
                  <a:gd name="connsiteY4" fmla="*/ 3381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33814"/>
                    </a:moveTo>
                    <a:cubicBezTo>
                      <a:pt x="27146" y="33814"/>
                      <a:pt x="33814" y="28099"/>
                      <a:pt x="33814" y="20479"/>
                    </a:cubicBezTo>
                    <a:cubicBezTo>
                      <a:pt x="33814" y="12859"/>
                      <a:pt x="28099" y="7144"/>
                      <a:pt x="20479" y="7144"/>
                    </a:cubicBezTo>
                    <a:cubicBezTo>
                      <a:pt x="13811" y="7144"/>
                      <a:pt x="7144" y="12859"/>
                      <a:pt x="7144" y="20479"/>
                    </a:cubicBezTo>
                    <a:cubicBezTo>
                      <a:pt x="7144" y="28099"/>
                      <a:pt x="12859" y="33814"/>
                      <a:pt x="20479" y="33814"/>
                    </a:cubicBezTo>
                    <a:close/>
                  </a:path>
                </a:pathLst>
              </a:custGeom>
              <a:grpFill/>
              <a:ln w="9525"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A2306094-61E7-46D2-B561-7C18DAE7EB75}"/>
                  </a:ext>
                </a:extLst>
              </p:cNvPr>
              <p:cNvSpPr/>
              <p:nvPr/>
            </p:nvSpPr>
            <p:spPr>
              <a:xfrm>
                <a:off x="6216491" y="2458879"/>
                <a:ext cx="19050" cy="19050"/>
              </a:xfrm>
              <a:custGeom>
                <a:avLst/>
                <a:gdLst>
                  <a:gd name="connsiteX0" fmla="*/ 13811 w 19050"/>
                  <a:gd name="connsiteY0" fmla="*/ 20479 h 19050"/>
                  <a:gd name="connsiteX1" fmla="*/ 20479 w 19050"/>
                  <a:gd name="connsiteY1" fmla="*/ 13811 h 19050"/>
                  <a:gd name="connsiteX2" fmla="*/ 13811 w 19050"/>
                  <a:gd name="connsiteY2" fmla="*/ 7144 h 19050"/>
                  <a:gd name="connsiteX3" fmla="*/ 7144 w 19050"/>
                  <a:gd name="connsiteY3" fmla="*/ 13811 h 19050"/>
                  <a:gd name="connsiteX4" fmla="*/ 13811 w 19050"/>
                  <a:gd name="connsiteY4" fmla="*/ 20479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3811" y="20479"/>
                    </a:moveTo>
                    <a:cubicBezTo>
                      <a:pt x="17621" y="20479"/>
                      <a:pt x="20479" y="17621"/>
                      <a:pt x="20479" y="13811"/>
                    </a:cubicBezTo>
                    <a:cubicBezTo>
                      <a:pt x="20479" y="10001"/>
                      <a:pt x="17621" y="7144"/>
                      <a:pt x="13811" y="7144"/>
                    </a:cubicBezTo>
                    <a:cubicBezTo>
                      <a:pt x="10001" y="7144"/>
                      <a:pt x="7144" y="10001"/>
                      <a:pt x="7144" y="13811"/>
                    </a:cubicBezTo>
                    <a:cubicBezTo>
                      <a:pt x="7144" y="17621"/>
                      <a:pt x="10001" y="20479"/>
                      <a:pt x="13811" y="20479"/>
                    </a:cubicBezTo>
                    <a:close/>
                  </a:path>
                </a:pathLst>
              </a:custGeom>
              <a:grpFill/>
              <a:ln w="9525"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AD83547C-9F3E-4095-98F1-92AE1E3F4189}"/>
                  </a:ext>
                </a:extLst>
              </p:cNvPr>
              <p:cNvSpPr/>
              <p:nvPr/>
            </p:nvSpPr>
            <p:spPr>
              <a:xfrm>
                <a:off x="5384006" y="3668554"/>
                <a:ext cx="66675" cy="66675"/>
              </a:xfrm>
              <a:custGeom>
                <a:avLst/>
                <a:gdLst>
                  <a:gd name="connsiteX0" fmla="*/ 34766 w 66675"/>
                  <a:gd name="connsiteY0" fmla="*/ 7144 h 66675"/>
                  <a:gd name="connsiteX1" fmla="*/ 7144 w 66675"/>
                  <a:gd name="connsiteY1" fmla="*/ 34766 h 66675"/>
                  <a:gd name="connsiteX2" fmla="*/ 34766 w 66675"/>
                  <a:gd name="connsiteY2" fmla="*/ 62389 h 66675"/>
                  <a:gd name="connsiteX3" fmla="*/ 62389 w 66675"/>
                  <a:gd name="connsiteY3" fmla="*/ 34766 h 66675"/>
                  <a:gd name="connsiteX4" fmla="*/ 34766 w 66675"/>
                  <a:gd name="connsiteY4" fmla="*/ 7144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6675">
                    <a:moveTo>
                      <a:pt x="34766" y="7144"/>
                    </a:moveTo>
                    <a:cubicBezTo>
                      <a:pt x="19526" y="7144"/>
                      <a:pt x="7144" y="19526"/>
                      <a:pt x="7144" y="34766"/>
                    </a:cubicBezTo>
                    <a:cubicBezTo>
                      <a:pt x="7144" y="50006"/>
                      <a:pt x="19526" y="62389"/>
                      <a:pt x="34766" y="62389"/>
                    </a:cubicBezTo>
                    <a:cubicBezTo>
                      <a:pt x="50006" y="62389"/>
                      <a:pt x="62389" y="50006"/>
                      <a:pt x="62389" y="34766"/>
                    </a:cubicBezTo>
                    <a:cubicBezTo>
                      <a:pt x="62389" y="18574"/>
                      <a:pt x="50006" y="7144"/>
                      <a:pt x="34766" y="7144"/>
                    </a:cubicBezTo>
                    <a:close/>
                  </a:path>
                </a:pathLst>
              </a:custGeom>
              <a:grpFill/>
              <a:ln w="9525" cap="flat">
                <a:no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D3F74F95-A183-417F-8E87-187DFC41239A}"/>
                  </a:ext>
                </a:extLst>
              </p:cNvPr>
              <p:cNvSpPr/>
              <p:nvPr/>
            </p:nvSpPr>
            <p:spPr>
              <a:xfrm>
                <a:off x="5896451" y="3007519"/>
                <a:ext cx="57150" cy="57150"/>
              </a:xfrm>
              <a:custGeom>
                <a:avLst/>
                <a:gdLst>
                  <a:gd name="connsiteX0" fmla="*/ 7144 w 57150"/>
                  <a:gd name="connsiteY0" fmla="*/ 30004 h 57150"/>
                  <a:gd name="connsiteX1" fmla="*/ 30004 w 57150"/>
                  <a:gd name="connsiteY1" fmla="*/ 52864 h 57150"/>
                  <a:gd name="connsiteX2" fmla="*/ 52864 w 57150"/>
                  <a:gd name="connsiteY2" fmla="*/ 30004 h 57150"/>
                  <a:gd name="connsiteX3" fmla="*/ 30004 w 57150"/>
                  <a:gd name="connsiteY3" fmla="*/ 7144 h 57150"/>
                  <a:gd name="connsiteX4" fmla="*/ 7144 w 57150"/>
                  <a:gd name="connsiteY4" fmla="*/ 30004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7144" y="30004"/>
                    </a:moveTo>
                    <a:cubicBezTo>
                      <a:pt x="7144" y="43339"/>
                      <a:pt x="17621" y="52864"/>
                      <a:pt x="30004" y="52864"/>
                    </a:cubicBezTo>
                    <a:cubicBezTo>
                      <a:pt x="43339" y="52864"/>
                      <a:pt x="52864" y="42386"/>
                      <a:pt x="52864" y="30004"/>
                    </a:cubicBezTo>
                    <a:cubicBezTo>
                      <a:pt x="52864" y="16669"/>
                      <a:pt x="42386" y="7144"/>
                      <a:pt x="30004" y="7144"/>
                    </a:cubicBezTo>
                    <a:cubicBezTo>
                      <a:pt x="17621" y="7144"/>
                      <a:pt x="7144" y="17621"/>
                      <a:pt x="7144" y="30004"/>
                    </a:cubicBezTo>
                    <a:close/>
                  </a:path>
                </a:pathLst>
              </a:custGeom>
              <a:grpFill/>
              <a:ln w="9525"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36818A00-6CB4-4F70-BF13-5C967EE7EC25}"/>
                  </a:ext>
                </a:extLst>
              </p:cNvPr>
              <p:cNvSpPr/>
              <p:nvPr/>
            </p:nvSpPr>
            <p:spPr>
              <a:xfrm>
                <a:off x="6256496" y="2455069"/>
                <a:ext cx="28575" cy="28575"/>
              </a:xfrm>
              <a:custGeom>
                <a:avLst/>
                <a:gdLst>
                  <a:gd name="connsiteX0" fmla="*/ 14764 w 28575"/>
                  <a:gd name="connsiteY0" fmla="*/ 22384 h 28575"/>
                  <a:gd name="connsiteX1" fmla="*/ 22384 w 28575"/>
                  <a:gd name="connsiteY1" fmla="*/ 14764 h 28575"/>
                  <a:gd name="connsiteX2" fmla="*/ 14764 w 28575"/>
                  <a:gd name="connsiteY2" fmla="*/ 7144 h 28575"/>
                  <a:gd name="connsiteX3" fmla="*/ 7144 w 28575"/>
                  <a:gd name="connsiteY3" fmla="*/ 14764 h 28575"/>
                  <a:gd name="connsiteX4" fmla="*/ 14764 w 28575"/>
                  <a:gd name="connsiteY4" fmla="*/ 22384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764" y="22384"/>
                    </a:moveTo>
                    <a:cubicBezTo>
                      <a:pt x="19526" y="22384"/>
                      <a:pt x="22384" y="18574"/>
                      <a:pt x="22384" y="14764"/>
                    </a:cubicBezTo>
                    <a:cubicBezTo>
                      <a:pt x="22384" y="10001"/>
                      <a:pt x="18574" y="7144"/>
                      <a:pt x="14764" y="7144"/>
                    </a:cubicBezTo>
                    <a:cubicBezTo>
                      <a:pt x="10954" y="7144"/>
                      <a:pt x="7144" y="10954"/>
                      <a:pt x="7144" y="14764"/>
                    </a:cubicBezTo>
                    <a:cubicBezTo>
                      <a:pt x="7144" y="18574"/>
                      <a:pt x="10001" y="22384"/>
                      <a:pt x="14764" y="22384"/>
                    </a:cubicBezTo>
                    <a:close/>
                  </a:path>
                </a:pathLst>
              </a:custGeom>
              <a:grpFill/>
              <a:ln w="9525" cap="flat">
                <a:no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F163BAE2-AD65-442E-90B9-6C6E661E2B63}"/>
                  </a:ext>
                </a:extLst>
              </p:cNvPr>
              <p:cNvSpPr/>
              <p:nvPr/>
            </p:nvSpPr>
            <p:spPr>
              <a:xfrm>
                <a:off x="5407819" y="3471386"/>
                <a:ext cx="38100" cy="38100"/>
              </a:xfrm>
              <a:custGeom>
                <a:avLst/>
                <a:gdLst>
                  <a:gd name="connsiteX0" fmla="*/ 39529 w 38100"/>
                  <a:gd name="connsiteY0" fmla="*/ 23336 h 38100"/>
                  <a:gd name="connsiteX1" fmla="*/ 23336 w 38100"/>
                  <a:gd name="connsiteY1" fmla="*/ 39529 h 38100"/>
                  <a:gd name="connsiteX2" fmla="*/ 7144 w 38100"/>
                  <a:gd name="connsiteY2" fmla="*/ 23336 h 38100"/>
                  <a:gd name="connsiteX3" fmla="*/ 23336 w 38100"/>
                  <a:gd name="connsiteY3" fmla="*/ 7144 h 38100"/>
                  <a:gd name="connsiteX4" fmla="*/ 39529 w 38100"/>
                  <a:gd name="connsiteY4" fmla="*/ 2333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529" y="23336"/>
                    </a:moveTo>
                    <a:cubicBezTo>
                      <a:pt x="39529" y="32279"/>
                      <a:pt x="32279" y="39529"/>
                      <a:pt x="23336" y="39529"/>
                    </a:cubicBezTo>
                    <a:cubicBezTo>
                      <a:pt x="14393" y="39529"/>
                      <a:pt x="7144" y="32279"/>
                      <a:pt x="7144" y="23336"/>
                    </a:cubicBezTo>
                    <a:cubicBezTo>
                      <a:pt x="7144" y="14393"/>
                      <a:pt x="14393" y="7144"/>
                      <a:pt x="23336" y="7144"/>
                    </a:cubicBezTo>
                    <a:cubicBezTo>
                      <a:pt x="32279" y="7144"/>
                      <a:pt x="39529" y="14393"/>
                      <a:pt x="39529" y="23336"/>
                    </a:cubicBezTo>
                    <a:close/>
                  </a:path>
                </a:pathLst>
              </a:custGeom>
              <a:grpFill/>
              <a:ln w="9525"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DA17A58E-565B-4529-B31B-370429B14419}"/>
                  </a:ext>
                </a:extLst>
              </p:cNvPr>
              <p:cNvSpPr/>
              <p:nvPr/>
            </p:nvSpPr>
            <p:spPr>
              <a:xfrm>
                <a:off x="6014561" y="2881789"/>
                <a:ext cx="19050" cy="19050"/>
              </a:xfrm>
              <a:custGeom>
                <a:avLst/>
                <a:gdLst>
                  <a:gd name="connsiteX0" fmla="*/ 7144 w 19050"/>
                  <a:gd name="connsiteY0" fmla="*/ 12859 h 19050"/>
                  <a:gd name="connsiteX1" fmla="*/ 12859 w 19050"/>
                  <a:gd name="connsiteY1" fmla="*/ 18574 h 19050"/>
                  <a:gd name="connsiteX2" fmla="*/ 18574 w 19050"/>
                  <a:gd name="connsiteY2" fmla="*/ 12859 h 19050"/>
                  <a:gd name="connsiteX3" fmla="*/ 12859 w 19050"/>
                  <a:gd name="connsiteY3" fmla="*/ 7144 h 19050"/>
                  <a:gd name="connsiteX4" fmla="*/ 7144 w 19050"/>
                  <a:gd name="connsiteY4" fmla="*/ 12859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7144" y="12859"/>
                    </a:moveTo>
                    <a:cubicBezTo>
                      <a:pt x="7144" y="15716"/>
                      <a:pt x="9049" y="18574"/>
                      <a:pt x="12859" y="18574"/>
                    </a:cubicBezTo>
                    <a:cubicBezTo>
                      <a:pt x="15716" y="18574"/>
                      <a:pt x="18574" y="16669"/>
                      <a:pt x="18574" y="12859"/>
                    </a:cubicBezTo>
                    <a:cubicBezTo>
                      <a:pt x="18574" y="10001"/>
                      <a:pt x="16669" y="7144"/>
                      <a:pt x="12859" y="7144"/>
                    </a:cubicBezTo>
                    <a:cubicBezTo>
                      <a:pt x="9049" y="8096"/>
                      <a:pt x="7144" y="10001"/>
                      <a:pt x="7144" y="12859"/>
                    </a:cubicBezTo>
                    <a:close/>
                  </a:path>
                </a:pathLst>
              </a:custGeom>
              <a:grpFill/>
              <a:ln w="9525"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BDA53D05-15C6-49FB-AEA6-678A811EF5B7}"/>
                  </a:ext>
                </a:extLst>
              </p:cNvPr>
              <p:cNvSpPr/>
              <p:nvPr/>
            </p:nvSpPr>
            <p:spPr>
              <a:xfrm>
                <a:off x="5963126" y="2893219"/>
                <a:ext cx="76200" cy="85725"/>
              </a:xfrm>
              <a:custGeom>
                <a:avLst/>
                <a:gdLst>
                  <a:gd name="connsiteX0" fmla="*/ 13811 w 76200"/>
                  <a:gd name="connsiteY0" fmla="*/ 37624 h 85725"/>
                  <a:gd name="connsiteX1" fmla="*/ 13811 w 76200"/>
                  <a:gd name="connsiteY1" fmla="*/ 40481 h 85725"/>
                  <a:gd name="connsiteX2" fmla="*/ 7144 w 76200"/>
                  <a:gd name="connsiteY2" fmla="*/ 57626 h 85725"/>
                  <a:gd name="connsiteX3" fmla="*/ 15716 w 76200"/>
                  <a:gd name="connsiteY3" fmla="*/ 77629 h 85725"/>
                  <a:gd name="connsiteX4" fmla="*/ 28099 w 76200"/>
                  <a:gd name="connsiteY4" fmla="*/ 86201 h 85725"/>
                  <a:gd name="connsiteX5" fmla="*/ 33814 w 76200"/>
                  <a:gd name="connsiteY5" fmla="*/ 84296 h 85725"/>
                  <a:gd name="connsiteX6" fmla="*/ 58579 w 76200"/>
                  <a:gd name="connsiteY6" fmla="*/ 64294 h 85725"/>
                  <a:gd name="connsiteX7" fmla="*/ 74771 w 76200"/>
                  <a:gd name="connsiteY7" fmla="*/ 37624 h 85725"/>
                  <a:gd name="connsiteX8" fmla="*/ 44291 w 76200"/>
                  <a:gd name="connsiteY8" fmla="*/ 7144 h 85725"/>
                  <a:gd name="connsiteX9" fmla="*/ 13811 w 76200"/>
                  <a:gd name="connsiteY9" fmla="*/ 37624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 h="85725">
                    <a:moveTo>
                      <a:pt x="13811" y="37624"/>
                    </a:moveTo>
                    <a:cubicBezTo>
                      <a:pt x="13811" y="38576"/>
                      <a:pt x="13811" y="39529"/>
                      <a:pt x="13811" y="40481"/>
                    </a:cubicBezTo>
                    <a:cubicBezTo>
                      <a:pt x="10001" y="45244"/>
                      <a:pt x="7144" y="50959"/>
                      <a:pt x="7144" y="57626"/>
                    </a:cubicBezTo>
                    <a:cubicBezTo>
                      <a:pt x="7144" y="65246"/>
                      <a:pt x="10954" y="71914"/>
                      <a:pt x="15716" y="77629"/>
                    </a:cubicBezTo>
                    <a:cubicBezTo>
                      <a:pt x="17621" y="82391"/>
                      <a:pt x="22384" y="86201"/>
                      <a:pt x="28099" y="86201"/>
                    </a:cubicBezTo>
                    <a:cubicBezTo>
                      <a:pt x="30004" y="86201"/>
                      <a:pt x="31909" y="85249"/>
                      <a:pt x="33814" y="84296"/>
                    </a:cubicBezTo>
                    <a:cubicBezTo>
                      <a:pt x="46196" y="84296"/>
                      <a:pt x="55721" y="75724"/>
                      <a:pt x="58579" y="64294"/>
                    </a:cubicBezTo>
                    <a:cubicBezTo>
                      <a:pt x="68104" y="58579"/>
                      <a:pt x="74771" y="49054"/>
                      <a:pt x="74771" y="37624"/>
                    </a:cubicBezTo>
                    <a:cubicBezTo>
                      <a:pt x="74771" y="20479"/>
                      <a:pt x="60484" y="7144"/>
                      <a:pt x="44291" y="7144"/>
                    </a:cubicBezTo>
                    <a:cubicBezTo>
                      <a:pt x="28099" y="7144"/>
                      <a:pt x="13811" y="20479"/>
                      <a:pt x="13811" y="37624"/>
                    </a:cubicBezTo>
                    <a:close/>
                  </a:path>
                </a:pathLst>
              </a:custGeom>
              <a:grpFill/>
              <a:ln w="9525"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B278BD38-1F79-4406-9F3C-9BF595192E7B}"/>
                  </a:ext>
                </a:extLst>
              </p:cNvPr>
              <p:cNvSpPr/>
              <p:nvPr/>
            </p:nvSpPr>
            <p:spPr>
              <a:xfrm>
                <a:off x="5599271" y="3773329"/>
                <a:ext cx="28575" cy="28575"/>
              </a:xfrm>
              <a:custGeom>
                <a:avLst/>
                <a:gdLst>
                  <a:gd name="connsiteX0" fmla="*/ 14764 w 28575"/>
                  <a:gd name="connsiteY0" fmla="*/ 22384 h 28575"/>
                  <a:gd name="connsiteX1" fmla="*/ 22384 w 28575"/>
                  <a:gd name="connsiteY1" fmla="*/ 14764 h 28575"/>
                  <a:gd name="connsiteX2" fmla="*/ 14764 w 28575"/>
                  <a:gd name="connsiteY2" fmla="*/ 7144 h 28575"/>
                  <a:gd name="connsiteX3" fmla="*/ 7144 w 28575"/>
                  <a:gd name="connsiteY3" fmla="*/ 14764 h 28575"/>
                  <a:gd name="connsiteX4" fmla="*/ 14764 w 28575"/>
                  <a:gd name="connsiteY4" fmla="*/ 22384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764" y="22384"/>
                    </a:moveTo>
                    <a:cubicBezTo>
                      <a:pt x="18574" y="22384"/>
                      <a:pt x="22384" y="19526"/>
                      <a:pt x="22384" y="14764"/>
                    </a:cubicBezTo>
                    <a:cubicBezTo>
                      <a:pt x="22384" y="10954"/>
                      <a:pt x="18574" y="7144"/>
                      <a:pt x="14764" y="7144"/>
                    </a:cubicBezTo>
                    <a:cubicBezTo>
                      <a:pt x="10954" y="7144"/>
                      <a:pt x="7144" y="10001"/>
                      <a:pt x="7144" y="14764"/>
                    </a:cubicBezTo>
                    <a:cubicBezTo>
                      <a:pt x="7144" y="18574"/>
                      <a:pt x="10954" y="22384"/>
                      <a:pt x="14764" y="22384"/>
                    </a:cubicBezTo>
                    <a:close/>
                  </a:path>
                </a:pathLst>
              </a:custGeom>
              <a:grpFill/>
              <a:ln w="9525"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CE637A85-B58A-44C2-98B0-DFC164AD3465}"/>
                  </a:ext>
                </a:extLst>
              </p:cNvPr>
              <p:cNvSpPr/>
              <p:nvPr/>
            </p:nvSpPr>
            <p:spPr>
              <a:xfrm>
                <a:off x="5607844" y="3741896"/>
                <a:ext cx="38100" cy="38100"/>
              </a:xfrm>
              <a:custGeom>
                <a:avLst/>
                <a:gdLst>
                  <a:gd name="connsiteX0" fmla="*/ 23336 w 38100"/>
                  <a:gd name="connsiteY0" fmla="*/ 7144 h 38100"/>
                  <a:gd name="connsiteX1" fmla="*/ 7144 w 38100"/>
                  <a:gd name="connsiteY1" fmla="*/ 23336 h 38100"/>
                  <a:gd name="connsiteX2" fmla="*/ 23336 w 38100"/>
                  <a:gd name="connsiteY2" fmla="*/ 39529 h 38100"/>
                  <a:gd name="connsiteX3" fmla="*/ 39529 w 38100"/>
                  <a:gd name="connsiteY3" fmla="*/ 23336 h 38100"/>
                  <a:gd name="connsiteX4" fmla="*/ 23336 w 38100"/>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3336" y="7144"/>
                    </a:moveTo>
                    <a:cubicBezTo>
                      <a:pt x="13811" y="7144"/>
                      <a:pt x="7144" y="14764"/>
                      <a:pt x="7144" y="23336"/>
                    </a:cubicBezTo>
                    <a:cubicBezTo>
                      <a:pt x="7144" y="31909"/>
                      <a:pt x="14764" y="39529"/>
                      <a:pt x="23336" y="39529"/>
                    </a:cubicBezTo>
                    <a:cubicBezTo>
                      <a:pt x="32861" y="39529"/>
                      <a:pt x="39529" y="31909"/>
                      <a:pt x="39529" y="23336"/>
                    </a:cubicBezTo>
                    <a:cubicBezTo>
                      <a:pt x="39529" y="14764"/>
                      <a:pt x="31909" y="7144"/>
                      <a:pt x="23336" y="7144"/>
                    </a:cubicBezTo>
                    <a:close/>
                  </a:path>
                </a:pathLst>
              </a:custGeom>
              <a:grpFill/>
              <a:ln w="9525"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D5579501-5E52-4D11-A2D3-12B09C2949B0}"/>
                  </a:ext>
                </a:extLst>
              </p:cNvPr>
              <p:cNvSpPr/>
              <p:nvPr/>
            </p:nvSpPr>
            <p:spPr>
              <a:xfrm>
                <a:off x="6123146" y="2626519"/>
                <a:ext cx="47625" cy="47625"/>
              </a:xfrm>
              <a:custGeom>
                <a:avLst/>
                <a:gdLst>
                  <a:gd name="connsiteX0" fmla="*/ 28099 w 47625"/>
                  <a:gd name="connsiteY0" fmla="*/ 49054 h 47625"/>
                  <a:gd name="connsiteX1" fmla="*/ 49054 w 47625"/>
                  <a:gd name="connsiteY1" fmla="*/ 28099 h 47625"/>
                  <a:gd name="connsiteX2" fmla="*/ 28099 w 47625"/>
                  <a:gd name="connsiteY2" fmla="*/ 7144 h 47625"/>
                  <a:gd name="connsiteX3" fmla="*/ 7144 w 47625"/>
                  <a:gd name="connsiteY3" fmla="*/ 28099 h 47625"/>
                  <a:gd name="connsiteX4" fmla="*/ 28099 w 47625"/>
                  <a:gd name="connsiteY4" fmla="*/ 49054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28099" y="49054"/>
                    </a:moveTo>
                    <a:cubicBezTo>
                      <a:pt x="39529" y="49054"/>
                      <a:pt x="49054" y="39529"/>
                      <a:pt x="49054" y="28099"/>
                    </a:cubicBezTo>
                    <a:cubicBezTo>
                      <a:pt x="49054" y="16669"/>
                      <a:pt x="39529" y="7144"/>
                      <a:pt x="28099" y="7144"/>
                    </a:cubicBezTo>
                    <a:cubicBezTo>
                      <a:pt x="16669" y="7144"/>
                      <a:pt x="7144" y="16669"/>
                      <a:pt x="7144" y="28099"/>
                    </a:cubicBezTo>
                    <a:cubicBezTo>
                      <a:pt x="7144" y="39529"/>
                      <a:pt x="16669" y="49054"/>
                      <a:pt x="28099" y="49054"/>
                    </a:cubicBezTo>
                    <a:close/>
                  </a:path>
                </a:pathLst>
              </a:custGeom>
              <a:grpFill/>
              <a:ln w="9525"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440BB581-3D25-40D7-8360-6ED7A9F2BF2F}"/>
                  </a:ext>
                </a:extLst>
              </p:cNvPr>
              <p:cNvSpPr/>
              <p:nvPr/>
            </p:nvSpPr>
            <p:spPr>
              <a:xfrm>
                <a:off x="6023134" y="2957989"/>
                <a:ext cx="28575" cy="28575"/>
              </a:xfrm>
              <a:custGeom>
                <a:avLst/>
                <a:gdLst>
                  <a:gd name="connsiteX0" fmla="*/ 7144 w 28575"/>
                  <a:gd name="connsiteY0" fmla="*/ 15716 h 28575"/>
                  <a:gd name="connsiteX1" fmla="*/ 15716 w 28575"/>
                  <a:gd name="connsiteY1" fmla="*/ 24289 h 28575"/>
                  <a:gd name="connsiteX2" fmla="*/ 24289 w 28575"/>
                  <a:gd name="connsiteY2" fmla="*/ 15716 h 28575"/>
                  <a:gd name="connsiteX3" fmla="*/ 15716 w 28575"/>
                  <a:gd name="connsiteY3" fmla="*/ 7144 h 28575"/>
                  <a:gd name="connsiteX4" fmla="*/ 7144 w 28575"/>
                  <a:gd name="connsiteY4" fmla="*/ 15716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7144" y="15716"/>
                    </a:moveTo>
                    <a:cubicBezTo>
                      <a:pt x="7144" y="20479"/>
                      <a:pt x="10954" y="24289"/>
                      <a:pt x="15716" y="24289"/>
                    </a:cubicBezTo>
                    <a:cubicBezTo>
                      <a:pt x="20479" y="24289"/>
                      <a:pt x="24289" y="20479"/>
                      <a:pt x="24289" y="15716"/>
                    </a:cubicBezTo>
                    <a:cubicBezTo>
                      <a:pt x="24289" y="10954"/>
                      <a:pt x="20479" y="7144"/>
                      <a:pt x="15716" y="7144"/>
                    </a:cubicBezTo>
                    <a:cubicBezTo>
                      <a:pt x="10001" y="8096"/>
                      <a:pt x="7144" y="11906"/>
                      <a:pt x="7144" y="15716"/>
                    </a:cubicBezTo>
                    <a:close/>
                  </a:path>
                </a:pathLst>
              </a:custGeom>
              <a:grpFill/>
              <a:ln w="9525"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6E7E0F58-2811-4E1E-9BA2-99B133063569}"/>
                  </a:ext>
                </a:extLst>
              </p:cNvPr>
              <p:cNvSpPr/>
              <p:nvPr/>
            </p:nvSpPr>
            <p:spPr>
              <a:xfrm>
                <a:off x="5868829" y="2835116"/>
                <a:ext cx="57150" cy="57150"/>
              </a:xfrm>
              <a:custGeom>
                <a:avLst/>
                <a:gdLst>
                  <a:gd name="connsiteX0" fmla="*/ 29051 w 57150"/>
                  <a:gd name="connsiteY0" fmla="*/ 50959 h 57150"/>
                  <a:gd name="connsiteX1" fmla="*/ 50959 w 57150"/>
                  <a:gd name="connsiteY1" fmla="*/ 29051 h 57150"/>
                  <a:gd name="connsiteX2" fmla="*/ 29051 w 57150"/>
                  <a:gd name="connsiteY2" fmla="*/ 7144 h 57150"/>
                  <a:gd name="connsiteX3" fmla="*/ 7144 w 57150"/>
                  <a:gd name="connsiteY3" fmla="*/ 29051 h 57150"/>
                  <a:gd name="connsiteX4" fmla="*/ 29051 w 57150"/>
                  <a:gd name="connsiteY4" fmla="*/ 50959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29051" y="50959"/>
                    </a:moveTo>
                    <a:cubicBezTo>
                      <a:pt x="41434" y="50959"/>
                      <a:pt x="50959" y="41434"/>
                      <a:pt x="50959" y="29051"/>
                    </a:cubicBezTo>
                    <a:cubicBezTo>
                      <a:pt x="50959" y="16669"/>
                      <a:pt x="41434" y="7144"/>
                      <a:pt x="29051" y="7144"/>
                    </a:cubicBezTo>
                    <a:cubicBezTo>
                      <a:pt x="16669" y="7144"/>
                      <a:pt x="7144" y="16669"/>
                      <a:pt x="7144" y="29051"/>
                    </a:cubicBezTo>
                    <a:cubicBezTo>
                      <a:pt x="7144" y="41434"/>
                      <a:pt x="16669" y="50959"/>
                      <a:pt x="29051" y="50959"/>
                    </a:cubicBezTo>
                    <a:close/>
                  </a:path>
                </a:pathLst>
              </a:custGeom>
              <a:grpFill/>
              <a:ln w="9525"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9F0DB081-26B8-4209-A46A-F8810AAA7834}"/>
                  </a:ext>
                </a:extLst>
              </p:cNvPr>
              <p:cNvSpPr/>
              <p:nvPr/>
            </p:nvSpPr>
            <p:spPr>
              <a:xfrm>
                <a:off x="5718334" y="3236119"/>
                <a:ext cx="28575" cy="28575"/>
              </a:xfrm>
              <a:custGeom>
                <a:avLst/>
                <a:gdLst>
                  <a:gd name="connsiteX0" fmla="*/ 16669 w 28575"/>
                  <a:gd name="connsiteY0" fmla="*/ 26194 h 28575"/>
                  <a:gd name="connsiteX1" fmla="*/ 26194 w 28575"/>
                  <a:gd name="connsiteY1" fmla="*/ 16669 h 28575"/>
                  <a:gd name="connsiteX2" fmla="*/ 16669 w 28575"/>
                  <a:gd name="connsiteY2" fmla="*/ 7144 h 28575"/>
                  <a:gd name="connsiteX3" fmla="*/ 7144 w 28575"/>
                  <a:gd name="connsiteY3" fmla="*/ 16669 h 28575"/>
                  <a:gd name="connsiteX4" fmla="*/ 16669 w 28575"/>
                  <a:gd name="connsiteY4" fmla="*/ 26194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6669" y="26194"/>
                    </a:moveTo>
                    <a:cubicBezTo>
                      <a:pt x="22384" y="26194"/>
                      <a:pt x="26194" y="21431"/>
                      <a:pt x="26194" y="16669"/>
                    </a:cubicBezTo>
                    <a:cubicBezTo>
                      <a:pt x="26194" y="10954"/>
                      <a:pt x="21431" y="7144"/>
                      <a:pt x="16669" y="7144"/>
                    </a:cubicBezTo>
                    <a:cubicBezTo>
                      <a:pt x="10954" y="7144"/>
                      <a:pt x="7144" y="11906"/>
                      <a:pt x="7144" y="16669"/>
                    </a:cubicBezTo>
                    <a:cubicBezTo>
                      <a:pt x="7144" y="21431"/>
                      <a:pt x="11906" y="26194"/>
                      <a:pt x="16669" y="26194"/>
                    </a:cubicBezTo>
                    <a:close/>
                  </a:path>
                </a:pathLst>
              </a:custGeom>
              <a:grpFill/>
              <a:ln w="9525"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C03EACFA-2B27-4F1E-9DD1-A0BD6FADBD06}"/>
                  </a:ext>
                </a:extLst>
              </p:cNvPr>
              <p:cNvSpPr/>
              <p:nvPr/>
            </p:nvSpPr>
            <p:spPr>
              <a:xfrm>
                <a:off x="6134576" y="2823686"/>
                <a:ext cx="28575" cy="28575"/>
              </a:xfrm>
              <a:custGeom>
                <a:avLst/>
                <a:gdLst>
                  <a:gd name="connsiteX0" fmla="*/ 18574 w 28575"/>
                  <a:gd name="connsiteY0" fmla="*/ 30004 h 28575"/>
                  <a:gd name="connsiteX1" fmla="*/ 30004 w 28575"/>
                  <a:gd name="connsiteY1" fmla="*/ 18574 h 28575"/>
                  <a:gd name="connsiteX2" fmla="*/ 18574 w 28575"/>
                  <a:gd name="connsiteY2" fmla="*/ 7144 h 28575"/>
                  <a:gd name="connsiteX3" fmla="*/ 7144 w 28575"/>
                  <a:gd name="connsiteY3" fmla="*/ 18574 h 28575"/>
                  <a:gd name="connsiteX4" fmla="*/ 18574 w 28575"/>
                  <a:gd name="connsiteY4" fmla="*/ 30004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8574" y="30004"/>
                    </a:moveTo>
                    <a:cubicBezTo>
                      <a:pt x="25241" y="30004"/>
                      <a:pt x="30004" y="25241"/>
                      <a:pt x="30004" y="18574"/>
                    </a:cubicBezTo>
                    <a:cubicBezTo>
                      <a:pt x="30004" y="12859"/>
                      <a:pt x="25241" y="7144"/>
                      <a:pt x="18574" y="7144"/>
                    </a:cubicBezTo>
                    <a:cubicBezTo>
                      <a:pt x="11906" y="7144"/>
                      <a:pt x="7144" y="11906"/>
                      <a:pt x="7144" y="18574"/>
                    </a:cubicBezTo>
                    <a:cubicBezTo>
                      <a:pt x="7144" y="25241"/>
                      <a:pt x="11906" y="30004"/>
                      <a:pt x="18574" y="30004"/>
                    </a:cubicBezTo>
                    <a:close/>
                  </a:path>
                </a:pathLst>
              </a:custGeom>
              <a:grpFill/>
              <a:ln w="9525"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405AA606-61A6-48B5-899C-0B6ABBD96C4B}"/>
                  </a:ext>
                </a:extLst>
              </p:cNvPr>
              <p:cNvSpPr/>
              <p:nvPr/>
            </p:nvSpPr>
            <p:spPr>
              <a:xfrm>
                <a:off x="6121241" y="2847499"/>
                <a:ext cx="38100" cy="38100"/>
              </a:xfrm>
              <a:custGeom>
                <a:avLst/>
                <a:gdLst>
                  <a:gd name="connsiteX0" fmla="*/ 23336 w 38100"/>
                  <a:gd name="connsiteY0" fmla="*/ 39529 h 38100"/>
                  <a:gd name="connsiteX1" fmla="*/ 39529 w 38100"/>
                  <a:gd name="connsiteY1" fmla="*/ 23336 h 38100"/>
                  <a:gd name="connsiteX2" fmla="*/ 23336 w 38100"/>
                  <a:gd name="connsiteY2" fmla="*/ 7144 h 38100"/>
                  <a:gd name="connsiteX3" fmla="*/ 7144 w 38100"/>
                  <a:gd name="connsiteY3" fmla="*/ 23336 h 38100"/>
                  <a:gd name="connsiteX4" fmla="*/ 23336 w 38100"/>
                  <a:gd name="connsiteY4" fmla="*/ 39529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3336" y="39529"/>
                    </a:moveTo>
                    <a:cubicBezTo>
                      <a:pt x="31909" y="39529"/>
                      <a:pt x="39529" y="31909"/>
                      <a:pt x="39529" y="23336"/>
                    </a:cubicBezTo>
                    <a:cubicBezTo>
                      <a:pt x="39529" y="14764"/>
                      <a:pt x="32861" y="7144"/>
                      <a:pt x="23336" y="7144"/>
                    </a:cubicBezTo>
                    <a:cubicBezTo>
                      <a:pt x="14764" y="7144"/>
                      <a:pt x="7144" y="13811"/>
                      <a:pt x="7144" y="23336"/>
                    </a:cubicBezTo>
                    <a:cubicBezTo>
                      <a:pt x="8096" y="31909"/>
                      <a:pt x="14764" y="39529"/>
                      <a:pt x="23336" y="39529"/>
                    </a:cubicBezTo>
                    <a:close/>
                  </a:path>
                </a:pathLst>
              </a:custGeom>
              <a:grpFill/>
              <a:ln w="9525" cap="flat">
                <a:noFill/>
                <a:prstDash val="solid"/>
                <a:miter/>
              </a:ln>
            </p:spPr>
            <p:txBody>
              <a:bodyPr rtlCol="0" anchor="ctr"/>
              <a:lstStyle/>
              <a:p>
                <a:endParaRPr lang="en-US"/>
              </a:p>
            </p:txBody>
          </p:sp>
          <p:sp>
            <p:nvSpPr>
              <p:cNvPr id="73" name="Freeform: Shape 72">
                <a:extLst>
                  <a:ext uri="{FF2B5EF4-FFF2-40B4-BE49-F238E27FC236}">
                    <a16:creationId xmlns:a16="http://schemas.microsoft.com/office/drawing/2014/main" id="{ED78F833-70B1-4B96-A07A-D8701E340F12}"/>
                  </a:ext>
                </a:extLst>
              </p:cNvPr>
              <p:cNvSpPr/>
              <p:nvPr/>
            </p:nvSpPr>
            <p:spPr>
              <a:xfrm>
                <a:off x="5774531" y="3376136"/>
                <a:ext cx="76200" cy="95250"/>
              </a:xfrm>
              <a:custGeom>
                <a:avLst/>
                <a:gdLst>
                  <a:gd name="connsiteX0" fmla="*/ 25241 w 76200"/>
                  <a:gd name="connsiteY0" fmla="*/ 7144 h 95250"/>
                  <a:gd name="connsiteX1" fmla="*/ 7144 w 76200"/>
                  <a:gd name="connsiteY1" fmla="*/ 25241 h 95250"/>
                  <a:gd name="connsiteX2" fmla="*/ 18574 w 76200"/>
                  <a:gd name="connsiteY2" fmla="*/ 42386 h 95250"/>
                  <a:gd name="connsiteX3" fmla="*/ 14764 w 76200"/>
                  <a:gd name="connsiteY3" fmla="*/ 54769 h 95250"/>
                  <a:gd name="connsiteX4" fmla="*/ 14764 w 76200"/>
                  <a:gd name="connsiteY4" fmla="*/ 55721 h 95250"/>
                  <a:gd name="connsiteX5" fmla="*/ 7144 w 76200"/>
                  <a:gd name="connsiteY5" fmla="*/ 71914 h 95250"/>
                  <a:gd name="connsiteX6" fmla="*/ 29051 w 76200"/>
                  <a:gd name="connsiteY6" fmla="*/ 93821 h 95250"/>
                  <a:gd name="connsiteX7" fmla="*/ 50959 w 76200"/>
                  <a:gd name="connsiteY7" fmla="*/ 71914 h 95250"/>
                  <a:gd name="connsiteX8" fmla="*/ 50959 w 76200"/>
                  <a:gd name="connsiteY8" fmla="*/ 68104 h 95250"/>
                  <a:gd name="connsiteX9" fmla="*/ 54769 w 76200"/>
                  <a:gd name="connsiteY9" fmla="*/ 61436 h 95250"/>
                  <a:gd name="connsiteX10" fmla="*/ 61436 w 76200"/>
                  <a:gd name="connsiteY10" fmla="*/ 64294 h 95250"/>
                  <a:gd name="connsiteX11" fmla="*/ 71914 w 76200"/>
                  <a:gd name="connsiteY11" fmla="*/ 53816 h 95250"/>
                  <a:gd name="connsiteX12" fmla="*/ 61436 w 76200"/>
                  <a:gd name="connsiteY12" fmla="*/ 43339 h 95250"/>
                  <a:gd name="connsiteX13" fmla="*/ 54769 w 76200"/>
                  <a:gd name="connsiteY13" fmla="*/ 46196 h 95250"/>
                  <a:gd name="connsiteX14" fmla="*/ 40481 w 76200"/>
                  <a:gd name="connsiteY14" fmla="*/ 33814 h 95250"/>
                  <a:gd name="connsiteX15" fmla="*/ 42386 w 76200"/>
                  <a:gd name="connsiteY15" fmla="*/ 25241 h 95250"/>
                  <a:gd name="connsiteX16" fmla="*/ 25241 w 76200"/>
                  <a:gd name="connsiteY16" fmla="*/ 7144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6200" h="95250">
                    <a:moveTo>
                      <a:pt x="25241" y="7144"/>
                    </a:moveTo>
                    <a:cubicBezTo>
                      <a:pt x="14764" y="7144"/>
                      <a:pt x="7144" y="15716"/>
                      <a:pt x="7144" y="25241"/>
                    </a:cubicBezTo>
                    <a:cubicBezTo>
                      <a:pt x="7144" y="32861"/>
                      <a:pt x="11906" y="39529"/>
                      <a:pt x="18574" y="42386"/>
                    </a:cubicBezTo>
                    <a:cubicBezTo>
                      <a:pt x="15716" y="46196"/>
                      <a:pt x="14764" y="50006"/>
                      <a:pt x="14764" y="54769"/>
                    </a:cubicBezTo>
                    <a:cubicBezTo>
                      <a:pt x="14764" y="55721"/>
                      <a:pt x="14764" y="55721"/>
                      <a:pt x="14764" y="55721"/>
                    </a:cubicBezTo>
                    <a:cubicBezTo>
                      <a:pt x="10001" y="59531"/>
                      <a:pt x="7144" y="65246"/>
                      <a:pt x="7144" y="71914"/>
                    </a:cubicBezTo>
                    <a:cubicBezTo>
                      <a:pt x="7144" y="84296"/>
                      <a:pt x="16669" y="93821"/>
                      <a:pt x="29051" y="93821"/>
                    </a:cubicBezTo>
                    <a:cubicBezTo>
                      <a:pt x="41434" y="93821"/>
                      <a:pt x="50959" y="84296"/>
                      <a:pt x="50959" y="71914"/>
                    </a:cubicBezTo>
                    <a:cubicBezTo>
                      <a:pt x="50959" y="70961"/>
                      <a:pt x="50959" y="70009"/>
                      <a:pt x="50959" y="68104"/>
                    </a:cubicBezTo>
                    <a:cubicBezTo>
                      <a:pt x="52864" y="66199"/>
                      <a:pt x="53816" y="64294"/>
                      <a:pt x="54769" y="61436"/>
                    </a:cubicBezTo>
                    <a:cubicBezTo>
                      <a:pt x="56674" y="63341"/>
                      <a:pt x="59531" y="64294"/>
                      <a:pt x="61436" y="64294"/>
                    </a:cubicBezTo>
                    <a:cubicBezTo>
                      <a:pt x="67151" y="64294"/>
                      <a:pt x="71914" y="59531"/>
                      <a:pt x="71914" y="53816"/>
                    </a:cubicBezTo>
                    <a:cubicBezTo>
                      <a:pt x="71914" y="48101"/>
                      <a:pt x="67151" y="43339"/>
                      <a:pt x="61436" y="43339"/>
                    </a:cubicBezTo>
                    <a:cubicBezTo>
                      <a:pt x="58579" y="43339"/>
                      <a:pt x="56674" y="44291"/>
                      <a:pt x="54769" y="46196"/>
                    </a:cubicBezTo>
                    <a:cubicBezTo>
                      <a:pt x="51911" y="39529"/>
                      <a:pt x="47149" y="34766"/>
                      <a:pt x="40481" y="33814"/>
                    </a:cubicBezTo>
                    <a:cubicBezTo>
                      <a:pt x="41434" y="30956"/>
                      <a:pt x="42386" y="28099"/>
                      <a:pt x="42386" y="25241"/>
                    </a:cubicBezTo>
                    <a:cubicBezTo>
                      <a:pt x="43339" y="15716"/>
                      <a:pt x="34766" y="7144"/>
                      <a:pt x="25241" y="7144"/>
                    </a:cubicBezTo>
                    <a:close/>
                  </a:path>
                </a:pathLst>
              </a:custGeom>
              <a:grpFill/>
              <a:ln w="9525" cap="flat">
                <a:no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84F308DD-6BE0-4F14-80E4-F0C9697BD96F}"/>
                  </a:ext>
                </a:extLst>
              </p:cNvPr>
              <p:cNvSpPr/>
              <p:nvPr/>
            </p:nvSpPr>
            <p:spPr>
              <a:xfrm>
                <a:off x="5570696" y="3223736"/>
                <a:ext cx="28575" cy="28575"/>
              </a:xfrm>
              <a:custGeom>
                <a:avLst/>
                <a:gdLst>
                  <a:gd name="connsiteX0" fmla="*/ 28099 w 28575"/>
                  <a:gd name="connsiteY0" fmla="*/ 17621 h 28575"/>
                  <a:gd name="connsiteX1" fmla="*/ 17621 w 28575"/>
                  <a:gd name="connsiteY1" fmla="*/ 7144 h 28575"/>
                  <a:gd name="connsiteX2" fmla="*/ 7144 w 28575"/>
                  <a:gd name="connsiteY2" fmla="*/ 17621 h 28575"/>
                  <a:gd name="connsiteX3" fmla="*/ 17621 w 28575"/>
                  <a:gd name="connsiteY3" fmla="*/ 28099 h 28575"/>
                  <a:gd name="connsiteX4" fmla="*/ 28099 w 28575"/>
                  <a:gd name="connsiteY4" fmla="*/ 17621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099" y="17621"/>
                    </a:moveTo>
                    <a:cubicBezTo>
                      <a:pt x="28099" y="11906"/>
                      <a:pt x="23336" y="7144"/>
                      <a:pt x="17621" y="7144"/>
                    </a:cubicBezTo>
                    <a:cubicBezTo>
                      <a:pt x="11906" y="7144"/>
                      <a:pt x="7144" y="11906"/>
                      <a:pt x="7144" y="17621"/>
                    </a:cubicBezTo>
                    <a:cubicBezTo>
                      <a:pt x="7144" y="23336"/>
                      <a:pt x="11906" y="28099"/>
                      <a:pt x="17621" y="28099"/>
                    </a:cubicBezTo>
                    <a:cubicBezTo>
                      <a:pt x="23336" y="28099"/>
                      <a:pt x="28099" y="23336"/>
                      <a:pt x="28099" y="17621"/>
                    </a:cubicBezTo>
                    <a:close/>
                  </a:path>
                </a:pathLst>
              </a:custGeom>
              <a:grpFill/>
              <a:ln w="9525"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B45E6BCE-38E7-4548-9BB7-F4EDA3FE7B51}"/>
                  </a:ext>
                </a:extLst>
              </p:cNvPr>
              <p:cNvSpPr/>
              <p:nvPr/>
            </p:nvSpPr>
            <p:spPr>
              <a:xfrm>
                <a:off x="5915501" y="4155281"/>
                <a:ext cx="38100" cy="28575"/>
              </a:xfrm>
              <a:custGeom>
                <a:avLst/>
                <a:gdLst>
                  <a:gd name="connsiteX0" fmla="*/ 7144 w 38100"/>
                  <a:gd name="connsiteY0" fmla="*/ 20479 h 28575"/>
                  <a:gd name="connsiteX1" fmla="*/ 14764 w 38100"/>
                  <a:gd name="connsiteY1" fmla="*/ 28099 h 28575"/>
                  <a:gd name="connsiteX2" fmla="*/ 22384 w 38100"/>
                  <a:gd name="connsiteY2" fmla="*/ 20479 h 28575"/>
                  <a:gd name="connsiteX3" fmla="*/ 28099 w 38100"/>
                  <a:gd name="connsiteY3" fmla="*/ 23336 h 28575"/>
                  <a:gd name="connsiteX4" fmla="*/ 35719 w 38100"/>
                  <a:gd name="connsiteY4" fmla="*/ 15716 h 28575"/>
                  <a:gd name="connsiteX5" fmla="*/ 28099 w 38100"/>
                  <a:gd name="connsiteY5" fmla="*/ 7144 h 28575"/>
                  <a:gd name="connsiteX6" fmla="*/ 20479 w 38100"/>
                  <a:gd name="connsiteY6" fmla="*/ 14764 h 28575"/>
                  <a:gd name="connsiteX7" fmla="*/ 14764 w 38100"/>
                  <a:gd name="connsiteY7" fmla="*/ 11906 h 28575"/>
                  <a:gd name="connsiteX8" fmla="*/ 7144 w 38100"/>
                  <a:gd name="connsiteY8" fmla="*/ 20479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100" h="28575">
                    <a:moveTo>
                      <a:pt x="7144" y="20479"/>
                    </a:moveTo>
                    <a:cubicBezTo>
                      <a:pt x="7144" y="25241"/>
                      <a:pt x="10954" y="28099"/>
                      <a:pt x="14764" y="28099"/>
                    </a:cubicBezTo>
                    <a:cubicBezTo>
                      <a:pt x="19526" y="28099"/>
                      <a:pt x="22384" y="24289"/>
                      <a:pt x="22384" y="20479"/>
                    </a:cubicBezTo>
                    <a:cubicBezTo>
                      <a:pt x="23336" y="22384"/>
                      <a:pt x="26194" y="23336"/>
                      <a:pt x="28099" y="23336"/>
                    </a:cubicBezTo>
                    <a:cubicBezTo>
                      <a:pt x="31909" y="23336"/>
                      <a:pt x="35719" y="19526"/>
                      <a:pt x="35719" y="15716"/>
                    </a:cubicBezTo>
                    <a:cubicBezTo>
                      <a:pt x="35719" y="11906"/>
                      <a:pt x="32861" y="7144"/>
                      <a:pt x="28099" y="7144"/>
                    </a:cubicBezTo>
                    <a:cubicBezTo>
                      <a:pt x="24289" y="7144"/>
                      <a:pt x="20479" y="10954"/>
                      <a:pt x="20479" y="14764"/>
                    </a:cubicBezTo>
                    <a:cubicBezTo>
                      <a:pt x="18574" y="12859"/>
                      <a:pt x="16669" y="11906"/>
                      <a:pt x="14764" y="11906"/>
                    </a:cubicBezTo>
                    <a:cubicBezTo>
                      <a:pt x="10001" y="11906"/>
                      <a:pt x="7144" y="15716"/>
                      <a:pt x="7144" y="20479"/>
                    </a:cubicBezTo>
                    <a:close/>
                  </a:path>
                </a:pathLst>
              </a:custGeom>
              <a:grpFill/>
              <a:ln w="9525"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CF979A80-C1A1-4A27-91DF-4FD4C5BB88AE}"/>
                  </a:ext>
                </a:extLst>
              </p:cNvPr>
              <p:cNvSpPr/>
              <p:nvPr/>
            </p:nvSpPr>
            <p:spPr>
              <a:xfrm>
                <a:off x="5491639" y="3211354"/>
                <a:ext cx="66675" cy="66675"/>
              </a:xfrm>
              <a:custGeom>
                <a:avLst/>
                <a:gdLst>
                  <a:gd name="connsiteX0" fmla="*/ 37624 w 66675"/>
                  <a:gd name="connsiteY0" fmla="*/ 68104 h 66675"/>
                  <a:gd name="connsiteX1" fmla="*/ 68104 w 66675"/>
                  <a:gd name="connsiteY1" fmla="*/ 37624 h 66675"/>
                  <a:gd name="connsiteX2" fmla="*/ 37624 w 66675"/>
                  <a:gd name="connsiteY2" fmla="*/ 7144 h 66675"/>
                  <a:gd name="connsiteX3" fmla="*/ 7144 w 66675"/>
                  <a:gd name="connsiteY3" fmla="*/ 37624 h 66675"/>
                  <a:gd name="connsiteX4" fmla="*/ 37624 w 66675"/>
                  <a:gd name="connsiteY4" fmla="*/ 68104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6675">
                    <a:moveTo>
                      <a:pt x="37624" y="68104"/>
                    </a:moveTo>
                    <a:cubicBezTo>
                      <a:pt x="54769" y="68104"/>
                      <a:pt x="68104" y="54769"/>
                      <a:pt x="68104" y="37624"/>
                    </a:cubicBezTo>
                    <a:cubicBezTo>
                      <a:pt x="68104" y="20479"/>
                      <a:pt x="54769" y="7144"/>
                      <a:pt x="37624" y="7144"/>
                    </a:cubicBezTo>
                    <a:cubicBezTo>
                      <a:pt x="20479" y="7144"/>
                      <a:pt x="7144" y="20479"/>
                      <a:pt x="7144" y="37624"/>
                    </a:cubicBezTo>
                    <a:cubicBezTo>
                      <a:pt x="7144" y="54769"/>
                      <a:pt x="20479" y="68104"/>
                      <a:pt x="37624" y="68104"/>
                    </a:cubicBezTo>
                    <a:close/>
                  </a:path>
                </a:pathLst>
              </a:custGeom>
              <a:grpFill/>
              <a:ln w="9525"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B37E6589-EA54-4209-8C4A-F82EC3F15733}"/>
                  </a:ext>
                </a:extLst>
              </p:cNvPr>
              <p:cNvSpPr/>
              <p:nvPr/>
            </p:nvSpPr>
            <p:spPr>
              <a:xfrm>
                <a:off x="5838349" y="3117056"/>
                <a:ext cx="76200" cy="85725"/>
              </a:xfrm>
              <a:custGeom>
                <a:avLst/>
                <a:gdLst>
                  <a:gd name="connsiteX0" fmla="*/ 49054 w 76200"/>
                  <a:gd name="connsiteY0" fmla="*/ 64294 h 85725"/>
                  <a:gd name="connsiteX1" fmla="*/ 73819 w 76200"/>
                  <a:gd name="connsiteY1" fmla="*/ 39529 h 85725"/>
                  <a:gd name="connsiteX2" fmla="*/ 55721 w 76200"/>
                  <a:gd name="connsiteY2" fmla="*/ 15716 h 85725"/>
                  <a:gd name="connsiteX3" fmla="*/ 35719 w 76200"/>
                  <a:gd name="connsiteY3" fmla="*/ 7144 h 85725"/>
                  <a:gd name="connsiteX4" fmla="*/ 8096 w 76200"/>
                  <a:gd name="connsiteY4" fmla="*/ 34766 h 85725"/>
                  <a:gd name="connsiteX5" fmla="*/ 15716 w 76200"/>
                  <a:gd name="connsiteY5" fmla="*/ 53816 h 85725"/>
                  <a:gd name="connsiteX6" fmla="*/ 7144 w 76200"/>
                  <a:gd name="connsiteY6" fmla="*/ 67151 h 85725"/>
                  <a:gd name="connsiteX7" fmla="*/ 22384 w 76200"/>
                  <a:gd name="connsiteY7" fmla="*/ 82391 h 85725"/>
                  <a:gd name="connsiteX8" fmla="*/ 37624 w 76200"/>
                  <a:gd name="connsiteY8" fmla="*/ 67151 h 85725"/>
                  <a:gd name="connsiteX9" fmla="*/ 36671 w 76200"/>
                  <a:gd name="connsiteY9" fmla="*/ 62389 h 85725"/>
                  <a:gd name="connsiteX10" fmla="*/ 40481 w 76200"/>
                  <a:gd name="connsiteY10" fmla="*/ 62389 h 85725"/>
                  <a:gd name="connsiteX11" fmla="*/ 49054 w 76200"/>
                  <a:gd name="connsiteY11" fmla="*/ 64294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6200" h="85725">
                    <a:moveTo>
                      <a:pt x="49054" y="64294"/>
                    </a:moveTo>
                    <a:cubicBezTo>
                      <a:pt x="62389" y="64294"/>
                      <a:pt x="73819" y="53816"/>
                      <a:pt x="73819" y="39529"/>
                    </a:cubicBezTo>
                    <a:cubicBezTo>
                      <a:pt x="73819" y="28099"/>
                      <a:pt x="66199" y="18574"/>
                      <a:pt x="55721" y="15716"/>
                    </a:cubicBezTo>
                    <a:cubicBezTo>
                      <a:pt x="50959" y="10001"/>
                      <a:pt x="43339" y="7144"/>
                      <a:pt x="35719" y="7144"/>
                    </a:cubicBezTo>
                    <a:cubicBezTo>
                      <a:pt x="20479" y="7144"/>
                      <a:pt x="8096" y="19526"/>
                      <a:pt x="8096" y="34766"/>
                    </a:cubicBezTo>
                    <a:cubicBezTo>
                      <a:pt x="8096" y="42386"/>
                      <a:pt x="10954" y="49054"/>
                      <a:pt x="15716" y="53816"/>
                    </a:cubicBezTo>
                    <a:cubicBezTo>
                      <a:pt x="10954" y="56674"/>
                      <a:pt x="7144" y="61436"/>
                      <a:pt x="7144" y="67151"/>
                    </a:cubicBezTo>
                    <a:cubicBezTo>
                      <a:pt x="7144" y="75724"/>
                      <a:pt x="13811" y="82391"/>
                      <a:pt x="22384" y="82391"/>
                    </a:cubicBezTo>
                    <a:cubicBezTo>
                      <a:pt x="30956" y="82391"/>
                      <a:pt x="37624" y="75724"/>
                      <a:pt x="37624" y="67151"/>
                    </a:cubicBezTo>
                    <a:cubicBezTo>
                      <a:pt x="37624" y="65246"/>
                      <a:pt x="37624" y="63341"/>
                      <a:pt x="36671" y="62389"/>
                    </a:cubicBezTo>
                    <a:cubicBezTo>
                      <a:pt x="37624" y="62389"/>
                      <a:pt x="38576" y="62389"/>
                      <a:pt x="40481" y="62389"/>
                    </a:cubicBezTo>
                    <a:cubicBezTo>
                      <a:pt x="43339" y="63341"/>
                      <a:pt x="46196" y="64294"/>
                      <a:pt x="49054" y="64294"/>
                    </a:cubicBezTo>
                    <a:close/>
                  </a:path>
                </a:pathLst>
              </a:custGeom>
              <a:grpFill/>
              <a:ln w="9525"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7164D8A6-B01E-4C3D-BCFB-72F38638AF47}"/>
                  </a:ext>
                </a:extLst>
              </p:cNvPr>
              <p:cNvSpPr/>
              <p:nvPr/>
            </p:nvSpPr>
            <p:spPr>
              <a:xfrm>
                <a:off x="5675471" y="3245644"/>
                <a:ext cx="28575" cy="28575"/>
              </a:xfrm>
              <a:custGeom>
                <a:avLst/>
                <a:gdLst>
                  <a:gd name="connsiteX0" fmla="*/ 7144 w 28575"/>
                  <a:gd name="connsiteY0" fmla="*/ 18574 h 28575"/>
                  <a:gd name="connsiteX1" fmla="*/ 18574 w 28575"/>
                  <a:gd name="connsiteY1" fmla="*/ 30004 h 28575"/>
                  <a:gd name="connsiteX2" fmla="*/ 30004 w 28575"/>
                  <a:gd name="connsiteY2" fmla="*/ 18574 h 28575"/>
                  <a:gd name="connsiteX3" fmla="*/ 18574 w 28575"/>
                  <a:gd name="connsiteY3" fmla="*/ 7144 h 28575"/>
                  <a:gd name="connsiteX4" fmla="*/ 7144 w 28575"/>
                  <a:gd name="connsiteY4" fmla="*/ 18574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7144" y="18574"/>
                    </a:moveTo>
                    <a:cubicBezTo>
                      <a:pt x="7144" y="25241"/>
                      <a:pt x="11906" y="30004"/>
                      <a:pt x="18574" y="30004"/>
                    </a:cubicBezTo>
                    <a:cubicBezTo>
                      <a:pt x="25241" y="30004"/>
                      <a:pt x="30004" y="25241"/>
                      <a:pt x="30004" y="18574"/>
                    </a:cubicBezTo>
                    <a:cubicBezTo>
                      <a:pt x="30004" y="11906"/>
                      <a:pt x="25241" y="7144"/>
                      <a:pt x="18574" y="7144"/>
                    </a:cubicBezTo>
                    <a:cubicBezTo>
                      <a:pt x="12859" y="7144"/>
                      <a:pt x="7144" y="12859"/>
                      <a:pt x="7144" y="18574"/>
                    </a:cubicBezTo>
                    <a:close/>
                  </a:path>
                </a:pathLst>
              </a:custGeom>
              <a:grpFill/>
              <a:ln w="9525"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E9965FAC-8158-4729-B6B0-9A06B1A490FE}"/>
                  </a:ext>
                </a:extLst>
              </p:cNvPr>
              <p:cNvSpPr/>
              <p:nvPr/>
            </p:nvSpPr>
            <p:spPr>
              <a:xfrm>
                <a:off x="5369719" y="3549491"/>
                <a:ext cx="38100" cy="38100"/>
              </a:xfrm>
              <a:custGeom>
                <a:avLst/>
                <a:gdLst>
                  <a:gd name="connsiteX0" fmla="*/ 39529 w 38100"/>
                  <a:gd name="connsiteY0" fmla="*/ 23336 h 38100"/>
                  <a:gd name="connsiteX1" fmla="*/ 23336 w 38100"/>
                  <a:gd name="connsiteY1" fmla="*/ 7144 h 38100"/>
                  <a:gd name="connsiteX2" fmla="*/ 7144 w 38100"/>
                  <a:gd name="connsiteY2" fmla="*/ 23336 h 38100"/>
                  <a:gd name="connsiteX3" fmla="*/ 23336 w 38100"/>
                  <a:gd name="connsiteY3" fmla="*/ 39529 h 38100"/>
                  <a:gd name="connsiteX4" fmla="*/ 39529 w 38100"/>
                  <a:gd name="connsiteY4" fmla="*/ 2333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529" y="23336"/>
                    </a:moveTo>
                    <a:cubicBezTo>
                      <a:pt x="39529" y="13811"/>
                      <a:pt x="31909" y="7144"/>
                      <a:pt x="23336" y="7144"/>
                    </a:cubicBezTo>
                    <a:cubicBezTo>
                      <a:pt x="13811" y="7144"/>
                      <a:pt x="7144" y="14764"/>
                      <a:pt x="7144" y="23336"/>
                    </a:cubicBezTo>
                    <a:cubicBezTo>
                      <a:pt x="7144" y="32861"/>
                      <a:pt x="14764" y="39529"/>
                      <a:pt x="23336" y="39529"/>
                    </a:cubicBezTo>
                    <a:cubicBezTo>
                      <a:pt x="31909" y="40481"/>
                      <a:pt x="39529" y="32861"/>
                      <a:pt x="39529" y="23336"/>
                    </a:cubicBezTo>
                    <a:close/>
                  </a:path>
                </a:pathLst>
              </a:custGeom>
              <a:grpFill/>
              <a:ln w="9525"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9A513717-B175-4821-AFF8-2B8E1B793E2F}"/>
                  </a:ext>
                </a:extLst>
              </p:cNvPr>
              <p:cNvSpPr/>
              <p:nvPr/>
            </p:nvSpPr>
            <p:spPr>
              <a:xfrm>
                <a:off x="5723096" y="3647599"/>
                <a:ext cx="38100" cy="38100"/>
              </a:xfrm>
              <a:custGeom>
                <a:avLst/>
                <a:gdLst>
                  <a:gd name="connsiteX0" fmla="*/ 35719 w 38100"/>
                  <a:gd name="connsiteY0" fmla="*/ 21431 h 38100"/>
                  <a:gd name="connsiteX1" fmla="*/ 21431 w 38100"/>
                  <a:gd name="connsiteY1" fmla="*/ 7144 h 38100"/>
                  <a:gd name="connsiteX2" fmla="*/ 7144 w 38100"/>
                  <a:gd name="connsiteY2" fmla="*/ 21431 h 38100"/>
                  <a:gd name="connsiteX3" fmla="*/ 21431 w 38100"/>
                  <a:gd name="connsiteY3" fmla="*/ 35719 h 38100"/>
                  <a:gd name="connsiteX4" fmla="*/ 35719 w 38100"/>
                  <a:gd name="connsiteY4" fmla="*/ 2143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5719" y="21431"/>
                    </a:moveTo>
                    <a:cubicBezTo>
                      <a:pt x="35719" y="12859"/>
                      <a:pt x="29051" y="7144"/>
                      <a:pt x="21431" y="7144"/>
                    </a:cubicBezTo>
                    <a:cubicBezTo>
                      <a:pt x="13811" y="7144"/>
                      <a:pt x="7144" y="13811"/>
                      <a:pt x="7144" y="21431"/>
                    </a:cubicBezTo>
                    <a:cubicBezTo>
                      <a:pt x="7144" y="30004"/>
                      <a:pt x="13811" y="35719"/>
                      <a:pt x="21431" y="35719"/>
                    </a:cubicBezTo>
                    <a:cubicBezTo>
                      <a:pt x="29051" y="35719"/>
                      <a:pt x="35719" y="30004"/>
                      <a:pt x="35719" y="21431"/>
                    </a:cubicBezTo>
                    <a:close/>
                  </a:path>
                </a:pathLst>
              </a:custGeom>
              <a:grpFill/>
              <a:ln w="9525" cap="flat">
                <a:no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C148B944-1414-4863-9FA1-95547CFE6FFD}"/>
                  </a:ext>
                </a:extLst>
              </p:cNvPr>
              <p:cNvSpPr/>
              <p:nvPr/>
            </p:nvSpPr>
            <p:spPr>
              <a:xfrm>
                <a:off x="6036469" y="2917984"/>
                <a:ext cx="161925" cy="133350"/>
              </a:xfrm>
              <a:custGeom>
                <a:avLst/>
                <a:gdLst>
                  <a:gd name="connsiteX0" fmla="*/ 74771 w 161925"/>
                  <a:gd name="connsiteY0" fmla="*/ 30004 h 133350"/>
                  <a:gd name="connsiteX1" fmla="*/ 77629 w 161925"/>
                  <a:gd name="connsiteY1" fmla="*/ 21431 h 133350"/>
                  <a:gd name="connsiteX2" fmla="*/ 63341 w 161925"/>
                  <a:gd name="connsiteY2" fmla="*/ 7144 h 133350"/>
                  <a:gd name="connsiteX3" fmla="*/ 49054 w 161925"/>
                  <a:gd name="connsiteY3" fmla="*/ 21431 h 133350"/>
                  <a:gd name="connsiteX4" fmla="*/ 49054 w 161925"/>
                  <a:gd name="connsiteY4" fmla="*/ 24289 h 133350"/>
                  <a:gd name="connsiteX5" fmla="*/ 22384 w 161925"/>
                  <a:gd name="connsiteY5" fmla="*/ 56674 h 133350"/>
                  <a:gd name="connsiteX6" fmla="*/ 27146 w 161925"/>
                  <a:gd name="connsiteY6" fmla="*/ 72866 h 133350"/>
                  <a:gd name="connsiteX7" fmla="*/ 25241 w 161925"/>
                  <a:gd name="connsiteY7" fmla="*/ 72866 h 133350"/>
                  <a:gd name="connsiteX8" fmla="*/ 7144 w 161925"/>
                  <a:gd name="connsiteY8" fmla="*/ 90964 h 133350"/>
                  <a:gd name="connsiteX9" fmla="*/ 25241 w 161925"/>
                  <a:gd name="connsiteY9" fmla="*/ 109061 h 133350"/>
                  <a:gd name="connsiteX10" fmla="*/ 42386 w 161925"/>
                  <a:gd name="connsiteY10" fmla="*/ 93821 h 133350"/>
                  <a:gd name="connsiteX11" fmla="*/ 78581 w 161925"/>
                  <a:gd name="connsiteY11" fmla="*/ 130016 h 133350"/>
                  <a:gd name="connsiteX12" fmla="*/ 114776 w 161925"/>
                  <a:gd name="connsiteY12" fmla="*/ 93821 h 133350"/>
                  <a:gd name="connsiteX13" fmla="*/ 109061 w 161925"/>
                  <a:gd name="connsiteY13" fmla="*/ 73819 h 133350"/>
                  <a:gd name="connsiteX14" fmla="*/ 124301 w 161925"/>
                  <a:gd name="connsiteY14" fmla="*/ 80486 h 133350"/>
                  <a:gd name="connsiteX15" fmla="*/ 146209 w 161925"/>
                  <a:gd name="connsiteY15" fmla="*/ 61436 h 133350"/>
                  <a:gd name="connsiteX16" fmla="*/ 151924 w 161925"/>
                  <a:gd name="connsiteY16" fmla="*/ 63341 h 133350"/>
                  <a:gd name="connsiteX17" fmla="*/ 163354 w 161925"/>
                  <a:gd name="connsiteY17" fmla="*/ 51911 h 133350"/>
                  <a:gd name="connsiteX18" fmla="*/ 151924 w 161925"/>
                  <a:gd name="connsiteY18" fmla="*/ 40481 h 133350"/>
                  <a:gd name="connsiteX19" fmla="*/ 142399 w 161925"/>
                  <a:gd name="connsiteY19" fmla="*/ 46196 h 133350"/>
                  <a:gd name="connsiteX20" fmla="*/ 124301 w 161925"/>
                  <a:gd name="connsiteY20" fmla="*/ 36671 h 133350"/>
                  <a:gd name="connsiteX21" fmla="*/ 102394 w 161925"/>
                  <a:gd name="connsiteY21" fmla="*/ 58579 h 133350"/>
                  <a:gd name="connsiteX22" fmla="*/ 105251 w 161925"/>
                  <a:gd name="connsiteY22" fmla="*/ 70009 h 133350"/>
                  <a:gd name="connsiteX23" fmla="*/ 88106 w 161925"/>
                  <a:gd name="connsiteY23" fmla="*/ 59531 h 133350"/>
                  <a:gd name="connsiteX24" fmla="*/ 88106 w 161925"/>
                  <a:gd name="connsiteY24" fmla="*/ 58579 h 133350"/>
                  <a:gd name="connsiteX25" fmla="*/ 74771 w 161925"/>
                  <a:gd name="connsiteY25" fmla="*/ 30004 h 133350"/>
                  <a:gd name="connsiteX26" fmla="*/ 42386 w 161925"/>
                  <a:gd name="connsiteY26" fmla="*/ 91916 h 133350"/>
                  <a:gd name="connsiteX27" fmla="*/ 42386 w 161925"/>
                  <a:gd name="connsiteY27" fmla="*/ 89059 h 133350"/>
                  <a:gd name="connsiteX28" fmla="*/ 43339 w 161925"/>
                  <a:gd name="connsiteY28" fmla="*/ 89059 h 133350"/>
                  <a:gd name="connsiteX29" fmla="*/ 42386 w 161925"/>
                  <a:gd name="connsiteY29" fmla="*/ 91916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61925" h="133350">
                    <a:moveTo>
                      <a:pt x="74771" y="30004"/>
                    </a:moveTo>
                    <a:cubicBezTo>
                      <a:pt x="76676" y="28099"/>
                      <a:pt x="77629" y="25241"/>
                      <a:pt x="77629" y="21431"/>
                    </a:cubicBezTo>
                    <a:cubicBezTo>
                      <a:pt x="77629" y="13811"/>
                      <a:pt x="70961" y="7144"/>
                      <a:pt x="63341" y="7144"/>
                    </a:cubicBezTo>
                    <a:cubicBezTo>
                      <a:pt x="55721" y="7144"/>
                      <a:pt x="49054" y="13811"/>
                      <a:pt x="49054" y="21431"/>
                    </a:cubicBezTo>
                    <a:cubicBezTo>
                      <a:pt x="49054" y="22384"/>
                      <a:pt x="49054" y="23336"/>
                      <a:pt x="49054" y="24289"/>
                    </a:cubicBezTo>
                    <a:cubicBezTo>
                      <a:pt x="33814" y="27146"/>
                      <a:pt x="22384" y="40481"/>
                      <a:pt x="22384" y="56674"/>
                    </a:cubicBezTo>
                    <a:cubicBezTo>
                      <a:pt x="22384" y="62389"/>
                      <a:pt x="24289" y="68104"/>
                      <a:pt x="27146" y="72866"/>
                    </a:cubicBezTo>
                    <a:cubicBezTo>
                      <a:pt x="26194" y="72866"/>
                      <a:pt x="26194" y="72866"/>
                      <a:pt x="25241" y="72866"/>
                    </a:cubicBezTo>
                    <a:cubicBezTo>
                      <a:pt x="15716" y="72866"/>
                      <a:pt x="7144" y="80486"/>
                      <a:pt x="7144" y="90964"/>
                    </a:cubicBezTo>
                    <a:cubicBezTo>
                      <a:pt x="7144" y="101441"/>
                      <a:pt x="14764" y="109061"/>
                      <a:pt x="25241" y="109061"/>
                    </a:cubicBezTo>
                    <a:cubicBezTo>
                      <a:pt x="33814" y="109061"/>
                      <a:pt x="41434" y="102394"/>
                      <a:pt x="42386" y="93821"/>
                    </a:cubicBezTo>
                    <a:cubicBezTo>
                      <a:pt x="42386" y="113824"/>
                      <a:pt x="58579" y="130016"/>
                      <a:pt x="78581" y="130016"/>
                    </a:cubicBezTo>
                    <a:cubicBezTo>
                      <a:pt x="98584" y="130016"/>
                      <a:pt x="114776" y="113824"/>
                      <a:pt x="114776" y="93821"/>
                    </a:cubicBezTo>
                    <a:cubicBezTo>
                      <a:pt x="114776" y="86201"/>
                      <a:pt x="112871" y="79534"/>
                      <a:pt x="109061" y="73819"/>
                    </a:cubicBezTo>
                    <a:cubicBezTo>
                      <a:pt x="112871" y="77629"/>
                      <a:pt x="118586" y="80486"/>
                      <a:pt x="124301" y="80486"/>
                    </a:cubicBezTo>
                    <a:cubicBezTo>
                      <a:pt x="135731" y="80486"/>
                      <a:pt x="144304" y="71914"/>
                      <a:pt x="146209" y="61436"/>
                    </a:cubicBezTo>
                    <a:cubicBezTo>
                      <a:pt x="148114" y="62389"/>
                      <a:pt x="150019" y="63341"/>
                      <a:pt x="151924" y="63341"/>
                    </a:cubicBezTo>
                    <a:cubicBezTo>
                      <a:pt x="158591" y="63341"/>
                      <a:pt x="163354" y="58579"/>
                      <a:pt x="163354" y="51911"/>
                    </a:cubicBezTo>
                    <a:cubicBezTo>
                      <a:pt x="163354" y="45244"/>
                      <a:pt x="158591" y="40481"/>
                      <a:pt x="151924" y="40481"/>
                    </a:cubicBezTo>
                    <a:cubicBezTo>
                      <a:pt x="148114" y="40481"/>
                      <a:pt x="144304" y="42386"/>
                      <a:pt x="142399" y="46196"/>
                    </a:cubicBezTo>
                    <a:cubicBezTo>
                      <a:pt x="138589" y="40481"/>
                      <a:pt x="131921" y="36671"/>
                      <a:pt x="124301" y="36671"/>
                    </a:cubicBezTo>
                    <a:cubicBezTo>
                      <a:pt x="111919" y="36671"/>
                      <a:pt x="102394" y="46196"/>
                      <a:pt x="102394" y="58579"/>
                    </a:cubicBezTo>
                    <a:cubicBezTo>
                      <a:pt x="102394" y="62389"/>
                      <a:pt x="103346" y="66199"/>
                      <a:pt x="105251" y="70009"/>
                    </a:cubicBezTo>
                    <a:cubicBezTo>
                      <a:pt x="100489" y="65246"/>
                      <a:pt x="94774" y="61436"/>
                      <a:pt x="88106" y="59531"/>
                    </a:cubicBezTo>
                    <a:cubicBezTo>
                      <a:pt x="88106" y="59531"/>
                      <a:pt x="88106" y="58579"/>
                      <a:pt x="88106" y="58579"/>
                    </a:cubicBezTo>
                    <a:cubicBezTo>
                      <a:pt x="89059" y="46196"/>
                      <a:pt x="83344" y="36671"/>
                      <a:pt x="74771" y="30004"/>
                    </a:cubicBezTo>
                    <a:close/>
                    <a:moveTo>
                      <a:pt x="42386" y="91916"/>
                    </a:moveTo>
                    <a:cubicBezTo>
                      <a:pt x="42386" y="90964"/>
                      <a:pt x="42386" y="90011"/>
                      <a:pt x="42386" y="89059"/>
                    </a:cubicBezTo>
                    <a:cubicBezTo>
                      <a:pt x="42386" y="89059"/>
                      <a:pt x="42386" y="89059"/>
                      <a:pt x="43339" y="89059"/>
                    </a:cubicBezTo>
                    <a:cubicBezTo>
                      <a:pt x="43339" y="89059"/>
                      <a:pt x="42386" y="90964"/>
                      <a:pt x="42386" y="91916"/>
                    </a:cubicBezTo>
                    <a:close/>
                  </a:path>
                </a:pathLst>
              </a:custGeom>
              <a:grpFill/>
              <a:ln w="9525" cap="flat">
                <a:noFill/>
                <a:prstDash val="solid"/>
                <a:miter/>
              </a:ln>
            </p:spPr>
            <p:txBody>
              <a:bodyPr rtlCol="0" anchor="ctr"/>
              <a:lstStyle/>
              <a:p>
                <a:endParaRPr lang="en-US"/>
              </a:p>
            </p:txBody>
          </p:sp>
          <p:sp>
            <p:nvSpPr>
              <p:cNvPr id="82" name="Freeform: Shape 81">
                <a:extLst>
                  <a:ext uri="{FF2B5EF4-FFF2-40B4-BE49-F238E27FC236}">
                    <a16:creationId xmlns:a16="http://schemas.microsoft.com/office/drawing/2014/main" id="{A83AF7CD-A3CE-4FE6-8C3F-8468103C1A54}"/>
                  </a:ext>
                </a:extLst>
              </p:cNvPr>
              <p:cNvSpPr/>
              <p:nvPr/>
            </p:nvSpPr>
            <p:spPr>
              <a:xfrm>
                <a:off x="5822156" y="3741896"/>
                <a:ext cx="28575" cy="28575"/>
              </a:xfrm>
              <a:custGeom>
                <a:avLst/>
                <a:gdLst>
                  <a:gd name="connsiteX0" fmla="*/ 22384 w 28575"/>
                  <a:gd name="connsiteY0" fmla="*/ 14764 h 28575"/>
                  <a:gd name="connsiteX1" fmla="*/ 14764 w 28575"/>
                  <a:gd name="connsiteY1" fmla="*/ 22384 h 28575"/>
                  <a:gd name="connsiteX2" fmla="*/ 7144 w 28575"/>
                  <a:gd name="connsiteY2" fmla="*/ 14764 h 28575"/>
                  <a:gd name="connsiteX3" fmla="*/ 14764 w 28575"/>
                  <a:gd name="connsiteY3" fmla="*/ 7144 h 28575"/>
                  <a:gd name="connsiteX4" fmla="*/ 22384 w 28575"/>
                  <a:gd name="connsiteY4" fmla="*/ 14764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2384" y="14764"/>
                    </a:moveTo>
                    <a:cubicBezTo>
                      <a:pt x="22384" y="18972"/>
                      <a:pt x="18972" y="22384"/>
                      <a:pt x="14764" y="22384"/>
                    </a:cubicBezTo>
                    <a:cubicBezTo>
                      <a:pt x="10555" y="22384"/>
                      <a:pt x="7144" y="18972"/>
                      <a:pt x="7144" y="14764"/>
                    </a:cubicBezTo>
                    <a:cubicBezTo>
                      <a:pt x="7144" y="10555"/>
                      <a:pt x="10555" y="7144"/>
                      <a:pt x="14764" y="7144"/>
                    </a:cubicBezTo>
                    <a:cubicBezTo>
                      <a:pt x="18972" y="7144"/>
                      <a:pt x="22384" y="10555"/>
                      <a:pt x="22384" y="14764"/>
                    </a:cubicBezTo>
                    <a:close/>
                  </a:path>
                </a:pathLst>
              </a:custGeom>
              <a:grpFill/>
              <a:ln w="9525" cap="flat">
                <a:no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BF250EB3-11B0-4200-8FA4-193A1C0AC2D7}"/>
                  </a:ext>
                </a:extLst>
              </p:cNvPr>
              <p:cNvSpPr/>
              <p:nvPr/>
            </p:nvSpPr>
            <p:spPr>
              <a:xfrm>
                <a:off x="5948839" y="2976086"/>
                <a:ext cx="28575" cy="28575"/>
              </a:xfrm>
              <a:custGeom>
                <a:avLst/>
                <a:gdLst>
                  <a:gd name="connsiteX0" fmla="*/ 15716 w 28575"/>
                  <a:gd name="connsiteY0" fmla="*/ 24289 h 28575"/>
                  <a:gd name="connsiteX1" fmla="*/ 24289 w 28575"/>
                  <a:gd name="connsiteY1" fmla="*/ 15716 h 28575"/>
                  <a:gd name="connsiteX2" fmla="*/ 15716 w 28575"/>
                  <a:gd name="connsiteY2" fmla="*/ 7144 h 28575"/>
                  <a:gd name="connsiteX3" fmla="*/ 7144 w 28575"/>
                  <a:gd name="connsiteY3" fmla="*/ 15716 h 28575"/>
                  <a:gd name="connsiteX4" fmla="*/ 15716 w 28575"/>
                  <a:gd name="connsiteY4" fmla="*/ 2428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5716" y="24289"/>
                    </a:moveTo>
                    <a:cubicBezTo>
                      <a:pt x="20479" y="24289"/>
                      <a:pt x="24289" y="20479"/>
                      <a:pt x="24289" y="15716"/>
                    </a:cubicBezTo>
                    <a:cubicBezTo>
                      <a:pt x="24289" y="10954"/>
                      <a:pt x="20479" y="7144"/>
                      <a:pt x="15716" y="7144"/>
                    </a:cubicBezTo>
                    <a:cubicBezTo>
                      <a:pt x="10954" y="7144"/>
                      <a:pt x="7144" y="10954"/>
                      <a:pt x="7144" y="15716"/>
                    </a:cubicBezTo>
                    <a:cubicBezTo>
                      <a:pt x="8096" y="20479"/>
                      <a:pt x="11906" y="24289"/>
                      <a:pt x="15716" y="24289"/>
                    </a:cubicBezTo>
                    <a:close/>
                  </a:path>
                </a:pathLst>
              </a:custGeom>
              <a:grpFill/>
              <a:ln w="9525" cap="flat">
                <a:no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CBEF3E2C-37DC-40C6-AD5E-47CBCE9E2A3A}"/>
                  </a:ext>
                </a:extLst>
              </p:cNvPr>
              <p:cNvSpPr/>
              <p:nvPr/>
            </p:nvSpPr>
            <p:spPr>
              <a:xfrm>
                <a:off x="5656094" y="3041809"/>
                <a:ext cx="95250" cy="114300"/>
              </a:xfrm>
              <a:custGeom>
                <a:avLst/>
                <a:gdLst>
                  <a:gd name="connsiteX0" fmla="*/ 20806 w 95250"/>
                  <a:gd name="connsiteY0" fmla="*/ 90964 h 114300"/>
                  <a:gd name="connsiteX1" fmla="*/ 27474 w 95250"/>
                  <a:gd name="connsiteY1" fmla="*/ 89059 h 114300"/>
                  <a:gd name="connsiteX2" fmla="*/ 57954 w 95250"/>
                  <a:gd name="connsiteY2" fmla="*/ 108109 h 114300"/>
                  <a:gd name="connsiteX3" fmla="*/ 92244 w 95250"/>
                  <a:gd name="connsiteY3" fmla="*/ 73819 h 114300"/>
                  <a:gd name="connsiteX4" fmla="*/ 63669 w 95250"/>
                  <a:gd name="connsiteY4" fmla="*/ 40481 h 114300"/>
                  <a:gd name="connsiteX5" fmla="*/ 64621 w 95250"/>
                  <a:gd name="connsiteY5" fmla="*/ 33814 h 114300"/>
                  <a:gd name="connsiteX6" fmla="*/ 37951 w 95250"/>
                  <a:gd name="connsiteY6" fmla="*/ 7144 h 114300"/>
                  <a:gd name="connsiteX7" fmla="*/ 11281 w 95250"/>
                  <a:gd name="connsiteY7" fmla="*/ 33814 h 114300"/>
                  <a:gd name="connsiteX8" fmla="*/ 28426 w 95250"/>
                  <a:gd name="connsiteY8" fmla="*/ 58579 h 114300"/>
                  <a:gd name="connsiteX9" fmla="*/ 27474 w 95250"/>
                  <a:gd name="connsiteY9" fmla="*/ 61436 h 114300"/>
                  <a:gd name="connsiteX10" fmla="*/ 22711 w 95250"/>
                  <a:gd name="connsiteY10" fmla="*/ 60484 h 114300"/>
                  <a:gd name="connsiteX11" fmla="*/ 7471 w 95250"/>
                  <a:gd name="connsiteY11" fmla="*/ 75724 h 114300"/>
                  <a:gd name="connsiteX12" fmla="*/ 20806 w 95250"/>
                  <a:gd name="connsiteY12" fmla="*/ 90964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5250" h="114300">
                    <a:moveTo>
                      <a:pt x="20806" y="90964"/>
                    </a:moveTo>
                    <a:cubicBezTo>
                      <a:pt x="22711" y="90964"/>
                      <a:pt x="25569" y="90011"/>
                      <a:pt x="27474" y="89059"/>
                    </a:cubicBezTo>
                    <a:cubicBezTo>
                      <a:pt x="33189" y="100489"/>
                      <a:pt x="44619" y="108109"/>
                      <a:pt x="57954" y="108109"/>
                    </a:cubicBezTo>
                    <a:cubicBezTo>
                      <a:pt x="77004" y="108109"/>
                      <a:pt x="92244" y="92869"/>
                      <a:pt x="92244" y="73819"/>
                    </a:cubicBezTo>
                    <a:cubicBezTo>
                      <a:pt x="92244" y="56674"/>
                      <a:pt x="79861" y="43339"/>
                      <a:pt x="63669" y="40481"/>
                    </a:cubicBezTo>
                    <a:cubicBezTo>
                      <a:pt x="64621" y="38576"/>
                      <a:pt x="64621" y="36671"/>
                      <a:pt x="64621" y="33814"/>
                    </a:cubicBezTo>
                    <a:cubicBezTo>
                      <a:pt x="64621" y="18574"/>
                      <a:pt x="52239" y="7144"/>
                      <a:pt x="37951" y="7144"/>
                    </a:cubicBezTo>
                    <a:cubicBezTo>
                      <a:pt x="22711" y="7144"/>
                      <a:pt x="11281" y="19526"/>
                      <a:pt x="11281" y="33814"/>
                    </a:cubicBezTo>
                    <a:cubicBezTo>
                      <a:pt x="11281" y="45244"/>
                      <a:pt x="17949" y="54769"/>
                      <a:pt x="28426" y="58579"/>
                    </a:cubicBezTo>
                    <a:cubicBezTo>
                      <a:pt x="28426" y="59531"/>
                      <a:pt x="27474" y="60484"/>
                      <a:pt x="27474" y="61436"/>
                    </a:cubicBezTo>
                    <a:cubicBezTo>
                      <a:pt x="25569" y="60484"/>
                      <a:pt x="24616" y="60484"/>
                      <a:pt x="22711" y="60484"/>
                    </a:cubicBezTo>
                    <a:cubicBezTo>
                      <a:pt x="14139" y="60484"/>
                      <a:pt x="7471" y="67151"/>
                      <a:pt x="7471" y="75724"/>
                    </a:cubicBezTo>
                    <a:cubicBezTo>
                      <a:pt x="5566" y="84296"/>
                      <a:pt x="12234" y="90964"/>
                      <a:pt x="20806" y="90964"/>
                    </a:cubicBezTo>
                    <a:close/>
                  </a:path>
                </a:pathLst>
              </a:custGeom>
              <a:grpFill/>
              <a:ln w="9525"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063E0395-EE72-47CC-8488-940D040EDC5E}"/>
                  </a:ext>
                </a:extLst>
              </p:cNvPr>
              <p:cNvSpPr/>
              <p:nvPr/>
            </p:nvSpPr>
            <p:spPr>
              <a:xfrm>
                <a:off x="5755481" y="4182904"/>
                <a:ext cx="57150" cy="57150"/>
              </a:xfrm>
              <a:custGeom>
                <a:avLst/>
                <a:gdLst>
                  <a:gd name="connsiteX0" fmla="*/ 31909 w 57150"/>
                  <a:gd name="connsiteY0" fmla="*/ 7144 h 57150"/>
                  <a:gd name="connsiteX1" fmla="*/ 7144 w 57150"/>
                  <a:gd name="connsiteY1" fmla="*/ 31909 h 57150"/>
                  <a:gd name="connsiteX2" fmla="*/ 31909 w 57150"/>
                  <a:gd name="connsiteY2" fmla="*/ 56674 h 57150"/>
                  <a:gd name="connsiteX3" fmla="*/ 56674 w 57150"/>
                  <a:gd name="connsiteY3" fmla="*/ 31909 h 57150"/>
                  <a:gd name="connsiteX4" fmla="*/ 31909 w 57150"/>
                  <a:gd name="connsiteY4" fmla="*/ 7144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31909" y="7144"/>
                    </a:moveTo>
                    <a:cubicBezTo>
                      <a:pt x="18574" y="7144"/>
                      <a:pt x="7144" y="18574"/>
                      <a:pt x="7144" y="31909"/>
                    </a:cubicBezTo>
                    <a:cubicBezTo>
                      <a:pt x="7144" y="45244"/>
                      <a:pt x="18574" y="56674"/>
                      <a:pt x="31909" y="56674"/>
                    </a:cubicBezTo>
                    <a:cubicBezTo>
                      <a:pt x="45244" y="56674"/>
                      <a:pt x="56674" y="45244"/>
                      <a:pt x="56674" y="31909"/>
                    </a:cubicBezTo>
                    <a:cubicBezTo>
                      <a:pt x="56674" y="17621"/>
                      <a:pt x="45244" y="7144"/>
                      <a:pt x="31909" y="7144"/>
                    </a:cubicBezTo>
                    <a:close/>
                  </a:path>
                </a:pathLst>
              </a:custGeom>
              <a:grpFill/>
              <a:ln w="9525"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DF58809F-011F-4AA7-B502-3D47F13B44D8}"/>
                  </a:ext>
                </a:extLst>
              </p:cNvPr>
              <p:cNvSpPr/>
              <p:nvPr/>
            </p:nvSpPr>
            <p:spPr>
              <a:xfrm>
                <a:off x="6033611" y="3938111"/>
                <a:ext cx="28575" cy="28575"/>
              </a:xfrm>
              <a:custGeom>
                <a:avLst/>
                <a:gdLst>
                  <a:gd name="connsiteX0" fmla="*/ 22384 w 28575"/>
                  <a:gd name="connsiteY0" fmla="*/ 14764 h 28575"/>
                  <a:gd name="connsiteX1" fmla="*/ 14764 w 28575"/>
                  <a:gd name="connsiteY1" fmla="*/ 7144 h 28575"/>
                  <a:gd name="connsiteX2" fmla="*/ 7144 w 28575"/>
                  <a:gd name="connsiteY2" fmla="*/ 14764 h 28575"/>
                  <a:gd name="connsiteX3" fmla="*/ 14764 w 28575"/>
                  <a:gd name="connsiteY3" fmla="*/ 22384 h 28575"/>
                  <a:gd name="connsiteX4" fmla="*/ 22384 w 28575"/>
                  <a:gd name="connsiteY4" fmla="*/ 14764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2384" y="14764"/>
                    </a:moveTo>
                    <a:cubicBezTo>
                      <a:pt x="22384" y="10001"/>
                      <a:pt x="18574" y="7144"/>
                      <a:pt x="14764" y="7144"/>
                    </a:cubicBezTo>
                    <a:cubicBezTo>
                      <a:pt x="10954" y="7144"/>
                      <a:pt x="7144" y="10954"/>
                      <a:pt x="7144" y="14764"/>
                    </a:cubicBezTo>
                    <a:cubicBezTo>
                      <a:pt x="7144" y="18574"/>
                      <a:pt x="10954" y="22384"/>
                      <a:pt x="14764" y="22384"/>
                    </a:cubicBezTo>
                    <a:cubicBezTo>
                      <a:pt x="18574" y="22384"/>
                      <a:pt x="22384" y="19526"/>
                      <a:pt x="22384" y="14764"/>
                    </a:cubicBezTo>
                    <a:close/>
                  </a:path>
                </a:pathLst>
              </a:custGeom>
              <a:grpFill/>
              <a:ln w="9525"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E8717AF7-779B-4DF3-9CEF-D586EA470431}"/>
                  </a:ext>
                </a:extLst>
              </p:cNvPr>
              <p:cNvSpPr/>
              <p:nvPr/>
            </p:nvSpPr>
            <p:spPr>
              <a:xfrm>
                <a:off x="5585936" y="3662839"/>
                <a:ext cx="38100" cy="38100"/>
              </a:xfrm>
              <a:custGeom>
                <a:avLst/>
                <a:gdLst>
                  <a:gd name="connsiteX0" fmla="*/ 37624 w 38100"/>
                  <a:gd name="connsiteY0" fmla="*/ 22384 h 38100"/>
                  <a:gd name="connsiteX1" fmla="*/ 22384 w 38100"/>
                  <a:gd name="connsiteY1" fmla="*/ 7144 h 38100"/>
                  <a:gd name="connsiteX2" fmla="*/ 7144 w 38100"/>
                  <a:gd name="connsiteY2" fmla="*/ 22384 h 38100"/>
                  <a:gd name="connsiteX3" fmla="*/ 22384 w 38100"/>
                  <a:gd name="connsiteY3" fmla="*/ 37624 h 38100"/>
                  <a:gd name="connsiteX4" fmla="*/ 37624 w 38100"/>
                  <a:gd name="connsiteY4" fmla="*/ 2238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7624" y="22384"/>
                    </a:moveTo>
                    <a:cubicBezTo>
                      <a:pt x="37624" y="13811"/>
                      <a:pt x="30956" y="7144"/>
                      <a:pt x="22384" y="7144"/>
                    </a:cubicBezTo>
                    <a:cubicBezTo>
                      <a:pt x="13811" y="7144"/>
                      <a:pt x="7144" y="13811"/>
                      <a:pt x="7144" y="22384"/>
                    </a:cubicBezTo>
                    <a:cubicBezTo>
                      <a:pt x="7144" y="30956"/>
                      <a:pt x="13811" y="37624"/>
                      <a:pt x="22384" y="37624"/>
                    </a:cubicBezTo>
                    <a:cubicBezTo>
                      <a:pt x="30956" y="37624"/>
                      <a:pt x="37624" y="30956"/>
                      <a:pt x="37624" y="22384"/>
                    </a:cubicBezTo>
                    <a:close/>
                  </a:path>
                </a:pathLst>
              </a:custGeom>
              <a:grpFill/>
              <a:ln w="9525"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BBCD6C76-6AE2-4763-B46B-4EE431766134}"/>
                  </a:ext>
                </a:extLst>
              </p:cNvPr>
              <p:cNvSpPr/>
              <p:nvPr/>
            </p:nvSpPr>
            <p:spPr>
              <a:xfrm>
                <a:off x="5774531" y="3054191"/>
                <a:ext cx="28575" cy="28575"/>
              </a:xfrm>
              <a:custGeom>
                <a:avLst/>
                <a:gdLst>
                  <a:gd name="connsiteX0" fmla="*/ 28099 w 28575"/>
                  <a:gd name="connsiteY0" fmla="*/ 17621 h 28575"/>
                  <a:gd name="connsiteX1" fmla="*/ 17621 w 28575"/>
                  <a:gd name="connsiteY1" fmla="*/ 28099 h 28575"/>
                  <a:gd name="connsiteX2" fmla="*/ 7144 w 28575"/>
                  <a:gd name="connsiteY2" fmla="*/ 17621 h 28575"/>
                  <a:gd name="connsiteX3" fmla="*/ 17621 w 28575"/>
                  <a:gd name="connsiteY3" fmla="*/ 7144 h 28575"/>
                  <a:gd name="connsiteX4" fmla="*/ 28099 w 28575"/>
                  <a:gd name="connsiteY4" fmla="*/ 17621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099" y="17621"/>
                    </a:moveTo>
                    <a:cubicBezTo>
                      <a:pt x="28099" y="23408"/>
                      <a:pt x="23408" y="28099"/>
                      <a:pt x="17621" y="28099"/>
                    </a:cubicBezTo>
                    <a:cubicBezTo>
                      <a:pt x="11835" y="28099"/>
                      <a:pt x="7144" y="23408"/>
                      <a:pt x="7144" y="17621"/>
                    </a:cubicBezTo>
                    <a:cubicBezTo>
                      <a:pt x="7144" y="11835"/>
                      <a:pt x="11835" y="7144"/>
                      <a:pt x="17621" y="7144"/>
                    </a:cubicBezTo>
                    <a:cubicBezTo>
                      <a:pt x="23408" y="7144"/>
                      <a:pt x="28099" y="11835"/>
                      <a:pt x="28099" y="17621"/>
                    </a:cubicBezTo>
                    <a:close/>
                  </a:path>
                </a:pathLst>
              </a:custGeom>
              <a:grpFill/>
              <a:ln w="9525"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6C7FBF5C-A49A-4D31-9A21-76B56C0DF3FA}"/>
                  </a:ext>
                </a:extLst>
              </p:cNvPr>
              <p:cNvSpPr/>
              <p:nvPr/>
            </p:nvSpPr>
            <p:spPr>
              <a:xfrm>
                <a:off x="5801201" y="2997041"/>
                <a:ext cx="28575" cy="28575"/>
              </a:xfrm>
              <a:custGeom>
                <a:avLst/>
                <a:gdLst>
                  <a:gd name="connsiteX0" fmla="*/ 24289 w 28575"/>
                  <a:gd name="connsiteY0" fmla="*/ 15716 h 28575"/>
                  <a:gd name="connsiteX1" fmla="*/ 15716 w 28575"/>
                  <a:gd name="connsiteY1" fmla="*/ 24289 h 28575"/>
                  <a:gd name="connsiteX2" fmla="*/ 7144 w 28575"/>
                  <a:gd name="connsiteY2" fmla="*/ 15716 h 28575"/>
                  <a:gd name="connsiteX3" fmla="*/ 15716 w 28575"/>
                  <a:gd name="connsiteY3" fmla="*/ 7144 h 28575"/>
                  <a:gd name="connsiteX4" fmla="*/ 24289 w 28575"/>
                  <a:gd name="connsiteY4" fmla="*/ 15716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4289" y="15716"/>
                    </a:moveTo>
                    <a:cubicBezTo>
                      <a:pt x="24289" y="20451"/>
                      <a:pt x="20451" y="24289"/>
                      <a:pt x="15716" y="24289"/>
                    </a:cubicBezTo>
                    <a:cubicBezTo>
                      <a:pt x="10982" y="24289"/>
                      <a:pt x="7144" y="20451"/>
                      <a:pt x="7144" y="15716"/>
                    </a:cubicBezTo>
                    <a:cubicBezTo>
                      <a:pt x="7144" y="10982"/>
                      <a:pt x="10982" y="7144"/>
                      <a:pt x="15716" y="7144"/>
                    </a:cubicBezTo>
                    <a:cubicBezTo>
                      <a:pt x="20451" y="7144"/>
                      <a:pt x="24289" y="10982"/>
                      <a:pt x="24289" y="15716"/>
                    </a:cubicBezTo>
                    <a:close/>
                  </a:path>
                </a:pathLst>
              </a:custGeom>
              <a:grpFill/>
              <a:ln w="9525" cap="flat">
                <a:no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3AF5C66F-C19C-450F-A636-6856995E3F7D}"/>
                  </a:ext>
                </a:extLst>
              </p:cNvPr>
              <p:cNvSpPr/>
              <p:nvPr/>
            </p:nvSpPr>
            <p:spPr>
              <a:xfrm>
                <a:off x="5444966" y="3704749"/>
                <a:ext cx="85725" cy="85725"/>
              </a:xfrm>
              <a:custGeom>
                <a:avLst/>
                <a:gdLst>
                  <a:gd name="connsiteX0" fmla="*/ 81439 w 85725"/>
                  <a:gd name="connsiteY0" fmla="*/ 44291 h 85725"/>
                  <a:gd name="connsiteX1" fmla="*/ 44291 w 85725"/>
                  <a:gd name="connsiteY1" fmla="*/ 81439 h 85725"/>
                  <a:gd name="connsiteX2" fmla="*/ 7144 w 85725"/>
                  <a:gd name="connsiteY2" fmla="*/ 44291 h 85725"/>
                  <a:gd name="connsiteX3" fmla="*/ 44291 w 85725"/>
                  <a:gd name="connsiteY3" fmla="*/ 7144 h 85725"/>
                  <a:gd name="connsiteX4" fmla="*/ 81439 w 85725"/>
                  <a:gd name="connsiteY4" fmla="*/ 44291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85725">
                    <a:moveTo>
                      <a:pt x="81439" y="44291"/>
                    </a:moveTo>
                    <a:cubicBezTo>
                      <a:pt x="81439" y="64807"/>
                      <a:pt x="64807" y="81439"/>
                      <a:pt x="44291" y="81439"/>
                    </a:cubicBezTo>
                    <a:cubicBezTo>
                      <a:pt x="23775" y="81439"/>
                      <a:pt x="7144" y="64807"/>
                      <a:pt x="7144" y="44291"/>
                    </a:cubicBezTo>
                    <a:cubicBezTo>
                      <a:pt x="7144" y="23775"/>
                      <a:pt x="23775" y="7144"/>
                      <a:pt x="44291" y="7144"/>
                    </a:cubicBezTo>
                    <a:cubicBezTo>
                      <a:pt x="64807" y="7144"/>
                      <a:pt x="81439" y="23775"/>
                      <a:pt x="81439" y="44291"/>
                    </a:cubicBezTo>
                    <a:close/>
                  </a:path>
                </a:pathLst>
              </a:custGeom>
              <a:grpFill/>
              <a:ln w="9525" cap="flat">
                <a:no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384F53D1-48F2-47B4-8E4A-D6F6B605C6C6}"/>
                  </a:ext>
                </a:extLst>
              </p:cNvPr>
              <p:cNvSpPr/>
              <p:nvPr/>
            </p:nvSpPr>
            <p:spPr>
              <a:xfrm>
                <a:off x="5544979" y="3427571"/>
                <a:ext cx="85725" cy="95250"/>
              </a:xfrm>
              <a:custGeom>
                <a:avLst/>
                <a:gdLst>
                  <a:gd name="connsiteX0" fmla="*/ 58579 w 85725"/>
                  <a:gd name="connsiteY0" fmla="*/ 39529 h 95250"/>
                  <a:gd name="connsiteX1" fmla="*/ 59531 w 85725"/>
                  <a:gd name="connsiteY1" fmla="*/ 32861 h 95250"/>
                  <a:gd name="connsiteX2" fmla="*/ 39529 w 85725"/>
                  <a:gd name="connsiteY2" fmla="*/ 12859 h 95250"/>
                  <a:gd name="connsiteX3" fmla="*/ 38576 w 85725"/>
                  <a:gd name="connsiteY3" fmla="*/ 12859 h 95250"/>
                  <a:gd name="connsiteX4" fmla="*/ 25241 w 85725"/>
                  <a:gd name="connsiteY4" fmla="*/ 7144 h 95250"/>
                  <a:gd name="connsiteX5" fmla="*/ 7144 w 85725"/>
                  <a:gd name="connsiteY5" fmla="*/ 25241 h 95250"/>
                  <a:gd name="connsiteX6" fmla="*/ 22384 w 85725"/>
                  <a:gd name="connsiteY6" fmla="*/ 43339 h 95250"/>
                  <a:gd name="connsiteX7" fmla="*/ 34766 w 85725"/>
                  <a:gd name="connsiteY7" fmla="*/ 52864 h 95250"/>
                  <a:gd name="connsiteX8" fmla="*/ 30004 w 85725"/>
                  <a:gd name="connsiteY8" fmla="*/ 68104 h 95250"/>
                  <a:gd name="connsiteX9" fmla="*/ 58579 w 85725"/>
                  <a:gd name="connsiteY9" fmla="*/ 96679 h 95250"/>
                  <a:gd name="connsiteX10" fmla="*/ 87154 w 85725"/>
                  <a:gd name="connsiteY10" fmla="*/ 68104 h 95250"/>
                  <a:gd name="connsiteX11" fmla="*/ 58579 w 85725"/>
                  <a:gd name="connsiteY11" fmla="*/ 39529 h 95250"/>
                  <a:gd name="connsiteX12" fmla="*/ 58579 w 85725"/>
                  <a:gd name="connsiteY12" fmla="*/ 39529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725" h="95250">
                    <a:moveTo>
                      <a:pt x="58579" y="39529"/>
                    </a:moveTo>
                    <a:cubicBezTo>
                      <a:pt x="59531" y="37624"/>
                      <a:pt x="59531" y="35719"/>
                      <a:pt x="59531" y="32861"/>
                    </a:cubicBezTo>
                    <a:cubicBezTo>
                      <a:pt x="59531" y="21431"/>
                      <a:pt x="50006" y="12859"/>
                      <a:pt x="39529" y="12859"/>
                    </a:cubicBezTo>
                    <a:cubicBezTo>
                      <a:pt x="39529" y="12859"/>
                      <a:pt x="38576" y="12859"/>
                      <a:pt x="38576" y="12859"/>
                    </a:cubicBezTo>
                    <a:cubicBezTo>
                      <a:pt x="34766" y="9049"/>
                      <a:pt x="30956" y="7144"/>
                      <a:pt x="25241" y="7144"/>
                    </a:cubicBezTo>
                    <a:cubicBezTo>
                      <a:pt x="14764" y="7144"/>
                      <a:pt x="7144" y="15716"/>
                      <a:pt x="7144" y="25241"/>
                    </a:cubicBezTo>
                    <a:cubicBezTo>
                      <a:pt x="7144" y="33814"/>
                      <a:pt x="13811" y="41434"/>
                      <a:pt x="22384" y="43339"/>
                    </a:cubicBezTo>
                    <a:cubicBezTo>
                      <a:pt x="25241" y="48101"/>
                      <a:pt x="30004" y="50959"/>
                      <a:pt x="34766" y="52864"/>
                    </a:cubicBezTo>
                    <a:cubicBezTo>
                      <a:pt x="31909" y="57626"/>
                      <a:pt x="30004" y="62389"/>
                      <a:pt x="30004" y="68104"/>
                    </a:cubicBezTo>
                    <a:cubicBezTo>
                      <a:pt x="30004" y="84296"/>
                      <a:pt x="43339" y="96679"/>
                      <a:pt x="58579" y="96679"/>
                    </a:cubicBezTo>
                    <a:cubicBezTo>
                      <a:pt x="74771" y="96679"/>
                      <a:pt x="87154" y="83344"/>
                      <a:pt x="87154" y="68104"/>
                    </a:cubicBezTo>
                    <a:cubicBezTo>
                      <a:pt x="88106" y="52864"/>
                      <a:pt x="74771" y="39529"/>
                      <a:pt x="58579" y="39529"/>
                    </a:cubicBezTo>
                    <a:cubicBezTo>
                      <a:pt x="58579" y="39529"/>
                      <a:pt x="58579" y="39529"/>
                      <a:pt x="58579" y="39529"/>
                    </a:cubicBezTo>
                    <a:close/>
                  </a:path>
                </a:pathLst>
              </a:custGeom>
              <a:grpFill/>
              <a:ln w="9525" cap="flat">
                <a:noFill/>
                <a:prstDash val="solid"/>
                <a:miter/>
              </a:ln>
            </p:spPr>
            <p:txBody>
              <a:bodyPr rtlCol="0" anchor="ctr"/>
              <a:lstStyle/>
              <a:p>
                <a:endParaRPr lang="en-US"/>
              </a:p>
            </p:txBody>
          </p:sp>
          <p:sp>
            <p:nvSpPr>
              <p:cNvPr id="92" name="Freeform: Shape 91">
                <a:extLst>
                  <a:ext uri="{FF2B5EF4-FFF2-40B4-BE49-F238E27FC236}">
                    <a16:creationId xmlns:a16="http://schemas.microsoft.com/office/drawing/2014/main" id="{85CF9297-99C2-4BC0-ABD8-D607405790BE}"/>
                  </a:ext>
                </a:extLst>
              </p:cNvPr>
              <p:cNvSpPr/>
              <p:nvPr/>
            </p:nvSpPr>
            <p:spPr>
              <a:xfrm>
                <a:off x="5965031" y="4117181"/>
                <a:ext cx="19050" cy="19050"/>
              </a:xfrm>
              <a:custGeom>
                <a:avLst/>
                <a:gdLst>
                  <a:gd name="connsiteX0" fmla="*/ 16669 w 19050"/>
                  <a:gd name="connsiteY0" fmla="*/ 11906 h 19050"/>
                  <a:gd name="connsiteX1" fmla="*/ 11906 w 19050"/>
                  <a:gd name="connsiteY1" fmla="*/ 7144 h 19050"/>
                  <a:gd name="connsiteX2" fmla="*/ 7144 w 19050"/>
                  <a:gd name="connsiteY2" fmla="*/ 11906 h 19050"/>
                  <a:gd name="connsiteX3" fmla="*/ 11906 w 19050"/>
                  <a:gd name="connsiteY3" fmla="*/ 16669 h 19050"/>
                  <a:gd name="connsiteX4" fmla="*/ 16669 w 19050"/>
                  <a:gd name="connsiteY4" fmla="*/ 11906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6669" y="11906"/>
                    </a:moveTo>
                    <a:cubicBezTo>
                      <a:pt x="16669" y="9049"/>
                      <a:pt x="14764" y="7144"/>
                      <a:pt x="11906" y="7144"/>
                    </a:cubicBezTo>
                    <a:cubicBezTo>
                      <a:pt x="9049" y="7144"/>
                      <a:pt x="7144" y="9049"/>
                      <a:pt x="7144" y="11906"/>
                    </a:cubicBezTo>
                    <a:cubicBezTo>
                      <a:pt x="7144" y="14764"/>
                      <a:pt x="9049" y="16669"/>
                      <a:pt x="11906" y="16669"/>
                    </a:cubicBezTo>
                    <a:cubicBezTo>
                      <a:pt x="14764" y="16669"/>
                      <a:pt x="16669" y="14764"/>
                      <a:pt x="16669" y="11906"/>
                    </a:cubicBezTo>
                    <a:close/>
                  </a:path>
                </a:pathLst>
              </a:custGeom>
              <a:grpFill/>
              <a:ln w="9525" cap="flat">
                <a:noFill/>
                <a:prstDash val="solid"/>
                <a:miter/>
              </a:ln>
            </p:spPr>
            <p:txBody>
              <a:bodyPr rtlCol="0" anchor="ctr"/>
              <a:lstStyle/>
              <a:p>
                <a:endParaRPr lang="en-US"/>
              </a:p>
            </p:txBody>
          </p:sp>
          <p:sp>
            <p:nvSpPr>
              <p:cNvPr id="93" name="Freeform: Shape 92">
                <a:extLst>
                  <a:ext uri="{FF2B5EF4-FFF2-40B4-BE49-F238E27FC236}">
                    <a16:creationId xmlns:a16="http://schemas.microsoft.com/office/drawing/2014/main" id="{162E1B38-3F97-4CB8-A3A8-A89FA5899E7A}"/>
                  </a:ext>
                </a:extLst>
              </p:cNvPr>
              <p:cNvSpPr/>
              <p:nvPr/>
            </p:nvSpPr>
            <p:spPr>
              <a:xfrm>
                <a:off x="5866924" y="3722846"/>
                <a:ext cx="76200" cy="76200"/>
              </a:xfrm>
              <a:custGeom>
                <a:avLst/>
                <a:gdLst>
                  <a:gd name="connsiteX0" fmla="*/ 65246 w 76200"/>
                  <a:gd name="connsiteY0" fmla="*/ 75724 h 76200"/>
                  <a:gd name="connsiteX1" fmla="*/ 75724 w 76200"/>
                  <a:gd name="connsiteY1" fmla="*/ 65246 h 76200"/>
                  <a:gd name="connsiteX2" fmla="*/ 65246 w 76200"/>
                  <a:gd name="connsiteY2" fmla="*/ 54769 h 76200"/>
                  <a:gd name="connsiteX3" fmla="*/ 62389 w 76200"/>
                  <a:gd name="connsiteY3" fmla="*/ 55721 h 76200"/>
                  <a:gd name="connsiteX4" fmla="*/ 68104 w 76200"/>
                  <a:gd name="connsiteY4" fmla="*/ 42386 h 76200"/>
                  <a:gd name="connsiteX5" fmla="*/ 50006 w 76200"/>
                  <a:gd name="connsiteY5" fmla="*/ 24289 h 76200"/>
                  <a:gd name="connsiteX6" fmla="*/ 42386 w 76200"/>
                  <a:gd name="connsiteY6" fmla="*/ 26194 h 76200"/>
                  <a:gd name="connsiteX7" fmla="*/ 30956 w 76200"/>
                  <a:gd name="connsiteY7" fmla="*/ 16669 h 76200"/>
                  <a:gd name="connsiteX8" fmla="*/ 31909 w 76200"/>
                  <a:gd name="connsiteY8" fmla="*/ 16669 h 76200"/>
                  <a:gd name="connsiteX9" fmla="*/ 36671 w 76200"/>
                  <a:gd name="connsiteY9" fmla="*/ 11906 h 76200"/>
                  <a:gd name="connsiteX10" fmla="*/ 31909 w 76200"/>
                  <a:gd name="connsiteY10" fmla="*/ 7144 h 76200"/>
                  <a:gd name="connsiteX11" fmla="*/ 27146 w 76200"/>
                  <a:gd name="connsiteY11" fmla="*/ 11906 h 76200"/>
                  <a:gd name="connsiteX12" fmla="*/ 30004 w 76200"/>
                  <a:gd name="connsiteY12" fmla="*/ 16669 h 76200"/>
                  <a:gd name="connsiteX13" fmla="*/ 26194 w 76200"/>
                  <a:gd name="connsiteY13" fmla="*/ 15716 h 76200"/>
                  <a:gd name="connsiteX14" fmla="*/ 7144 w 76200"/>
                  <a:gd name="connsiteY14" fmla="*/ 34766 h 76200"/>
                  <a:gd name="connsiteX15" fmla="*/ 26194 w 76200"/>
                  <a:gd name="connsiteY15" fmla="*/ 53816 h 76200"/>
                  <a:gd name="connsiteX16" fmla="*/ 35719 w 76200"/>
                  <a:gd name="connsiteY16" fmla="*/ 50959 h 76200"/>
                  <a:gd name="connsiteX17" fmla="*/ 50959 w 76200"/>
                  <a:gd name="connsiteY17" fmla="*/ 59531 h 76200"/>
                  <a:gd name="connsiteX18" fmla="*/ 57626 w 76200"/>
                  <a:gd name="connsiteY18" fmla="*/ 58579 h 76200"/>
                  <a:gd name="connsiteX19" fmla="*/ 54769 w 76200"/>
                  <a:gd name="connsiteY19" fmla="*/ 65246 h 76200"/>
                  <a:gd name="connsiteX20" fmla="*/ 65246 w 76200"/>
                  <a:gd name="connsiteY20" fmla="*/ 75724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6200" h="76200">
                    <a:moveTo>
                      <a:pt x="65246" y="75724"/>
                    </a:moveTo>
                    <a:cubicBezTo>
                      <a:pt x="70961" y="75724"/>
                      <a:pt x="75724" y="70961"/>
                      <a:pt x="75724" y="65246"/>
                    </a:cubicBezTo>
                    <a:cubicBezTo>
                      <a:pt x="75724" y="59531"/>
                      <a:pt x="70961" y="54769"/>
                      <a:pt x="65246" y="54769"/>
                    </a:cubicBezTo>
                    <a:cubicBezTo>
                      <a:pt x="64294" y="54769"/>
                      <a:pt x="63341" y="54769"/>
                      <a:pt x="62389" y="55721"/>
                    </a:cubicBezTo>
                    <a:cubicBezTo>
                      <a:pt x="66199" y="52864"/>
                      <a:pt x="68104" y="48101"/>
                      <a:pt x="68104" y="42386"/>
                    </a:cubicBezTo>
                    <a:cubicBezTo>
                      <a:pt x="68104" y="32861"/>
                      <a:pt x="60484" y="24289"/>
                      <a:pt x="50006" y="24289"/>
                    </a:cubicBezTo>
                    <a:cubicBezTo>
                      <a:pt x="47149" y="24289"/>
                      <a:pt x="44291" y="25241"/>
                      <a:pt x="42386" y="26194"/>
                    </a:cubicBezTo>
                    <a:cubicBezTo>
                      <a:pt x="39529" y="21431"/>
                      <a:pt x="35719" y="18574"/>
                      <a:pt x="30956" y="16669"/>
                    </a:cubicBezTo>
                    <a:cubicBezTo>
                      <a:pt x="30956" y="16669"/>
                      <a:pt x="31909" y="16669"/>
                      <a:pt x="31909" y="16669"/>
                    </a:cubicBezTo>
                    <a:cubicBezTo>
                      <a:pt x="34766" y="16669"/>
                      <a:pt x="36671" y="14764"/>
                      <a:pt x="36671" y="11906"/>
                    </a:cubicBezTo>
                    <a:cubicBezTo>
                      <a:pt x="36671" y="9049"/>
                      <a:pt x="34766" y="7144"/>
                      <a:pt x="31909" y="7144"/>
                    </a:cubicBezTo>
                    <a:cubicBezTo>
                      <a:pt x="29051" y="7144"/>
                      <a:pt x="27146" y="9049"/>
                      <a:pt x="27146" y="11906"/>
                    </a:cubicBezTo>
                    <a:cubicBezTo>
                      <a:pt x="27146" y="13811"/>
                      <a:pt x="28099" y="15716"/>
                      <a:pt x="30004" y="16669"/>
                    </a:cubicBezTo>
                    <a:cubicBezTo>
                      <a:pt x="29051" y="16669"/>
                      <a:pt x="27146" y="15716"/>
                      <a:pt x="26194" y="15716"/>
                    </a:cubicBezTo>
                    <a:cubicBezTo>
                      <a:pt x="15716" y="15716"/>
                      <a:pt x="7144" y="24289"/>
                      <a:pt x="7144" y="34766"/>
                    </a:cubicBezTo>
                    <a:cubicBezTo>
                      <a:pt x="7144" y="45244"/>
                      <a:pt x="15716" y="53816"/>
                      <a:pt x="26194" y="53816"/>
                    </a:cubicBezTo>
                    <a:cubicBezTo>
                      <a:pt x="29051" y="53816"/>
                      <a:pt x="32861" y="52864"/>
                      <a:pt x="35719" y="50959"/>
                    </a:cubicBezTo>
                    <a:cubicBezTo>
                      <a:pt x="38576" y="55721"/>
                      <a:pt x="44291" y="59531"/>
                      <a:pt x="50959" y="59531"/>
                    </a:cubicBezTo>
                    <a:cubicBezTo>
                      <a:pt x="52864" y="59531"/>
                      <a:pt x="55721" y="58579"/>
                      <a:pt x="57626" y="58579"/>
                    </a:cubicBezTo>
                    <a:cubicBezTo>
                      <a:pt x="55721" y="60484"/>
                      <a:pt x="54769" y="62389"/>
                      <a:pt x="54769" y="65246"/>
                    </a:cubicBezTo>
                    <a:cubicBezTo>
                      <a:pt x="54769" y="70961"/>
                      <a:pt x="59531" y="75724"/>
                      <a:pt x="65246" y="75724"/>
                    </a:cubicBezTo>
                    <a:close/>
                  </a:path>
                </a:pathLst>
              </a:custGeom>
              <a:grpFill/>
              <a:ln w="9525" cap="flat">
                <a:noFill/>
                <a:prstDash val="solid"/>
                <a:miter/>
              </a:ln>
            </p:spPr>
            <p:txBody>
              <a:bodyPr rtlCol="0" anchor="ctr"/>
              <a:lstStyle/>
              <a:p>
                <a:endParaRPr lang="en-US"/>
              </a:p>
            </p:txBody>
          </p:sp>
          <p:sp>
            <p:nvSpPr>
              <p:cNvPr id="94" name="Freeform: Shape 93">
                <a:extLst>
                  <a:ext uri="{FF2B5EF4-FFF2-40B4-BE49-F238E27FC236}">
                    <a16:creationId xmlns:a16="http://schemas.microsoft.com/office/drawing/2014/main" id="{31D72538-A8E6-48F9-ABB7-57ACC84A1A7B}"/>
                  </a:ext>
                </a:extLst>
              </p:cNvPr>
              <p:cNvSpPr/>
              <p:nvPr/>
            </p:nvSpPr>
            <p:spPr>
              <a:xfrm>
                <a:off x="6027896" y="2811304"/>
                <a:ext cx="95250" cy="85725"/>
              </a:xfrm>
              <a:custGeom>
                <a:avLst/>
                <a:gdLst>
                  <a:gd name="connsiteX0" fmla="*/ 27146 w 95250"/>
                  <a:gd name="connsiteY0" fmla="*/ 7144 h 85725"/>
                  <a:gd name="connsiteX1" fmla="*/ 7144 w 95250"/>
                  <a:gd name="connsiteY1" fmla="*/ 27146 h 85725"/>
                  <a:gd name="connsiteX2" fmla="*/ 16669 w 95250"/>
                  <a:gd name="connsiteY2" fmla="*/ 44291 h 85725"/>
                  <a:gd name="connsiteX3" fmla="*/ 15716 w 95250"/>
                  <a:gd name="connsiteY3" fmla="*/ 49054 h 85725"/>
                  <a:gd name="connsiteX4" fmla="*/ 32861 w 95250"/>
                  <a:gd name="connsiteY4" fmla="*/ 66199 h 85725"/>
                  <a:gd name="connsiteX5" fmla="*/ 42386 w 95250"/>
                  <a:gd name="connsiteY5" fmla="*/ 63341 h 85725"/>
                  <a:gd name="connsiteX6" fmla="*/ 66199 w 95250"/>
                  <a:gd name="connsiteY6" fmla="*/ 84296 h 85725"/>
                  <a:gd name="connsiteX7" fmla="*/ 90964 w 95250"/>
                  <a:gd name="connsiteY7" fmla="*/ 59531 h 85725"/>
                  <a:gd name="connsiteX8" fmla="*/ 66199 w 95250"/>
                  <a:gd name="connsiteY8" fmla="*/ 34766 h 85725"/>
                  <a:gd name="connsiteX9" fmla="*/ 49054 w 95250"/>
                  <a:gd name="connsiteY9" fmla="*/ 41434 h 85725"/>
                  <a:gd name="connsiteX10" fmla="*/ 45244 w 95250"/>
                  <a:gd name="connsiteY10" fmla="*/ 34766 h 85725"/>
                  <a:gd name="connsiteX11" fmla="*/ 47149 w 95250"/>
                  <a:gd name="connsiteY11" fmla="*/ 25241 h 85725"/>
                  <a:gd name="connsiteX12" fmla="*/ 27146 w 95250"/>
                  <a:gd name="connsiteY12" fmla="*/ 7144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5250" h="85725">
                    <a:moveTo>
                      <a:pt x="27146" y="7144"/>
                    </a:moveTo>
                    <a:cubicBezTo>
                      <a:pt x="15716" y="7144"/>
                      <a:pt x="7144" y="15716"/>
                      <a:pt x="7144" y="27146"/>
                    </a:cubicBezTo>
                    <a:cubicBezTo>
                      <a:pt x="7144" y="33814"/>
                      <a:pt x="10954" y="40481"/>
                      <a:pt x="16669" y="44291"/>
                    </a:cubicBezTo>
                    <a:cubicBezTo>
                      <a:pt x="15716" y="46196"/>
                      <a:pt x="15716" y="47149"/>
                      <a:pt x="15716" y="49054"/>
                    </a:cubicBezTo>
                    <a:cubicBezTo>
                      <a:pt x="15716" y="58579"/>
                      <a:pt x="23336" y="66199"/>
                      <a:pt x="32861" y="66199"/>
                    </a:cubicBezTo>
                    <a:cubicBezTo>
                      <a:pt x="36671" y="66199"/>
                      <a:pt x="39529" y="65246"/>
                      <a:pt x="42386" y="63341"/>
                    </a:cubicBezTo>
                    <a:cubicBezTo>
                      <a:pt x="44291" y="74771"/>
                      <a:pt x="53816" y="84296"/>
                      <a:pt x="66199" y="84296"/>
                    </a:cubicBezTo>
                    <a:cubicBezTo>
                      <a:pt x="79534" y="84296"/>
                      <a:pt x="90964" y="72866"/>
                      <a:pt x="90964" y="59531"/>
                    </a:cubicBezTo>
                    <a:cubicBezTo>
                      <a:pt x="90964" y="46196"/>
                      <a:pt x="80486" y="34766"/>
                      <a:pt x="66199" y="34766"/>
                    </a:cubicBezTo>
                    <a:cubicBezTo>
                      <a:pt x="59531" y="34766"/>
                      <a:pt x="53816" y="37624"/>
                      <a:pt x="49054" y="41434"/>
                    </a:cubicBezTo>
                    <a:cubicBezTo>
                      <a:pt x="48101" y="38576"/>
                      <a:pt x="46196" y="36671"/>
                      <a:pt x="45244" y="34766"/>
                    </a:cubicBezTo>
                    <a:cubicBezTo>
                      <a:pt x="47149" y="31909"/>
                      <a:pt x="47149" y="29051"/>
                      <a:pt x="47149" y="25241"/>
                    </a:cubicBezTo>
                    <a:cubicBezTo>
                      <a:pt x="47149" y="16669"/>
                      <a:pt x="37624" y="7144"/>
                      <a:pt x="27146" y="7144"/>
                    </a:cubicBezTo>
                    <a:close/>
                  </a:path>
                </a:pathLst>
              </a:custGeom>
              <a:grpFill/>
              <a:ln w="9525"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3F0E606A-1CD1-4D71-A8A7-77C422D8DAC1}"/>
                  </a:ext>
                </a:extLst>
              </p:cNvPr>
              <p:cNvSpPr/>
              <p:nvPr/>
            </p:nvSpPr>
            <p:spPr>
              <a:xfrm>
                <a:off x="6005989" y="2619851"/>
                <a:ext cx="76200" cy="76200"/>
              </a:xfrm>
              <a:custGeom>
                <a:avLst/>
                <a:gdLst>
                  <a:gd name="connsiteX0" fmla="*/ 42386 w 76200"/>
                  <a:gd name="connsiteY0" fmla="*/ 77629 h 76200"/>
                  <a:gd name="connsiteX1" fmla="*/ 77629 w 76200"/>
                  <a:gd name="connsiteY1" fmla="*/ 42386 h 76200"/>
                  <a:gd name="connsiteX2" fmla="*/ 42386 w 76200"/>
                  <a:gd name="connsiteY2" fmla="*/ 7144 h 76200"/>
                  <a:gd name="connsiteX3" fmla="*/ 7144 w 76200"/>
                  <a:gd name="connsiteY3" fmla="*/ 42386 h 76200"/>
                  <a:gd name="connsiteX4" fmla="*/ 42386 w 76200"/>
                  <a:gd name="connsiteY4" fmla="*/ 77629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76200">
                    <a:moveTo>
                      <a:pt x="42386" y="77629"/>
                    </a:moveTo>
                    <a:cubicBezTo>
                      <a:pt x="61436" y="77629"/>
                      <a:pt x="77629" y="62389"/>
                      <a:pt x="77629" y="42386"/>
                    </a:cubicBezTo>
                    <a:cubicBezTo>
                      <a:pt x="77629" y="23336"/>
                      <a:pt x="62389" y="7144"/>
                      <a:pt x="42386" y="7144"/>
                    </a:cubicBezTo>
                    <a:cubicBezTo>
                      <a:pt x="23336" y="7144"/>
                      <a:pt x="7144" y="22384"/>
                      <a:pt x="7144" y="42386"/>
                    </a:cubicBezTo>
                    <a:cubicBezTo>
                      <a:pt x="7144" y="62389"/>
                      <a:pt x="23336" y="77629"/>
                      <a:pt x="42386" y="77629"/>
                    </a:cubicBezTo>
                    <a:close/>
                  </a:path>
                </a:pathLst>
              </a:custGeom>
              <a:grpFill/>
              <a:ln w="9525"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F3CE38DB-DA89-4531-8B4A-699958CF1E2B}"/>
                  </a:ext>
                </a:extLst>
              </p:cNvPr>
              <p:cNvSpPr/>
              <p:nvPr/>
            </p:nvSpPr>
            <p:spPr>
              <a:xfrm>
                <a:off x="5885021" y="3175159"/>
                <a:ext cx="38100" cy="38100"/>
              </a:xfrm>
              <a:custGeom>
                <a:avLst/>
                <a:gdLst>
                  <a:gd name="connsiteX0" fmla="*/ 19526 w 38100"/>
                  <a:gd name="connsiteY0" fmla="*/ 31909 h 38100"/>
                  <a:gd name="connsiteX1" fmla="*/ 31909 w 38100"/>
                  <a:gd name="connsiteY1" fmla="*/ 19526 h 38100"/>
                  <a:gd name="connsiteX2" fmla="*/ 19526 w 38100"/>
                  <a:gd name="connsiteY2" fmla="*/ 7144 h 38100"/>
                  <a:gd name="connsiteX3" fmla="*/ 7144 w 38100"/>
                  <a:gd name="connsiteY3" fmla="*/ 19526 h 38100"/>
                  <a:gd name="connsiteX4" fmla="*/ 19526 w 38100"/>
                  <a:gd name="connsiteY4" fmla="*/ 31909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9526" y="31909"/>
                    </a:moveTo>
                    <a:cubicBezTo>
                      <a:pt x="26194" y="31909"/>
                      <a:pt x="31909" y="26194"/>
                      <a:pt x="31909" y="19526"/>
                    </a:cubicBezTo>
                    <a:cubicBezTo>
                      <a:pt x="31909" y="12859"/>
                      <a:pt x="26194" y="7144"/>
                      <a:pt x="19526" y="7144"/>
                    </a:cubicBezTo>
                    <a:cubicBezTo>
                      <a:pt x="12859" y="7144"/>
                      <a:pt x="7144" y="12859"/>
                      <a:pt x="7144" y="19526"/>
                    </a:cubicBezTo>
                    <a:cubicBezTo>
                      <a:pt x="7144" y="26194"/>
                      <a:pt x="12859" y="31909"/>
                      <a:pt x="19526" y="31909"/>
                    </a:cubicBezTo>
                    <a:close/>
                  </a:path>
                </a:pathLst>
              </a:custGeom>
              <a:grpFill/>
              <a:ln w="9525" cap="flat">
                <a:no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F056790B-1E88-4771-825C-AFB0FF4579B1}"/>
                  </a:ext>
                </a:extLst>
              </p:cNvPr>
              <p:cNvSpPr/>
              <p:nvPr/>
            </p:nvSpPr>
            <p:spPr>
              <a:xfrm>
                <a:off x="6279356" y="3024664"/>
                <a:ext cx="38100" cy="38100"/>
              </a:xfrm>
              <a:custGeom>
                <a:avLst/>
                <a:gdLst>
                  <a:gd name="connsiteX0" fmla="*/ 21431 w 38100"/>
                  <a:gd name="connsiteY0" fmla="*/ 35719 h 38100"/>
                  <a:gd name="connsiteX1" fmla="*/ 35719 w 38100"/>
                  <a:gd name="connsiteY1" fmla="*/ 21431 h 38100"/>
                  <a:gd name="connsiteX2" fmla="*/ 21431 w 38100"/>
                  <a:gd name="connsiteY2" fmla="*/ 7144 h 38100"/>
                  <a:gd name="connsiteX3" fmla="*/ 7144 w 38100"/>
                  <a:gd name="connsiteY3" fmla="*/ 21431 h 38100"/>
                  <a:gd name="connsiteX4" fmla="*/ 21431 w 38100"/>
                  <a:gd name="connsiteY4" fmla="*/ 35719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1431" y="35719"/>
                    </a:moveTo>
                    <a:cubicBezTo>
                      <a:pt x="29051" y="35719"/>
                      <a:pt x="35719" y="29051"/>
                      <a:pt x="35719" y="21431"/>
                    </a:cubicBezTo>
                    <a:cubicBezTo>
                      <a:pt x="35719" y="13811"/>
                      <a:pt x="29051" y="7144"/>
                      <a:pt x="21431" y="7144"/>
                    </a:cubicBezTo>
                    <a:cubicBezTo>
                      <a:pt x="13811" y="7144"/>
                      <a:pt x="7144" y="13811"/>
                      <a:pt x="7144" y="21431"/>
                    </a:cubicBezTo>
                    <a:cubicBezTo>
                      <a:pt x="7144" y="29051"/>
                      <a:pt x="12859" y="35719"/>
                      <a:pt x="21431" y="35719"/>
                    </a:cubicBezTo>
                    <a:close/>
                  </a:path>
                </a:pathLst>
              </a:custGeom>
              <a:grpFill/>
              <a:ln w="9525" cap="flat">
                <a:noFill/>
                <a:prstDash val="solid"/>
                <a:miter/>
              </a:ln>
            </p:spPr>
            <p:txBody>
              <a:bodyPr rtlCol="0" anchor="ctr"/>
              <a:lstStyle/>
              <a:p>
                <a:endParaRPr lang="en-US"/>
              </a:p>
            </p:txBody>
          </p:sp>
          <p:sp>
            <p:nvSpPr>
              <p:cNvPr id="98" name="Freeform: Shape 97">
                <a:extLst>
                  <a:ext uri="{FF2B5EF4-FFF2-40B4-BE49-F238E27FC236}">
                    <a16:creationId xmlns:a16="http://schemas.microsoft.com/office/drawing/2014/main" id="{7DCA4795-58C0-473D-B81C-0E6C59291180}"/>
                  </a:ext>
                </a:extLst>
              </p:cNvPr>
              <p:cNvSpPr/>
              <p:nvPr/>
            </p:nvSpPr>
            <p:spPr>
              <a:xfrm>
                <a:off x="5935504" y="2767489"/>
                <a:ext cx="57150" cy="57150"/>
              </a:xfrm>
              <a:custGeom>
                <a:avLst/>
                <a:gdLst>
                  <a:gd name="connsiteX0" fmla="*/ 29051 w 57150"/>
                  <a:gd name="connsiteY0" fmla="*/ 50959 h 57150"/>
                  <a:gd name="connsiteX1" fmla="*/ 50959 w 57150"/>
                  <a:gd name="connsiteY1" fmla="*/ 29051 h 57150"/>
                  <a:gd name="connsiteX2" fmla="*/ 29051 w 57150"/>
                  <a:gd name="connsiteY2" fmla="*/ 7144 h 57150"/>
                  <a:gd name="connsiteX3" fmla="*/ 7144 w 57150"/>
                  <a:gd name="connsiteY3" fmla="*/ 29051 h 57150"/>
                  <a:gd name="connsiteX4" fmla="*/ 29051 w 57150"/>
                  <a:gd name="connsiteY4" fmla="*/ 50959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29051" y="50959"/>
                    </a:moveTo>
                    <a:cubicBezTo>
                      <a:pt x="40481" y="50959"/>
                      <a:pt x="50959" y="41434"/>
                      <a:pt x="50959" y="29051"/>
                    </a:cubicBezTo>
                    <a:cubicBezTo>
                      <a:pt x="50959" y="16669"/>
                      <a:pt x="41434" y="7144"/>
                      <a:pt x="29051" y="7144"/>
                    </a:cubicBezTo>
                    <a:cubicBezTo>
                      <a:pt x="17621" y="7144"/>
                      <a:pt x="7144" y="16669"/>
                      <a:pt x="7144" y="29051"/>
                    </a:cubicBezTo>
                    <a:cubicBezTo>
                      <a:pt x="7144" y="41434"/>
                      <a:pt x="17621" y="50959"/>
                      <a:pt x="29051" y="50959"/>
                    </a:cubicBezTo>
                    <a:close/>
                  </a:path>
                </a:pathLst>
              </a:custGeom>
              <a:grpFill/>
              <a:ln w="9525" cap="flat">
                <a:noFill/>
                <a:prstDash val="solid"/>
                <a:miter/>
              </a:ln>
            </p:spPr>
            <p:txBody>
              <a:bodyPr rtlCol="0" anchor="ctr"/>
              <a:lstStyle/>
              <a:p>
                <a:endParaRPr lang="en-US"/>
              </a:p>
            </p:txBody>
          </p:sp>
          <p:sp>
            <p:nvSpPr>
              <p:cNvPr id="99" name="Freeform: Shape 98">
                <a:extLst>
                  <a:ext uri="{FF2B5EF4-FFF2-40B4-BE49-F238E27FC236}">
                    <a16:creationId xmlns:a16="http://schemas.microsoft.com/office/drawing/2014/main" id="{40B40C1B-35AA-4555-A89F-3305352E9EA3}"/>
                  </a:ext>
                </a:extLst>
              </p:cNvPr>
              <p:cNvSpPr/>
              <p:nvPr/>
            </p:nvSpPr>
            <p:spPr>
              <a:xfrm>
                <a:off x="5359241" y="3210401"/>
                <a:ext cx="95250" cy="95250"/>
              </a:xfrm>
              <a:custGeom>
                <a:avLst/>
                <a:gdLst>
                  <a:gd name="connsiteX0" fmla="*/ 49054 w 95250"/>
                  <a:gd name="connsiteY0" fmla="*/ 90964 h 95250"/>
                  <a:gd name="connsiteX1" fmla="*/ 90964 w 95250"/>
                  <a:gd name="connsiteY1" fmla="*/ 49054 h 95250"/>
                  <a:gd name="connsiteX2" fmla="*/ 49054 w 95250"/>
                  <a:gd name="connsiteY2" fmla="*/ 7144 h 95250"/>
                  <a:gd name="connsiteX3" fmla="*/ 7144 w 95250"/>
                  <a:gd name="connsiteY3" fmla="*/ 49054 h 95250"/>
                  <a:gd name="connsiteX4" fmla="*/ 49054 w 95250"/>
                  <a:gd name="connsiteY4" fmla="*/ 90964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9054" y="90964"/>
                    </a:moveTo>
                    <a:cubicBezTo>
                      <a:pt x="71914" y="90964"/>
                      <a:pt x="90964" y="71914"/>
                      <a:pt x="90964" y="49054"/>
                    </a:cubicBezTo>
                    <a:cubicBezTo>
                      <a:pt x="90964" y="26194"/>
                      <a:pt x="71914" y="7144"/>
                      <a:pt x="49054" y="7144"/>
                    </a:cubicBezTo>
                    <a:cubicBezTo>
                      <a:pt x="26194" y="7144"/>
                      <a:pt x="7144" y="26194"/>
                      <a:pt x="7144" y="49054"/>
                    </a:cubicBezTo>
                    <a:cubicBezTo>
                      <a:pt x="7144" y="72866"/>
                      <a:pt x="25241" y="90964"/>
                      <a:pt x="49054" y="90964"/>
                    </a:cubicBezTo>
                    <a:close/>
                  </a:path>
                </a:pathLst>
              </a:custGeom>
              <a:grpFill/>
              <a:ln w="9525"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70363258-5BBC-4FE2-B802-9B019DB20F56}"/>
                  </a:ext>
                </a:extLst>
              </p:cNvPr>
              <p:cNvSpPr/>
              <p:nvPr/>
            </p:nvSpPr>
            <p:spPr>
              <a:xfrm>
                <a:off x="6099187" y="3747611"/>
                <a:ext cx="28575" cy="28575"/>
              </a:xfrm>
              <a:custGeom>
                <a:avLst/>
                <a:gdLst>
                  <a:gd name="connsiteX0" fmla="*/ 14911 w 28575"/>
                  <a:gd name="connsiteY0" fmla="*/ 22384 h 28575"/>
                  <a:gd name="connsiteX1" fmla="*/ 22531 w 28575"/>
                  <a:gd name="connsiteY1" fmla="*/ 14764 h 28575"/>
                  <a:gd name="connsiteX2" fmla="*/ 14911 w 28575"/>
                  <a:gd name="connsiteY2" fmla="*/ 7144 h 28575"/>
                  <a:gd name="connsiteX3" fmla="*/ 7291 w 28575"/>
                  <a:gd name="connsiteY3" fmla="*/ 14764 h 28575"/>
                  <a:gd name="connsiteX4" fmla="*/ 14911 w 28575"/>
                  <a:gd name="connsiteY4" fmla="*/ 22384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911" y="22384"/>
                    </a:moveTo>
                    <a:cubicBezTo>
                      <a:pt x="18721" y="22384"/>
                      <a:pt x="22531" y="18574"/>
                      <a:pt x="22531" y="14764"/>
                    </a:cubicBezTo>
                    <a:cubicBezTo>
                      <a:pt x="22531" y="10954"/>
                      <a:pt x="18721" y="7144"/>
                      <a:pt x="14911" y="7144"/>
                    </a:cubicBezTo>
                    <a:cubicBezTo>
                      <a:pt x="10148" y="7144"/>
                      <a:pt x="7291" y="10954"/>
                      <a:pt x="7291" y="14764"/>
                    </a:cubicBezTo>
                    <a:cubicBezTo>
                      <a:pt x="6338" y="18574"/>
                      <a:pt x="10148" y="22384"/>
                      <a:pt x="14911" y="22384"/>
                    </a:cubicBezTo>
                    <a:close/>
                  </a:path>
                </a:pathLst>
              </a:custGeom>
              <a:grpFill/>
              <a:ln w="9525" cap="flat">
                <a:no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7B7557A3-3661-4E9C-B39D-B03D062E8A8B}"/>
                  </a:ext>
                </a:extLst>
              </p:cNvPr>
              <p:cNvSpPr/>
              <p:nvPr/>
            </p:nvSpPr>
            <p:spPr>
              <a:xfrm>
                <a:off x="5931694" y="3081814"/>
                <a:ext cx="19050" cy="19050"/>
              </a:xfrm>
              <a:custGeom>
                <a:avLst/>
                <a:gdLst>
                  <a:gd name="connsiteX0" fmla="*/ 13811 w 19050"/>
                  <a:gd name="connsiteY0" fmla="*/ 7144 h 19050"/>
                  <a:gd name="connsiteX1" fmla="*/ 7144 w 19050"/>
                  <a:gd name="connsiteY1" fmla="*/ 13811 h 19050"/>
                  <a:gd name="connsiteX2" fmla="*/ 13811 w 19050"/>
                  <a:gd name="connsiteY2" fmla="*/ 20479 h 19050"/>
                  <a:gd name="connsiteX3" fmla="*/ 20479 w 19050"/>
                  <a:gd name="connsiteY3" fmla="*/ 13811 h 19050"/>
                  <a:gd name="connsiteX4" fmla="*/ 13811 w 19050"/>
                  <a:gd name="connsiteY4" fmla="*/ 7144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3811" y="7144"/>
                    </a:moveTo>
                    <a:cubicBezTo>
                      <a:pt x="10001" y="7144"/>
                      <a:pt x="7144" y="10001"/>
                      <a:pt x="7144" y="13811"/>
                    </a:cubicBezTo>
                    <a:cubicBezTo>
                      <a:pt x="7144" y="17621"/>
                      <a:pt x="10001" y="20479"/>
                      <a:pt x="13811" y="20479"/>
                    </a:cubicBezTo>
                    <a:cubicBezTo>
                      <a:pt x="17621" y="20479"/>
                      <a:pt x="20479" y="17621"/>
                      <a:pt x="20479" y="13811"/>
                    </a:cubicBezTo>
                    <a:cubicBezTo>
                      <a:pt x="19526" y="10001"/>
                      <a:pt x="16669" y="7144"/>
                      <a:pt x="13811" y="7144"/>
                    </a:cubicBezTo>
                    <a:close/>
                  </a:path>
                </a:pathLst>
              </a:custGeom>
              <a:grpFill/>
              <a:ln w="9525" cap="flat">
                <a:noFill/>
                <a:prstDash val="solid"/>
                <a:miter/>
              </a:ln>
            </p:spPr>
            <p:txBody>
              <a:bodyPr rtlCol="0" anchor="ctr"/>
              <a:lstStyle/>
              <a:p>
                <a:endParaRPr lang="en-US"/>
              </a:p>
            </p:txBody>
          </p:sp>
          <p:sp>
            <p:nvSpPr>
              <p:cNvPr id="102" name="Freeform: Shape 101">
                <a:extLst>
                  <a:ext uri="{FF2B5EF4-FFF2-40B4-BE49-F238E27FC236}">
                    <a16:creationId xmlns:a16="http://schemas.microsoft.com/office/drawing/2014/main" id="{1EF6EE7F-D70D-4736-BFA3-199FCDE19DDA}"/>
                  </a:ext>
                </a:extLst>
              </p:cNvPr>
              <p:cNvSpPr/>
              <p:nvPr/>
            </p:nvSpPr>
            <p:spPr>
              <a:xfrm>
                <a:off x="5689759" y="3202634"/>
                <a:ext cx="28575" cy="28575"/>
              </a:xfrm>
              <a:custGeom>
                <a:avLst/>
                <a:gdLst>
                  <a:gd name="connsiteX0" fmla="*/ 7144 w 28575"/>
                  <a:gd name="connsiteY0" fmla="*/ 14911 h 28575"/>
                  <a:gd name="connsiteX1" fmla="*/ 14764 w 28575"/>
                  <a:gd name="connsiteY1" fmla="*/ 22531 h 28575"/>
                  <a:gd name="connsiteX2" fmla="*/ 22384 w 28575"/>
                  <a:gd name="connsiteY2" fmla="*/ 14911 h 28575"/>
                  <a:gd name="connsiteX3" fmla="*/ 14764 w 28575"/>
                  <a:gd name="connsiteY3" fmla="*/ 7291 h 28575"/>
                  <a:gd name="connsiteX4" fmla="*/ 7144 w 28575"/>
                  <a:gd name="connsiteY4" fmla="*/ 14911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7144" y="14911"/>
                    </a:moveTo>
                    <a:cubicBezTo>
                      <a:pt x="7144" y="19673"/>
                      <a:pt x="10954" y="22531"/>
                      <a:pt x="14764" y="22531"/>
                    </a:cubicBezTo>
                    <a:cubicBezTo>
                      <a:pt x="19526" y="22531"/>
                      <a:pt x="22384" y="18721"/>
                      <a:pt x="22384" y="14911"/>
                    </a:cubicBezTo>
                    <a:cubicBezTo>
                      <a:pt x="22384" y="11101"/>
                      <a:pt x="18574" y="7291"/>
                      <a:pt x="14764" y="7291"/>
                    </a:cubicBezTo>
                    <a:cubicBezTo>
                      <a:pt x="10954" y="6338"/>
                      <a:pt x="7144" y="10148"/>
                      <a:pt x="7144" y="14911"/>
                    </a:cubicBezTo>
                    <a:close/>
                  </a:path>
                </a:pathLst>
              </a:custGeom>
              <a:grpFill/>
              <a:ln w="9525" cap="flat">
                <a:noFill/>
                <a:prstDash val="solid"/>
                <a:miter/>
              </a:ln>
            </p:spPr>
            <p:txBody>
              <a:bodyPr rtlCol="0" anchor="ctr"/>
              <a:lstStyle/>
              <a:p>
                <a:endParaRPr lang="en-US"/>
              </a:p>
            </p:txBody>
          </p:sp>
          <p:sp>
            <p:nvSpPr>
              <p:cNvPr id="103" name="Freeform: Shape 102">
                <a:extLst>
                  <a:ext uri="{FF2B5EF4-FFF2-40B4-BE49-F238E27FC236}">
                    <a16:creationId xmlns:a16="http://schemas.microsoft.com/office/drawing/2014/main" id="{E6B602B8-A178-473D-9F5A-9BB397626ED8}"/>
                  </a:ext>
                </a:extLst>
              </p:cNvPr>
              <p:cNvSpPr/>
              <p:nvPr/>
            </p:nvSpPr>
            <p:spPr>
              <a:xfrm>
                <a:off x="5458301" y="3294221"/>
                <a:ext cx="28575" cy="28575"/>
              </a:xfrm>
              <a:custGeom>
                <a:avLst/>
                <a:gdLst>
                  <a:gd name="connsiteX0" fmla="*/ 16669 w 28575"/>
                  <a:gd name="connsiteY0" fmla="*/ 26194 h 28575"/>
                  <a:gd name="connsiteX1" fmla="*/ 26194 w 28575"/>
                  <a:gd name="connsiteY1" fmla="*/ 16669 h 28575"/>
                  <a:gd name="connsiteX2" fmla="*/ 16669 w 28575"/>
                  <a:gd name="connsiteY2" fmla="*/ 7144 h 28575"/>
                  <a:gd name="connsiteX3" fmla="*/ 7144 w 28575"/>
                  <a:gd name="connsiteY3" fmla="*/ 16669 h 28575"/>
                  <a:gd name="connsiteX4" fmla="*/ 16669 w 28575"/>
                  <a:gd name="connsiteY4" fmla="*/ 26194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6669" y="26194"/>
                    </a:moveTo>
                    <a:cubicBezTo>
                      <a:pt x="22384" y="26194"/>
                      <a:pt x="26194" y="21431"/>
                      <a:pt x="26194" y="16669"/>
                    </a:cubicBezTo>
                    <a:cubicBezTo>
                      <a:pt x="26194" y="11906"/>
                      <a:pt x="21431" y="7144"/>
                      <a:pt x="16669" y="7144"/>
                    </a:cubicBezTo>
                    <a:cubicBezTo>
                      <a:pt x="11906" y="7144"/>
                      <a:pt x="7144" y="11906"/>
                      <a:pt x="7144" y="16669"/>
                    </a:cubicBezTo>
                    <a:cubicBezTo>
                      <a:pt x="7144" y="21431"/>
                      <a:pt x="10954" y="26194"/>
                      <a:pt x="16669" y="26194"/>
                    </a:cubicBezTo>
                    <a:close/>
                  </a:path>
                </a:pathLst>
              </a:custGeom>
              <a:grpFill/>
              <a:ln w="9525" cap="flat">
                <a:noFill/>
                <a:prstDash val="solid"/>
                <a:miter/>
              </a:ln>
            </p:spPr>
            <p:txBody>
              <a:bodyPr rtlCol="0" anchor="ctr"/>
              <a:lstStyle/>
              <a:p>
                <a:endParaRPr lang="en-US"/>
              </a:p>
            </p:txBody>
          </p:sp>
          <p:sp>
            <p:nvSpPr>
              <p:cNvPr id="104" name="Freeform: Shape 103">
                <a:extLst>
                  <a:ext uri="{FF2B5EF4-FFF2-40B4-BE49-F238E27FC236}">
                    <a16:creationId xmlns:a16="http://schemas.microsoft.com/office/drawing/2014/main" id="{6AA2A7CD-5FB1-4292-9095-694F1352559F}"/>
                  </a:ext>
                </a:extLst>
              </p:cNvPr>
              <p:cNvSpPr/>
              <p:nvPr/>
            </p:nvSpPr>
            <p:spPr>
              <a:xfrm>
                <a:off x="5470684" y="3204686"/>
                <a:ext cx="19050" cy="19050"/>
              </a:xfrm>
              <a:custGeom>
                <a:avLst/>
                <a:gdLst>
                  <a:gd name="connsiteX0" fmla="*/ 13811 w 19050"/>
                  <a:gd name="connsiteY0" fmla="*/ 20479 h 19050"/>
                  <a:gd name="connsiteX1" fmla="*/ 20479 w 19050"/>
                  <a:gd name="connsiteY1" fmla="*/ 13811 h 19050"/>
                  <a:gd name="connsiteX2" fmla="*/ 13811 w 19050"/>
                  <a:gd name="connsiteY2" fmla="*/ 7144 h 19050"/>
                  <a:gd name="connsiteX3" fmla="*/ 7144 w 19050"/>
                  <a:gd name="connsiteY3" fmla="*/ 13811 h 19050"/>
                  <a:gd name="connsiteX4" fmla="*/ 13811 w 19050"/>
                  <a:gd name="connsiteY4" fmla="*/ 20479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3811" y="20479"/>
                    </a:moveTo>
                    <a:cubicBezTo>
                      <a:pt x="17621" y="20479"/>
                      <a:pt x="20479" y="17621"/>
                      <a:pt x="20479" y="13811"/>
                    </a:cubicBezTo>
                    <a:cubicBezTo>
                      <a:pt x="20479" y="10001"/>
                      <a:pt x="17621" y="7144"/>
                      <a:pt x="13811" y="7144"/>
                    </a:cubicBezTo>
                    <a:cubicBezTo>
                      <a:pt x="10001" y="7144"/>
                      <a:pt x="7144" y="10001"/>
                      <a:pt x="7144" y="13811"/>
                    </a:cubicBezTo>
                    <a:cubicBezTo>
                      <a:pt x="7144" y="17621"/>
                      <a:pt x="10001" y="20479"/>
                      <a:pt x="13811" y="20479"/>
                    </a:cubicBezTo>
                    <a:close/>
                  </a:path>
                </a:pathLst>
              </a:custGeom>
              <a:grpFill/>
              <a:ln w="9525" cap="flat">
                <a:noFill/>
                <a:prstDash val="solid"/>
                <a:miter/>
              </a:ln>
            </p:spPr>
            <p:txBody>
              <a:bodyPr rtlCol="0" anchor="ctr"/>
              <a:lstStyle/>
              <a:p>
                <a:endParaRPr lang="en-US"/>
              </a:p>
            </p:txBody>
          </p:sp>
          <p:sp>
            <p:nvSpPr>
              <p:cNvPr id="105" name="Freeform: Shape 104">
                <a:extLst>
                  <a:ext uri="{FF2B5EF4-FFF2-40B4-BE49-F238E27FC236}">
                    <a16:creationId xmlns:a16="http://schemas.microsoft.com/office/drawing/2014/main" id="{B331F04C-AABC-46B3-9D30-EDF68C64F8C0}"/>
                  </a:ext>
                </a:extLst>
              </p:cNvPr>
              <p:cNvSpPr/>
              <p:nvPr/>
            </p:nvSpPr>
            <p:spPr>
              <a:xfrm>
                <a:off x="5970746" y="3748564"/>
                <a:ext cx="57150" cy="57150"/>
              </a:xfrm>
              <a:custGeom>
                <a:avLst/>
                <a:gdLst>
                  <a:gd name="connsiteX0" fmla="*/ 29051 w 57150"/>
                  <a:gd name="connsiteY0" fmla="*/ 53816 h 57150"/>
                  <a:gd name="connsiteX1" fmla="*/ 50959 w 57150"/>
                  <a:gd name="connsiteY1" fmla="*/ 34766 h 57150"/>
                  <a:gd name="connsiteX2" fmla="*/ 55721 w 57150"/>
                  <a:gd name="connsiteY2" fmla="*/ 23336 h 57150"/>
                  <a:gd name="connsiteX3" fmla="*/ 39529 w 57150"/>
                  <a:gd name="connsiteY3" fmla="*/ 7144 h 57150"/>
                  <a:gd name="connsiteX4" fmla="*/ 30004 w 57150"/>
                  <a:gd name="connsiteY4" fmla="*/ 10001 h 57150"/>
                  <a:gd name="connsiteX5" fmla="*/ 29051 w 57150"/>
                  <a:gd name="connsiteY5" fmla="*/ 10001 h 57150"/>
                  <a:gd name="connsiteX6" fmla="*/ 7144 w 57150"/>
                  <a:gd name="connsiteY6" fmla="*/ 31909 h 57150"/>
                  <a:gd name="connsiteX7" fmla="*/ 29051 w 57150"/>
                  <a:gd name="connsiteY7" fmla="*/ 53816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50" h="57150">
                    <a:moveTo>
                      <a:pt x="29051" y="53816"/>
                    </a:moveTo>
                    <a:cubicBezTo>
                      <a:pt x="40481" y="53816"/>
                      <a:pt x="49054" y="45244"/>
                      <a:pt x="50959" y="34766"/>
                    </a:cubicBezTo>
                    <a:cubicBezTo>
                      <a:pt x="53816" y="31909"/>
                      <a:pt x="55721" y="28099"/>
                      <a:pt x="55721" y="23336"/>
                    </a:cubicBezTo>
                    <a:cubicBezTo>
                      <a:pt x="55721" y="14764"/>
                      <a:pt x="48101" y="7144"/>
                      <a:pt x="39529" y="7144"/>
                    </a:cubicBezTo>
                    <a:cubicBezTo>
                      <a:pt x="35719" y="7144"/>
                      <a:pt x="32861" y="8096"/>
                      <a:pt x="30004" y="10001"/>
                    </a:cubicBezTo>
                    <a:cubicBezTo>
                      <a:pt x="30004" y="10001"/>
                      <a:pt x="29051" y="10001"/>
                      <a:pt x="29051" y="10001"/>
                    </a:cubicBezTo>
                    <a:cubicBezTo>
                      <a:pt x="16669" y="10001"/>
                      <a:pt x="7144" y="19526"/>
                      <a:pt x="7144" y="31909"/>
                    </a:cubicBezTo>
                    <a:cubicBezTo>
                      <a:pt x="7144" y="44291"/>
                      <a:pt x="17621" y="53816"/>
                      <a:pt x="29051" y="53816"/>
                    </a:cubicBezTo>
                    <a:close/>
                  </a:path>
                </a:pathLst>
              </a:custGeom>
              <a:grpFill/>
              <a:ln w="9525" cap="flat">
                <a:noFill/>
                <a:prstDash val="solid"/>
                <a:miter/>
              </a:ln>
            </p:spPr>
            <p:txBody>
              <a:bodyPr rtlCol="0" anchor="ctr"/>
              <a:lstStyle/>
              <a:p>
                <a:endParaRPr lang="en-US"/>
              </a:p>
            </p:txBody>
          </p:sp>
          <p:sp>
            <p:nvSpPr>
              <p:cNvPr id="106" name="Freeform: Shape 105">
                <a:extLst>
                  <a:ext uri="{FF2B5EF4-FFF2-40B4-BE49-F238E27FC236}">
                    <a16:creationId xmlns:a16="http://schemas.microsoft.com/office/drawing/2014/main" id="{57235F60-C42B-4C0A-9707-6FAF81FCFFCC}"/>
                  </a:ext>
                </a:extLst>
              </p:cNvPr>
              <p:cNvSpPr/>
              <p:nvPr/>
            </p:nvSpPr>
            <p:spPr>
              <a:xfrm>
                <a:off x="5732621" y="3876199"/>
                <a:ext cx="180975" cy="114300"/>
              </a:xfrm>
              <a:custGeom>
                <a:avLst/>
                <a:gdLst>
                  <a:gd name="connsiteX0" fmla="*/ 15716 w 180975"/>
                  <a:gd name="connsiteY0" fmla="*/ 79534 h 114300"/>
                  <a:gd name="connsiteX1" fmla="*/ 7144 w 180975"/>
                  <a:gd name="connsiteY1" fmla="*/ 93821 h 114300"/>
                  <a:gd name="connsiteX2" fmla="*/ 23336 w 180975"/>
                  <a:gd name="connsiteY2" fmla="*/ 110014 h 114300"/>
                  <a:gd name="connsiteX3" fmla="*/ 29051 w 180975"/>
                  <a:gd name="connsiteY3" fmla="*/ 109061 h 114300"/>
                  <a:gd name="connsiteX4" fmla="*/ 49054 w 180975"/>
                  <a:gd name="connsiteY4" fmla="*/ 115729 h 114300"/>
                  <a:gd name="connsiteX5" fmla="*/ 82391 w 180975"/>
                  <a:gd name="connsiteY5" fmla="*/ 82391 h 114300"/>
                  <a:gd name="connsiteX6" fmla="*/ 77629 w 180975"/>
                  <a:gd name="connsiteY6" fmla="*/ 66199 h 114300"/>
                  <a:gd name="connsiteX7" fmla="*/ 81439 w 180975"/>
                  <a:gd name="connsiteY7" fmla="*/ 65246 h 114300"/>
                  <a:gd name="connsiteX8" fmla="*/ 119539 w 180975"/>
                  <a:gd name="connsiteY8" fmla="*/ 98584 h 114300"/>
                  <a:gd name="connsiteX9" fmla="*/ 155734 w 180975"/>
                  <a:gd name="connsiteY9" fmla="*/ 73819 h 114300"/>
                  <a:gd name="connsiteX10" fmla="*/ 159544 w 180975"/>
                  <a:gd name="connsiteY10" fmla="*/ 72866 h 114300"/>
                  <a:gd name="connsiteX11" fmla="*/ 168116 w 180975"/>
                  <a:gd name="connsiteY11" fmla="*/ 77629 h 114300"/>
                  <a:gd name="connsiteX12" fmla="*/ 178594 w 180975"/>
                  <a:gd name="connsiteY12" fmla="*/ 67151 h 114300"/>
                  <a:gd name="connsiteX13" fmla="*/ 172879 w 180975"/>
                  <a:gd name="connsiteY13" fmla="*/ 58579 h 114300"/>
                  <a:gd name="connsiteX14" fmla="*/ 179546 w 180975"/>
                  <a:gd name="connsiteY14" fmla="*/ 48101 h 114300"/>
                  <a:gd name="connsiteX15" fmla="*/ 169069 w 180975"/>
                  <a:gd name="connsiteY15" fmla="*/ 36671 h 114300"/>
                  <a:gd name="connsiteX16" fmla="*/ 153829 w 180975"/>
                  <a:gd name="connsiteY16" fmla="*/ 27146 h 114300"/>
                  <a:gd name="connsiteX17" fmla="*/ 154781 w 180975"/>
                  <a:gd name="connsiteY17" fmla="*/ 24289 h 114300"/>
                  <a:gd name="connsiteX18" fmla="*/ 148114 w 180975"/>
                  <a:gd name="connsiteY18" fmla="*/ 17621 h 114300"/>
                  <a:gd name="connsiteX19" fmla="*/ 141446 w 180975"/>
                  <a:gd name="connsiteY19" fmla="*/ 24289 h 114300"/>
                  <a:gd name="connsiteX20" fmla="*/ 142399 w 180975"/>
                  <a:gd name="connsiteY20" fmla="*/ 28099 h 114300"/>
                  <a:gd name="connsiteX21" fmla="*/ 140494 w 180975"/>
                  <a:gd name="connsiteY21" fmla="*/ 29051 h 114300"/>
                  <a:gd name="connsiteX22" fmla="*/ 125254 w 180975"/>
                  <a:gd name="connsiteY22" fmla="*/ 22384 h 114300"/>
                  <a:gd name="connsiteX23" fmla="*/ 110966 w 180975"/>
                  <a:gd name="connsiteY23" fmla="*/ 14764 h 114300"/>
                  <a:gd name="connsiteX24" fmla="*/ 95726 w 180975"/>
                  <a:gd name="connsiteY24" fmla="*/ 24289 h 114300"/>
                  <a:gd name="connsiteX25" fmla="*/ 69056 w 180975"/>
                  <a:gd name="connsiteY25" fmla="*/ 7144 h 114300"/>
                  <a:gd name="connsiteX26" fmla="*/ 38576 w 180975"/>
                  <a:gd name="connsiteY26" fmla="*/ 37624 h 114300"/>
                  <a:gd name="connsiteX27" fmla="*/ 41434 w 180975"/>
                  <a:gd name="connsiteY27" fmla="*/ 50959 h 114300"/>
                  <a:gd name="connsiteX28" fmla="*/ 15716 w 180975"/>
                  <a:gd name="connsiteY28" fmla="*/ 79534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80975" h="114300">
                    <a:moveTo>
                      <a:pt x="15716" y="79534"/>
                    </a:moveTo>
                    <a:cubicBezTo>
                      <a:pt x="10954" y="82391"/>
                      <a:pt x="7144" y="88106"/>
                      <a:pt x="7144" y="93821"/>
                    </a:cubicBezTo>
                    <a:cubicBezTo>
                      <a:pt x="7144" y="103346"/>
                      <a:pt x="14764" y="110014"/>
                      <a:pt x="23336" y="110014"/>
                    </a:cubicBezTo>
                    <a:cubicBezTo>
                      <a:pt x="25241" y="110014"/>
                      <a:pt x="27146" y="110014"/>
                      <a:pt x="29051" y="109061"/>
                    </a:cubicBezTo>
                    <a:cubicBezTo>
                      <a:pt x="34766" y="112871"/>
                      <a:pt x="41434" y="115729"/>
                      <a:pt x="49054" y="115729"/>
                    </a:cubicBezTo>
                    <a:cubicBezTo>
                      <a:pt x="67151" y="115729"/>
                      <a:pt x="82391" y="100489"/>
                      <a:pt x="82391" y="82391"/>
                    </a:cubicBezTo>
                    <a:cubicBezTo>
                      <a:pt x="82391" y="76676"/>
                      <a:pt x="80486" y="70961"/>
                      <a:pt x="77629" y="66199"/>
                    </a:cubicBezTo>
                    <a:cubicBezTo>
                      <a:pt x="78581" y="66199"/>
                      <a:pt x="79534" y="65246"/>
                      <a:pt x="81439" y="65246"/>
                    </a:cubicBezTo>
                    <a:cubicBezTo>
                      <a:pt x="84296" y="84296"/>
                      <a:pt x="100489" y="98584"/>
                      <a:pt x="119539" y="98584"/>
                    </a:cubicBezTo>
                    <a:cubicBezTo>
                      <a:pt x="135731" y="98584"/>
                      <a:pt x="150019" y="88106"/>
                      <a:pt x="155734" y="73819"/>
                    </a:cubicBezTo>
                    <a:cubicBezTo>
                      <a:pt x="157639" y="73819"/>
                      <a:pt x="158591" y="72866"/>
                      <a:pt x="159544" y="72866"/>
                    </a:cubicBezTo>
                    <a:cubicBezTo>
                      <a:pt x="161449" y="75724"/>
                      <a:pt x="164306" y="77629"/>
                      <a:pt x="168116" y="77629"/>
                    </a:cubicBezTo>
                    <a:cubicBezTo>
                      <a:pt x="173831" y="77629"/>
                      <a:pt x="178594" y="72866"/>
                      <a:pt x="178594" y="67151"/>
                    </a:cubicBezTo>
                    <a:cubicBezTo>
                      <a:pt x="178594" y="63341"/>
                      <a:pt x="176689" y="59531"/>
                      <a:pt x="172879" y="58579"/>
                    </a:cubicBezTo>
                    <a:cubicBezTo>
                      <a:pt x="176689" y="56674"/>
                      <a:pt x="179546" y="52864"/>
                      <a:pt x="179546" y="48101"/>
                    </a:cubicBezTo>
                    <a:cubicBezTo>
                      <a:pt x="179546" y="42386"/>
                      <a:pt x="174784" y="37624"/>
                      <a:pt x="169069" y="36671"/>
                    </a:cubicBezTo>
                    <a:cubicBezTo>
                      <a:pt x="165259" y="31909"/>
                      <a:pt x="160496" y="28099"/>
                      <a:pt x="153829" y="27146"/>
                    </a:cubicBezTo>
                    <a:cubicBezTo>
                      <a:pt x="154781" y="26194"/>
                      <a:pt x="154781" y="25241"/>
                      <a:pt x="154781" y="24289"/>
                    </a:cubicBezTo>
                    <a:cubicBezTo>
                      <a:pt x="154781" y="20479"/>
                      <a:pt x="151924" y="17621"/>
                      <a:pt x="148114" y="17621"/>
                    </a:cubicBezTo>
                    <a:cubicBezTo>
                      <a:pt x="144304" y="17621"/>
                      <a:pt x="141446" y="20479"/>
                      <a:pt x="141446" y="24289"/>
                    </a:cubicBezTo>
                    <a:cubicBezTo>
                      <a:pt x="141446" y="26194"/>
                      <a:pt x="142399" y="27146"/>
                      <a:pt x="142399" y="28099"/>
                    </a:cubicBezTo>
                    <a:cubicBezTo>
                      <a:pt x="141446" y="28099"/>
                      <a:pt x="141446" y="28099"/>
                      <a:pt x="140494" y="29051"/>
                    </a:cubicBezTo>
                    <a:cubicBezTo>
                      <a:pt x="135731" y="26194"/>
                      <a:pt x="130969" y="23336"/>
                      <a:pt x="125254" y="22384"/>
                    </a:cubicBezTo>
                    <a:cubicBezTo>
                      <a:pt x="122396" y="17621"/>
                      <a:pt x="116681" y="14764"/>
                      <a:pt x="110966" y="14764"/>
                    </a:cubicBezTo>
                    <a:cubicBezTo>
                      <a:pt x="104299" y="14764"/>
                      <a:pt x="98584" y="18574"/>
                      <a:pt x="95726" y="24289"/>
                    </a:cubicBezTo>
                    <a:cubicBezTo>
                      <a:pt x="90964" y="14764"/>
                      <a:pt x="80486" y="7144"/>
                      <a:pt x="69056" y="7144"/>
                    </a:cubicBezTo>
                    <a:cubicBezTo>
                      <a:pt x="52864" y="7144"/>
                      <a:pt x="38576" y="20479"/>
                      <a:pt x="38576" y="37624"/>
                    </a:cubicBezTo>
                    <a:cubicBezTo>
                      <a:pt x="38576" y="42386"/>
                      <a:pt x="39529" y="46196"/>
                      <a:pt x="41434" y="50959"/>
                    </a:cubicBezTo>
                    <a:cubicBezTo>
                      <a:pt x="28099" y="52864"/>
                      <a:pt x="16669" y="64294"/>
                      <a:pt x="15716" y="79534"/>
                    </a:cubicBezTo>
                    <a:close/>
                  </a:path>
                </a:pathLst>
              </a:custGeom>
              <a:grpFill/>
              <a:ln w="9525" cap="flat">
                <a:noFill/>
                <a:prstDash val="solid"/>
                <a:miter/>
              </a:ln>
            </p:spPr>
            <p:txBody>
              <a:bodyPr rtlCol="0" anchor="ctr"/>
              <a:lstStyle/>
              <a:p>
                <a:endParaRPr lang="en-US"/>
              </a:p>
            </p:txBody>
          </p:sp>
          <p:sp>
            <p:nvSpPr>
              <p:cNvPr id="107" name="Freeform: Shape 106">
                <a:extLst>
                  <a:ext uri="{FF2B5EF4-FFF2-40B4-BE49-F238E27FC236}">
                    <a16:creationId xmlns:a16="http://schemas.microsoft.com/office/drawing/2014/main" id="{131FE774-C36F-42A3-9EBC-D78F2B8E66E9}"/>
                  </a:ext>
                </a:extLst>
              </p:cNvPr>
              <p:cNvSpPr/>
              <p:nvPr/>
            </p:nvSpPr>
            <p:spPr>
              <a:xfrm>
                <a:off x="5716429" y="4020026"/>
                <a:ext cx="28575" cy="28575"/>
              </a:xfrm>
              <a:custGeom>
                <a:avLst/>
                <a:gdLst>
                  <a:gd name="connsiteX0" fmla="*/ 24289 w 28575"/>
                  <a:gd name="connsiteY0" fmla="*/ 15716 h 28575"/>
                  <a:gd name="connsiteX1" fmla="*/ 15716 w 28575"/>
                  <a:gd name="connsiteY1" fmla="*/ 7144 h 28575"/>
                  <a:gd name="connsiteX2" fmla="*/ 7144 w 28575"/>
                  <a:gd name="connsiteY2" fmla="*/ 15716 h 28575"/>
                  <a:gd name="connsiteX3" fmla="*/ 15716 w 28575"/>
                  <a:gd name="connsiteY3" fmla="*/ 24289 h 28575"/>
                  <a:gd name="connsiteX4" fmla="*/ 24289 w 28575"/>
                  <a:gd name="connsiteY4" fmla="*/ 15716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4289" y="15716"/>
                    </a:moveTo>
                    <a:cubicBezTo>
                      <a:pt x="24289" y="10954"/>
                      <a:pt x="20479" y="7144"/>
                      <a:pt x="15716" y="7144"/>
                    </a:cubicBezTo>
                    <a:cubicBezTo>
                      <a:pt x="10954" y="7144"/>
                      <a:pt x="7144" y="10954"/>
                      <a:pt x="7144" y="15716"/>
                    </a:cubicBezTo>
                    <a:cubicBezTo>
                      <a:pt x="7144" y="20479"/>
                      <a:pt x="10954" y="24289"/>
                      <a:pt x="15716" y="24289"/>
                    </a:cubicBezTo>
                    <a:cubicBezTo>
                      <a:pt x="20479" y="23336"/>
                      <a:pt x="24289" y="19526"/>
                      <a:pt x="24289" y="15716"/>
                    </a:cubicBezTo>
                    <a:close/>
                  </a:path>
                </a:pathLst>
              </a:custGeom>
              <a:grpFill/>
              <a:ln w="9525" cap="flat">
                <a:noFill/>
                <a:prstDash val="solid"/>
                <a:miter/>
              </a:ln>
            </p:spPr>
            <p:txBody>
              <a:bodyPr rtlCol="0" anchor="ctr"/>
              <a:lstStyle/>
              <a:p>
                <a:endParaRPr lang="en-US"/>
              </a:p>
            </p:txBody>
          </p:sp>
          <p:sp>
            <p:nvSpPr>
              <p:cNvPr id="108" name="Freeform: Shape 107">
                <a:extLst>
                  <a:ext uri="{FF2B5EF4-FFF2-40B4-BE49-F238E27FC236}">
                    <a16:creationId xmlns:a16="http://schemas.microsoft.com/office/drawing/2014/main" id="{76E5FE6F-1815-42A7-92B3-2214557950EF}"/>
                  </a:ext>
                </a:extLst>
              </p:cNvPr>
              <p:cNvSpPr/>
              <p:nvPr/>
            </p:nvSpPr>
            <p:spPr>
              <a:xfrm>
                <a:off x="6147911" y="2889318"/>
                <a:ext cx="66675" cy="57150"/>
              </a:xfrm>
              <a:custGeom>
                <a:avLst/>
                <a:gdLst>
                  <a:gd name="connsiteX0" fmla="*/ 7144 w 66675"/>
                  <a:gd name="connsiteY0" fmla="*/ 21522 h 57150"/>
                  <a:gd name="connsiteX1" fmla="*/ 15716 w 66675"/>
                  <a:gd name="connsiteY1" fmla="*/ 35809 h 57150"/>
                  <a:gd name="connsiteX2" fmla="*/ 39529 w 66675"/>
                  <a:gd name="connsiteY2" fmla="*/ 58670 h 57150"/>
                  <a:gd name="connsiteX3" fmla="*/ 63341 w 66675"/>
                  <a:gd name="connsiteY3" fmla="*/ 34857 h 57150"/>
                  <a:gd name="connsiteX4" fmla="*/ 39529 w 66675"/>
                  <a:gd name="connsiteY4" fmla="*/ 11045 h 57150"/>
                  <a:gd name="connsiteX5" fmla="*/ 33814 w 66675"/>
                  <a:gd name="connsiteY5" fmla="*/ 11997 h 57150"/>
                  <a:gd name="connsiteX6" fmla="*/ 22384 w 66675"/>
                  <a:gd name="connsiteY6" fmla="*/ 7234 h 57150"/>
                  <a:gd name="connsiteX7" fmla="*/ 7144 w 66675"/>
                  <a:gd name="connsiteY7" fmla="*/ 21522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675" h="57150">
                    <a:moveTo>
                      <a:pt x="7144" y="21522"/>
                    </a:moveTo>
                    <a:cubicBezTo>
                      <a:pt x="7144" y="28189"/>
                      <a:pt x="10954" y="32952"/>
                      <a:pt x="15716" y="35809"/>
                    </a:cubicBezTo>
                    <a:cubicBezTo>
                      <a:pt x="16669" y="48192"/>
                      <a:pt x="27146" y="58670"/>
                      <a:pt x="39529" y="58670"/>
                    </a:cubicBezTo>
                    <a:cubicBezTo>
                      <a:pt x="52864" y="58670"/>
                      <a:pt x="63341" y="48192"/>
                      <a:pt x="63341" y="34857"/>
                    </a:cubicBezTo>
                    <a:cubicBezTo>
                      <a:pt x="63341" y="21522"/>
                      <a:pt x="52864" y="11045"/>
                      <a:pt x="39529" y="11045"/>
                    </a:cubicBezTo>
                    <a:cubicBezTo>
                      <a:pt x="37624" y="11045"/>
                      <a:pt x="35719" y="11045"/>
                      <a:pt x="33814" y="11997"/>
                    </a:cubicBezTo>
                    <a:cubicBezTo>
                      <a:pt x="30956" y="9139"/>
                      <a:pt x="27146" y="7234"/>
                      <a:pt x="22384" y="7234"/>
                    </a:cubicBezTo>
                    <a:cubicBezTo>
                      <a:pt x="14764" y="6282"/>
                      <a:pt x="7144" y="12950"/>
                      <a:pt x="7144" y="21522"/>
                    </a:cubicBezTo>
                    <a:close/>
                  </a:path>
                </a:pathLst>
              </a:custGeom>
              <a:grpFill/>
              <a:ln w="9525" cap="flat">
                <a:noFill/>
                <a:prstDash val="solid"/>
                <a:miter/>
              </a:ln>
            </p:spPr>
            <p:txBody>
              <a:bodyPr rtlCol="0" anchor="ctr"/>
              <a:lstStyle/>
              <a:p>
                <a:endParaRPr lang="en-US"/>
              </a:p>
            </p:txBody>
          </p:sp>
          <p:sp>
            <p:nvSpPr>
              <p:cNvPr id="109" name="Freeform: Shape 108">
                <a:extLst>
                  <a:ext uri="{FF2B5EF4-FFF2-40B4-BE49-F238E27FC236}">
                    <a16:creationId xmlns:a16="http://schemas.microsoft.com/office/drawing/2014/main" id="{063DB948-4DDD-40EA-9BEC-159B7B2B96F2}"/>
                  </a:ext>
                </a:extLst>
              </p:cNvPr>
              <p:cNvSpPr/>
              <p:nvPr/>
            </p:nvSpPr>
            <p:spPr>
              <a:xfrm>
                <a:off x="5862161" y="3860959"/>
                <a:ext cx="19050" cy="19050"/>
              </a:xfrm>
              <a:custGeom>
                <a:avLst/>
                <a:gdLst>
                  <a:gd name="connsiteX0" fmla="*/ 20479 w 19050"/>
                  <a:gd name="connsiteY0" fmla="*/ 13811 h 19050"/>
                  <a:gd name="connsiteX1" fmla="*/ 13811 w 19050"/>
                  <a:gd name="connsiteY1" fmla="*/ 7144 h 19050"/>
                  <a:gd name="connsiteX2" fmla="*/ 7144 w 19050"/>
                  <a:gd name="connsiteY2" fmla="*/ 13811 h 19050"/>
                  <a:gd name="connsiteX3" fmla="*/ 13811 w 19050"/>
                  <a:gd name="connsiteY3" fmla="*/ 20479 h 19050"/>
                  <a:gd name="connsiteX4" fmla="*/ 20479 w 19050"/>
                  <a:gd name="connsiteY4" fmla="*/ 13811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20479" y="13811"/>
                    </a:moveTo>
                    <a:cubicBezTo>
                      <a:pt x="20479" y="10001"/>
                      <a:pt x="17621" y="7144"/>
                      <a:pt x="13811" y="7144"/>
                    </a:cubicBezTo>
                    <a:cubicBezTo>
                      <a:pt x="10001" y="7144"/>
                      <a:pt x="7144" y="10001"/>
                      <a:pt x="7144" y="13811"/>
                    </a:cubicBezTo>
                    <a:cubicBezTo>
                      <a:pt x="7144" y="17621"/>
                      <a:pt x="10001" y="20479"/>
                      <a:pt x="13811" y="20479"/>
                    </a:cubicBezTo>
                    <a:cubicBezTo>
                      <a:pt x="17621" y="20479"/>
                      <a:pt x="20479" y="17621"/>
                      <a:pt x="20479" y="13811"/>
                    </a:cubicBezTo>
                    <a:close/>
                  </a:path>
                </a:pathLst>
              </a:custGeom>
              <a:grpFill/>
              <a:ln w="9525" cap="flat">
                <a:noFill/>
                <a:prstDash val="solid"/>
                <a:miter/>
              </a:ln>
            </p:spPr>
            <p:txBody>
              <a:bodyPr rtlCol="0" anchor="ctr"/>
              <a:lstStyle/>
              <a:p>
                <a:endParaRPr lang="en-US"/>
              </a:p>
            </p:txBody>
          </p:sp>
          <p:sp>
            <p:nvSpPr>
              <p:cNvPr id="110" name="Freeform: Shape 109">
                <a:extLst>
                  <a:ext uri="{FF2B5EF4-FFF2-40B4-BE49-F238E27FC236}">
                    <a16:creationId xmlns:a16="http://schemas.microsoft.com/office/drawing/2014/main" id="{9D889E67-9BDF-4941-9166-1DEB1341ADB3}"/>
                  </a:ext>
                </a:extLst>
              </p:cNvPr>
              <p:cNvSpPr/>
              <p:nvPr/>
            </p:nvSpPr>
            <p:spPr>
              <a:xfrm>
                <a:off x="5269706" y="3384709"/>
                <a:ext cx="38100" cy="38100"/>
              </a:xfrm>
              <a:custGeom>
                <a:avLst/>
                <a:gdLst>
                  <a:gd name="connsiteX0" fmla="*/ 21431 w 38100"/>
                  <a:gd name="connsiteY0" fmla="*/ 7144 h 38100"/>
                  <a:gd name="connsiteX1" fmla="*/ 7144 w 38100"/>
                  <a:gd name="connsiteY1" fmla="*/ 21431 h 38100"/>
                  <a:gd name="connsiteX2" fmla="*/ 21431 w 38100"/>
                  <a:gd name="connsiteY2" fmla="*/ 35719 h 38100"/>
                  <a:gd name="connsiteX3" fmla="*/ 35719 w 38100"/>
                  <a:gd name="connsiteY3" fmla="*/ 21431 h 38100"/>
                  <a:gd name="connsiteX4" fmla="*/ 21431 w 38100"/>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1431" y="7144"/>
                    </a:moveTo>
                    <a:cubicBezTo>
                      <a:pt x="13811" y="7144"/>
                      <a:pt x="7144" y="13811"/>
                      <a:pt x="7144" y="21431"/>
                    </a:cubicBezTo>
                    <a:cubicBezTo>
                      <a:pt x="7144" y="29051"/>
                      <a:pt x="13811" y="35719"/>
                      <a:pt x="21431" y="35719"/>
                    </a:cubicBezTo>
                    <a:cubicBezTo>
                      <a:pt x="29051" y="35719"/>
                      <a:pt x="35719" y="29051"/>
                      <a:pt x="35719" y="21431"/>
                    </a:cubicBezTo>
                    <a:cubicBezTo>
                      <a:pt x="35719" y="13811"/>
                      <a:pt x="29051" y="7144"/>
                      <a:pt x="21431" y="7144"/>
                    </a:cubicBezTo>
                    <a:close/>
                  </a:path>
                </a:pathLst>
              </a:custGeom>
              <a:grpFill/>
              <a:ln w="9525" cap="flat">
                <a:noFill/>
                <a:prstDash val="solid"/>
                <a:miter/>
              </a:ln>
            </p:spPr>
            <p:txBody>
              <a:bodyPr rtlCol="0" anchor="ctr"/>
              <a:lstStyle/>
              <a:p>
                <a:endParaRPr lang="en-US"/>
              </a:p>
            </p:txBody>
          </p:sp>
          <p:sp>
            <p:nvSpPr>
              <p:cNvPr id="111" name="Freeform: Shape 110">
                <a:extLst>
                  <a:ext uri="{FF2B5EF4-FFF2-40B4-BE49-F238E27FC236}">
                    <a16:creationId xmlns:a16="http://schemas.microsoft.com/office/drawing/2014/main" id="{F83D47A6-5339-44D9-85F0-E489305859C1}"/>
                  </a:ext>
                </a:extLst>
              </p:cNvPr>
              <p:cNvSpPr/>
              <p:nvPr/>
            </p:nvSpPr>
            <p:spPr>
              <a:xfrm>
                <a:off x="5923121" y="3529489"/>
                <a:ext cx="28575" cy="28575"/>
              </a:xfrm>
              <a:custGeom>
                <a:avLst/>
                <a:gdLst>
                  <a:gd name="connsiteX0" fmla="*/ 17621 w 28575"/>
                  <a:gd name="connsiteY0" fmla="*/ 28099 h 28575"/>
                  <a:gd name="connsiteX1" fmla="*/ 28099 w 28575"/>
                  <a:gd name="connsiteY1" fmla="*/ 17621 h 28575"/>
                  <a:gd name="connsiteX2" fmla="*/ 17621 w 28575"/>
                  <a:gd name="connsiteY2" fmla="*/ 7144 h 28575"/>
                  <a:gd name="connsiteX3" fmla="*/ 7144 w 28575"/>
                  <a:gd name="connsiteY3" fmla="*/ 17621 h 28575"/>
                  <a:gd name="connsiteX4" fmla="*/ 17621 w 28575"/>
                  <a:gd name="connsiteY4" fmla="*/ 2809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7621" y="28099"/>
                    </a:moveTo>
                    <a:cubicBezTo>
                      <a:pt x="23336" y="28099"/>
                      <a:pt x="28099" y="23336"/>
                      <a:pt x="28099" y="17621"/>
                    </a:cubicBezTo>
                    <a:cubicBezTo>
                      <a:pt x="28099" y="11906"/>
                      <a:pt x="23336" y="7144"/>
                      <a:pt x="17621" y="7144"/>
                    </a:cubicBezTo>
                    <a:cubicBezTo>
                      <a:pt x="11906" y="7144"/>
                      <a:pt x="7144" y="11906"/>
                      <a:pt x="7144" y="17621"/>
                    </a:cubicBezTo>
                    <a:cubicBezTo>
                      <a:pt x="7144" y="23336"/>
                      <a:pt x="11906" y="28099"/>
                      <a:pt x="17621" y="28099"/>
                    </a:cubicBezTo>
                    <a:close/>
                  </a:path>
                </a:pathLst>
              </a:custGeom>
              <a:grpFill/>
              <a:ln w="9525" cap="flat">
                <a:noFill/>
                <a:prstDash val="solid"/>
                <a:miter/>
              </a:ln>
            </p:spPr>
            <p:txBody>
              <a:bodyPr rtlCol="0" anchor="ctr"/>
              <a:lstStyle/>
              <a:p>
                <a:endParaRPr lang="en-US"/>
              </a:p>
            </p:txBody>
          </p:sp>
          <p:sp>
            <p:nvSpPr>
              <p:cNvPr id="112" name="Freeform: Shape 111">
                <a:extLst>
                  <a:ext uri="{FF2B5EF4-FFF2-40B4-BE49-F238E27FC236}">
                    <a16:creationId xmlns:a16="http://schemas.microsoft.com/office/drawing/2014/main" id="{94D5390E-FE16-41A4-AE2A-BDC6F254E607}"/>
                  </a:ext>
                </a:extLst>
              </p:cNvPr>
              <p:cNvSpPr/>
              <p:nvPr/>
            </p:nvSpPr>
            <p:spPr>
              <a:xfrm>
                <a:off x="6133624" y="2769394"/>
                <a:ext cx="38100" cy="38100"/>
              </a:xfrm>
              <a:custGeom>
                <a:avLst/>
                <a:gdLst>
                  <a:gd name="connsiteX0" fmla="*/ 33814 w 38100"/>
                  <a:gd name="connsiteY0" fmla="*/ 20479 h 38100"/>
                  <a:gd name="connsiteX1" fmla="*/ 20479 w 38100"/>
                  <a:gd name="connsiteY1" fmla="*/ 7144 h 38100"/>
                  <a:gd name="connsiteX2" fmla="*/ 7144 w 38100"/>
                  <a:gd name="connsiteY2" fmla="*/ 20479 h 38100"/>
                  <a:gd name="connsiteX3" fmla="*/ 20479 w 38100"/>
                  <a:gd name="connsiteY3" fmla="*/ 33814 h 38100"/>
                  <a:gd name="connsiteX4" fmla="*/ 33814 w 38100"/>
                  <a:gd name="connsiteY4" fmla="*/ 20479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3814" y="20479"/>
                    </a:moveTo>
                    <a:cubicBezTo>
                      <a:pt x="33814" y="12859"/>
                      <a:pt x="28099" y="7144"/>
                      <a:pt x="20479" y="7144"/>
                    </a:cubicBezTo>
                    <a:cubicBezTo>
                      <a:pt x="12859" y="7144"/>
                      <a:pt x="7144" y="12859"/>
                      <a:pt x="7144" y="20479"/>
                    </a:cubicBezTo>
                    <a:cubicBezTo>
                      <a:pt x="7144" y="28099"/>
                      <a:pt x="12859" y="33814"/>
                      <a:pt x="20479" y="33814"/>
                    </a:cubicBezTo>
                    <a:cubicBezTo>
                      <a:pt x="28099" y="33814"/>
                      <a:pt x="33814" y="27146"/>
                      <a:pt x="33814" y="20479"/>
                    </a:cubicBezTo>
                    <a:close/>
                  </a:path>
                </a:pathLst>
              </a:custGeom>
              <a:grpFill/>
              <a:ln w="9525" cap="flat">
                <a:noFill/>
                <a:prstDash val="solid"/>
                <a:miter/>
              </a:ln>
            </p:spPr>
            <p:txBody>
              <a:bodyPr rtlCol="0" anchor="ctr"/>
              <a:lstStyle/>
              <a:p>
                <a:endParaRPr lang="en-US"/>
              </a:p>
            </p:txBody>
          </p:sp>
          <p:sp>
            <p:nvSpPr>
              <p:cNvPr id="113" name="Freeform: Shape 112">
                <a:extLst>
                  <a:ext uri="{FF2B5EF4-FFF2-40B4-BE49-F238E27FC236}">
                    <a16:creationId xmlns:a16="http://schemas.microsoft.com/office/drawing/2014/main" id="{81772A60-B0C3-4E82-89A7-7096F64D356B}"/>
                  </a:ext>
                </a:extLst>
              </p:cNvPr>
              <p:cNvSpPr/>
              <p:nvPr/>
            </p:nvSpPr>
            <p:spPr>
              <a:xfrm>
                <a:off x="5578316" y="3253264"/>
                <a:ext cx="28575" cy="28575"/>
              </a:xfrm>
              <a:custGeom>
                <a:avLst/>
                <a:gdLst>
                  <a:gd name="connsiteX0" fmla="*/ 18574 w 28575"/>
                  <a:gd name="connsiteY0" fmla="*/ 7144 h 28575"/>
                  <a:gd name="connsiteX1" fmla="*/ 7144 w 28575"/>
                  <a:gd name="connsiteY1" fmla="*/ 18574 h 28575"/>
                  <a:gd name="connsiteX2" fmla="*/ 18574 w 28575"/>
                  <a:gd name="connsiteY2" fmla="*/ 30004 h 28575"/>
                  <a:gd name="connsiteX3" fmla="*/ 30004 w 28575"/>
                  <a:gd name="connsiteY3" fmla="*/ 18574 h 28575"/>
                  <a:gd name="connsiteX4" fmla="*/ 18574 w 28575"/>
                  <a:gd name="connsiteY4" fmla="*/ 7144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8574" y="7144"/>
                    </a:moveTo>
                    <a:cubicBezTo>
                      <a:pt x="11906" y="7144"/>
                      <a:pt x="7144" y="11906"/>
                      <a:pt x="7144" y="18574"/>
                    </a:cubicBezTo>
                    <a:cubicBezTo>
                      <a:pt x="7144" y="25241"/>
                      <a:pt x="11906" y="30004"/>
                      <a:pt x="18574" y="30004"/>
                    </a:cubicBezTo>
                    <a:cubicBezTo>
                      <a:pt x="25241" y="30004"/>
                      <a:pt x="30004" y="25241"/>
                      <a:pt x="30004" y="18574"/>
                    </a:cubicBezTo>
                    <a:cubicBezTo>
                      <a:pt x="30004" y="11906"/>
                      <a:pt x="25241" y="7144"/>
                      <a:pt x="18574" y="7144"/>
                    </a:cubicBezTo>
                    <a:close/>
                  </a:path>
                </a:pathLst>
              </a:custGeom>
              <a:grpFill/>
              <a:ln w="9525" cap="flat">
                <a:noFill/>
                <a:prstDash val="solid"/>
                <a:miter/>
              </a:ln>
            </p:spPr>
            <p:txBody>
              <a:bodyPr rtlCol="0" anchor="ctr"/>
              <a:lstStyle/>
              <a:p>
                <a:endParaRPr lang="en-US"/>
              </a:p>
            </p:txBody>
          </p:sp>
          <p:sp>
            <p:nvSpPr>
              <p:cNvPr id="114" name="Freeform: Shape 113">
                <a:extLst>
                  <a:ext uri="{FF2B5EF4-FFF2-40B4-BE49-F238E27FC236}">
                    <a16:creationId xmlns:a16="http://schemas.microsoft.com/office/drawing/2014/main" id="{F2FA24F3-62B4-45E3-9852-D08BB6C61255}"/>
                  </a:ext>
                </a:extLst>
              </p:cNvPr>
              <p:cNvSpPr/>
              <p:nvPr/>
            </p:nvSpPr>
            <p:spPr>
              <a:xfrm>
                <a:off x="5571649" y="3619024"/>
                <a:ext cx="28575" cy="28575"/>
              </a:xfrm>
              <a:custGeom>
                <a:avLst/>
                <a:gdLst>
                  <a:gd name="connsiteX0" fmla="*/ 22384 w 28575"/>
                  <a:gd name="connsiteY0" fmla="*/ 14764 h 28575"/>
                  <a:gd name="connsiteX1" fmla="*/ 14764 w 28575"/>
                  <a:gd name="connsiteY1" fmla="*/ 7144 h 28575"/>
                  <a:gd name="connsiteX2" fmla="*/ 7144 w 28575"/>
                  <a:gd name="connsiteY2" fmla="*/ 14764 h 28575"/>
                  <a:gd name="connsiteX3" fmla="*/ 14764 w 28575"/>
                  <a:gd name="connsiteY3" fmla="*/ 22384 h 28575"/>
                  <a:gd name="connsiteX4" fmla="*/ 22384 w 28575"/>
                  <a:gd name="connsiteY4" fmla="*/ 14764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2384" y="14764"/>
                    </a:moveTo>
                    <a:cubicBezTo>
                      <a:pt x="22384" y="10954"/>
                      <a:pt x="19526" y="7144"/>
                      <a:pt x="14764" y="7144"/>
                    </a:cubicBezTo>
                    <a:cubicBezTo>
                      <a:pt x="10954" y="7144"/>
                      <a:pt x="7144" y="10001"/>
                      <a:pt x="7144" y="14764"/>
                    </a:cubicBezTo>
                    <a:cubicBezTo>
                      <a:pt x="7144" y="18574"/>
                      <a:pt x="10001" y="22384"/>
                      <a:pt x="14764" y="22384"/>
                    </a:cubicBezTo>
                    <a:cubicBezTo>
                      <a:pt x="19526" y="21431"/>
                      <a:pt x="22384" y="18574"/>
                      <a:pt x="22384" y="14764"/>
                    </a:cubicBezTo>
                    <a:close/>
                  </a:path>
                </a:pathLst>
              </a:custGeom>
              <a:grpFill/>
              <a:ln w="9525" cap="flat">
                <a:noFill/>
                <a:prstDash val="solid"/>
                <a:miter/>
              </a:ln>
            </p:spPr>
            <p:txBody>
              <a:bodyPr rtlCol="0" anchor="ctr"/>
              <a:lstStyle/>
              <a:p>
                <a:endParaRPr lang="en-US"/>
              </a:p>
            </p:txBody>
          </p:sp>
          <p:sp>
            <p:nvSpPr>
              <p:cNvPr id="115" name="Freeform: Shape 114">
                <a:extLst>
                  <a:ext uri="{FF2B5EF4-FFF2-40B4-BE49-F238E27FC236}">
                    <a16:creationId xmlns:a16="http://schemas.microsoft.com/office/drawing/2014/main" id="{825EB378-46F3-4C03-9FFB-70A6592F630D}"/>
                  </a:ext>
                </a:extLst>
              </p:cNvPr>
              <p:cNvSpPr/>
              <p:nvPr/>
            </p:nvSpPr>
            <p:spPr>
              <a:xfrm>
                <a:off x="5941219" y="4137184"/>
                <a:ext cx="28575" cy="28575"/>
              </a:xfrm>
              <a:custGeom>
                <a:avLst/>
                <a:gdLst>
                  <a:gd name="connsiteX0" fmla="*/ 16669 w 28575"/>
                  <a:gd name="connsiteY0" fmla="*/ 7144 h 28575"/>
                  <a:gd name="connsiteX1" fmla="*/ 7144 w 28575"/>
                  <a:gd name="connsiteY1" fmla="*/ 16669 h 28575"/>
                  <a:gd name="connsiteX2" fmla="*/ 16669 w 28575"/>
                  <a:gd name="connsiteY2" fmla="*/ 26194 h 28575"/>
                  <a:gd name="connsiteX3" fmla="*/ 26194 w 28575"/>
                  <a:gd name="connsiteY3" fmla="*/ 16669 h 28575"/>
                  <a:gd name="connsiteX4" fmla="*/ 16669 w 28575"/>
                  <a:gd name="connsiteY4" fmla="*/ 7144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6669" y="7144"/>
                    </a:moveTo>
                    <a:cubicBezTo>
                      <a:pt x="10954" y="7144"/>
                      <a:pt x="7144" y="11906"/>
                      <a:pt x="7144" y="16669"/>
                    </a:cubicBezTo>
                    <a:cubicBezTo>
                      <a:pt x="7144" y="21431"/>
                      <a:pt x="11906" y="26194"/>
                      <a:pt x="16669" y="26194"/>
                    </a:cubicBezTo>
                    <a:cubicBezTo>
                      <a:pt x="22384" y="26194"/>
                      <a:pt x="26194" y="21431"/>
                      <a:pt x="26194" y="16669"/>
                    </a:cubicBezTo>
                    <a:cubicBezTo>
                      <a:pt x="26194" y="11906"/>
                      <a:pt x="22384" y="7144"/>
                      <a:pt x="16669" y="7144"/>
                    </a:cubicBezTo>
                    <a:close/>
                  </a:path>
                </a:pathLst>
              </a:custGeom>
              <a:grpFill/>
              <a:ln w="9525" cap="flat">
                <a:noFill/>
                <a:prstDash val="solid"/>
                <a:miter/>
              </a:ln>
            </p:spPr>
            <p:txBody>
              <a:bodyPr rtlCol="0" anchor="ctr"/>
              <a:lstStyle/>
              <a:p>
                <a:endParaRPr lang="en-US"/>
              </a:p>
            </p:txBody>
          </p:sp>
          <p:sp>
            <p:nvSpPr>
              <p:cNvPr id="116" name="Freeform: Shape 115">
                <a:extLst>
                  <a:ext uri="{FF2B5EF4-FFF2-40B4-BE49-F238E27FC236}">
                    <a16:creationId xmlns:a16="http://schemas.microsoft.com/office/drawing/2014/main" id="{C5C21F35-CEFA-4E95-8703-7E445539EF1A}"/>
                  </a:ext>
                </a:extLst>
              </p:cNvPr>
              <p:cNvSpPr/>
              <p:nvPr/>
            </p:nvSpPr>
            <p:spPr>
              <a:xfrm>
                <a:off x="6075521" y="3037999"/>
                <a:ext cx="38100" cy="38100"/>
              </a:xfrm>
              <a:custGeom>
                <a:avLst/>
                <a:gdLst>
                  <a:gd name="connsiteX0" fmla="*/ 7144 w 38100"/>
                  <a:gd name="connsiteY0" fmla="*/ 20479 h 38100"/>
                  <a:gd name="connsiteX1" fmla="*/ 20479 w 38100"/>
                  <a:gd name="connsiteY1" fmla="*/ 33814 h 38100"/>
                  <a:gd name="connsiteX2" fmla="*/ 33814 w 38100"/>
                  <a:gd name="connsiteY2" fmla="*/ 20479 h 38100"/>
                  <a:gd name="connsiteX3" fmla="*/ 20479 w 38100"/>
                  <a:gd name="connsiteY3" fmla="*/ 7144 h 38100"/>
                  <a:gd name="connsiteX4" fmla="*/ 7144 w 38100"/>
                  <a:gd name="connsiteY4" fmla="*/ 20479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7144" y="20479"/>
                    </a:moveTo>
                    <a:cubicBezTo>
                      <a:pt x="7144" y="28099"/>
                      <a:pt x="12859" y="33814"/>
                      <a:pt x="20479" y="33814"/>
                    </a:cubicBezTo>
                    <a:cubicBezTo>
                      <a:pt x="28099" y="33814"/>
                      <a:pt x="33814" y="28099"/>
                      <a:pt x="33814" y="20479"/>
                    </a:cubicBezTo>
                    <a:cubicBezTo>
                      <a:pt x="33814" y="12859"/>
                      <a:pt x="28099" y="7144"/>
                      <a:pt x="20479" y="7144"/>
                    </a:cubicBezTo>
                    <a:cubicBezTo>
                      <a:pt x="13811" y="7144"/>
                      <a:pt x="7144" y="13811"/>
                      <a:pt x="7144" y="20479"/>
                    </a:cubicBezTo>
                    <a:close/>
                  </a:path>
                </a:pathLst>
              </a:custGeom>
              <a:grpFill/>
              <a:ln w="9525" cap="flat">
                <a:noFill/>
                <a:prstDash val="solid"/>
                <a:miter/>
              </a:ln>
            </p:spPr>
            <p:txBody>
              <a:bodyPr rtlCol="0" anchor="ctr"/>
              <a:lstStyle/>
              <a:p>
                <a:endParaRPr lang="en-US"/>
              </a:p>
            </p:txBody>
          </p:sp>
          <p:sp>
            <p:nvSpPr>
              <p:cNvPr id="117" name="Freeform: Shape 116">
                <a:extLst>
                  <a:ext uri="{FF2B5EF4-FFF2-40B4-BE49-F238E27FC236}">
                    <a16:creationId xmlns:a16="http://schemas.microsoft.com/office/drawing/2014/main" id="{A6123DE7-894E-44BC-A019-4A0E48BA1A98}"/>
                  </a:ext>
                </a:extLst>
              </p:cNvPr>
              <p:cNvSpPr/>
              <p:nvPr/>
            </p:nvSpPr>
            <p:spPr>
              <a:xfrm>
                <a:off x="5909786" y="3152299"/>
                <a:ext cx="38100" cy="38100"/>
              </a:xfrm>
              <a:custGeom>
                <a:avLst/>
                <a:gdLst>
                  <a:gd name="connsiteX0" fmla="*/ 35719 w 38100"/>
                  <a:gd name="connsiteY0" fmla="*/ 21431 h 38100"/>
                  <a:gd name="connsiteX1" fmla="*/ 21431 w 38100"/>
                  <a:gd name="connsiteY1" fmla="*/ 7144 h 38100"/>
                  <a:gd name="connsiteX2" fmla="*/ 7144 w 38100"/>
                  <a:gd name="connsiteY2" fmla="*/ 21431 h 38100"/>
                  <a:gd name="connsiteX3" fmla="*/ 21431 w 38100"/>
                  <a:gd name="connsiteY3" fmla="*/ 35719 h 38100"/>
                  <a:gd name="connsiteX4" fmla="*/ 35719 w 38100"/>
                  <a:gd name="connsiteY4" fmla="*/ 2143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5719" y="21431"/>
                    </a:moveTo>
                    <a:cubicBezTo>
                      <a:pt x="35719" y="13811"/>
                      <a:pt x="29051" y="7144"/>
                      <a:pt x="21431" y="7144"/>
                    </a:cubicBezTo>
                    <a:cubicBezTo>
                      <a:pt x="13811" y="7144"/>
                      <a:pt x="7144" y="13811"/>
                      <a:pt x="7144" y="21431"/>
                    </a:cubicBezTo>
                    <a:cubicBezTo>
                      <a:pt x="7144" y="29051"/>
                      <a:pt x="13811" y="35719"/>
                      <a:pt x="21431" y="35719"/>
                    </a:cubicBezTo>
                    <a:cubicBezTo>
                      <a:pt x="29051" y="35719"/>
                      <a:pt x="35719" y="29051"/>
                      <a:pt x="35719" y="21431"/>
                    </a:cubicBezTo>
                    <a:close/>
                  </a:path>
                </a:pathLst>
              </a:custGeom>
              <a:grpFill/>
              <a:ln w="9525" cap="flat">
                <a:noFill/>
                <a:prstDash val="solid"/>
                <a:miter/>
              </a:ln>
            </p:spPr>
            <p:txBody>
              <a:bodyPr rtlCol="0" anchor="ctr"/>
              <a:lstStyle/>
              <a:p>
                <a:endParaRPr lang="en-US"/>
              </a:p>
            </p:txBody>
          </p:sp>
          <p:sp>
            <p:nvSpPr>
              <p:cNvPr id="118" name="Freeform: Shape 117">
                <a:extLst>
                  <a:ext uri="{FF2B5EF4-FFF2-40B4-BE49-F238E27FC236}">
                    <a16:creationId xmlns:a16="http://schemas.microsoft.com/office/drawing/2014/main" id="{AAC02D98-A389-41B3-94A9-9A1EA77A1A00}"/>
                  </a:ext>
                </a:extLst>
              </p:cNvPr>
              <p:cNvSpPr/>
              <p:nvPr/>
            </p:nvSpPr>
            <p:spPr>
              <a:xfrm>
                <a:off x="5516404" y="3698081"/>
                <a:ext cx="28575" cy="28575"/>
              </a:xfrm>
              <a:custGeom>
                <a:avLst/>
                <a:gdLst>
                  <a:gd name="connsiteX0" fmla="*/ 15716 w 28575"/>
                  <a:gd name="connsiteY0" fmla="*/ 7144 h 28575"/>
                  <a:gd name="connsiteX1" fmla="*/ 7144 w 28575"/>
                  <a:gd name="connsiteY1" fmla="*/ 15716 h 28575"/>
                  <a:gd name="connsiteX2" fmla="*/ 15716 w 28575"/>
                  <a:gd name="connsiteY2" fmla="*/ 24289 h 28575"/>
                  <a:gd name="connsiteX3" fmla="*/ 24289 w 28575"/>
                  <a:gd name="connsiteY3" fmla="*/ 15716 h 28575"/>
                  <a:gd name="connsiteX4" fmla="*/ 15716 w 28575"/>
                  <a:gd name="connsiteY4" fmla="*/ 7144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5716" y="7144"/>
                    </a:moveTo>
                    <a:cubicBezTo>
                      <a:pt x="10954" y="7144"/>
                      <a:pt x="7144" y="10954"/>
                      <a:pt x="7144" y="15716"/>
                    </a:cubicBezTo>
                    <a:cubicBezTo>
                      <a:pt x="7144" y="20479"/>
                      <a:pt x="10954" y="24289"/>
                      <a:pt x="15716" y="24289"/>
                    </a:cubicBezTo>
                    <a:cubicBezTo>
                      <a:pt x="20479" y="24289"/>
                      <a:pt x="24289" y="20479"/>
                      <a:pt x="24289" y="15716"/>
                    </a:cubicBezTo>
                    <a:cubicBezTo>
                      <a:pt x="24289" y="10001"/>
                      <a:pt x="20479" y="7144"/>
                      <a:pt x="15716" y="7144"/>
                    </a:cubicBezTo>
                    <a:close/>
                  </a:path>
                </a:pathLst>
              </a:custGeom>
              <a:grpFill/>
              <a:ln w="9525" cap="flat">
                <a:noFill/>
                <a:prstDash val="solid"/>
                <a:miter/>
              </a:ln>
            </p:spPr>
            <p:txBody>
              <a:bodyPr rtlCol="0" anchor="ctr"/>
              <a:lstStyle/>
              <a:p>
                <a:endParaRPr lang="en-US"/>
              </a:p>
            </p:txBody>
          </p:sp>
          <p:sp>
            <p:nvSpPr>
              <p:cNvPr id="119" name="Freeform: Shape 118">
                <a:extLst>
                  <a:ext uri="{FF2B5EF4-FFF2-40B4-BE49-F238E27FC236}">
                    <a16:creationId xmlns:a16="http://schemas.microsoft.com/office/drawing/2014/main" id="{727CDA0F-709A-492B-BBCB-FBFACCF3F549}"/>
                  </a:ext>
                </a:extLst>
              </p:cNvPr>
              <p:cNvSpPr/>
              <p:nvPr/>
            </p:nvSpPr>
            <p:spPr>
              <a:xfrm>
                <a:off x="5679281" y="3343751"/>
                <a:ext cx="28575" cy="28575"/>
              </a:xfrm>
              <a:custGeom>
                <a:avLst/>
                <a:gdLst>
                  <a:gd name="connsiteX0" fmla="*/ 30004 w 28575"/>
                  <a:gd name="connsiteY0" fmla="*/ 18574 h 28575"/>
                  <a:gd name="connsiteX1" fmla="*/ 18574 w 28575"/>
                  <a:gd name="connsiteY1" fmla="*/ 7144 h 28575"/>
                  <a:gd name="connsiteX2" fmla="*/ 7144 w 28575"/>
                  <a:gd name="connsiteY2" fmla="*/ 18574 h 28575"/>
                  <a:gd name="connsiteX3" fmla="*/ 18574 w 28575"/>
                  <a:gd name="connsiteY3" fmla="*/ 30004 h 28575"/>
                  <a:gd name="connsiteX4" fmla="*/ 30004 w 28575"/>
                  <a:gd name="connsiteY4" fmla="*/ 18574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30004" y="18574"/>
                    </a:moveTo>
                    <a:cubicBezTo>
                      <a:pt x="30004" y="12859"/>
                      <a:pt x="25241" y="7144"/>
                      <a:pt x="18574" y="7144"/>
                    </a:cubicBezTo>
                    <a:cubicBezTo>
                      <a:pt x="12859" y="7144"/>
                      <a:pt x="7144" y="11906"/>
                      <a:pt x="7144" y="18574"/>
                    </a:cubicBezTo>
                    <a:cubicBezTo>
                      <a:pt x="7144" y="24289"/>
                      <a:pt x="11906" y="30004"/>
                      <a:pt x="18574" y="30004"/>
                    </a:cubicBezTo>
                    <a:cubicBezTo>
                      <a:pt x="25241" y="30004"/>
                      <a:pt x="30004" y="25241"/>
                      <a:pt x="30004" y="18574"/>
                    </a:cubicBezTo>
                    <a:close/>
                  </a:path>
                </a:pathLst>
              </a:custGeom>
              <a:grpFill/>
              <a:ln w="9525" cap="flat">
                <a:noFill/>
                <a:prstDash val="solid"/>
                <a:miter/>
              </a:ln>
            </p:spPr>
            <p:txBody>
              <a:bodyPr rtlCol="0" anchor="ctr"/>
              <a:lstStyle/>
              <a:p>
                <a:endParaRPr lang="en-US"/>
              </a:p>
            </p:txBody>
          </p:sp>
          <p:sp>
            <p:nvSpPr>
              <p:cNvPr id="120" name="Freeform: Shape 119">
                <a:extLst>
                  <a:ext uri="{FF2B5EF4-FFF2-40B4-BE49-F238E27FC236}">
                    <a16:creationId xmlns:a16="http://schemas.microsoft.com/office/drawing/2014/main" id="{F3627F75-98E4-465F-A96E-B2FB320B52A8}"/>
                  </a:ext>
                </a:extLst>
              </p:cNvPr>
              <p:cNvSpPr/>
              <p:nvPr/>
            </p:nvSpPr>
            <p:spPr>
              <a:xfrm>
                <a:off x="5951696" y="3265646"/>
                <a:ext cx="28575" cy="28575"/>
              </a:xfrm>
              <a:custGeom>
                <a:avLst/>
                <a:gdLst>
                  <a:gd name="connsiteX0" fmla="*/ 30004 w 28575"/>
                  <a:gd name="connsiteY0" fmla="*/ 18574 h 28575"/>
                  <a:gd name="connsiteX1" fmla="*/ 18574 w 28575"/>
                  <a:gd name="connsiteY1" fmla="*/ 7144 h 28575"/>
                  <a:gd name="connsiteX2" fmla="*/ 7144 w 28575"/>
                  <a:gd name="connsiteY2" fmla="*/ 18574 h 28575"/>
                  <a:gd name="connsiteX3" fmla="*/ 18574 w 28575"/>
                  <a:gd name="connsiteY3" fmla="*/ 30004 h 28575"/>
                  <a:gd name="connsiteX4" fmla="*/ 30004 w 28575"/>
                  <a:gd name="connsiteY4" fmla="*/ 18574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30004" y="18574"/>
                    </a:moveTo>
                    <a:cubicBezTo>
                      <a:pt x="30004" y="12859"/>
                      <a:pt x="25241" y="7144"/>
                      <a:pt x="18574" y="7144"/>
                    </a:cubicBezTo>
                    <a:cubicBezTo>
                      <a:pt x="12859" y="7144"/>
                      <a:pt x="7144" y="11906"/>
                      <a:pt x="7144" y="18574"/>
                    </a:cubicBezTo>
                    <a:cubicBezTo>
                      <a:pt x="7144" y="24289"/>
                      <a:pt x="11906" y="30004"/>
                      <a:pt x="18574" y="30004"/>
                    </a:cubicBezTo>
                    <a:cubicBezTo>
                      <a:pt x="25241" y="30004"/>
                      <a:pt x="30004" y="25241"/>
                      <a:pt x="30004" y="18574"/>
                    </a:cubicBezTo>
                    <a:close/>
                  </a:path>
                </a:pathLst>
              </a:custGeom>
              <a:grpFill/>
              <a:ln w="9525" cap="flat">
                <a:noFill/>
                <a:prstDash val="solid"/>
                <a:miter/>
              </a:ln>
            </p:spPr>
            <p:txBody>
              <a:bodyPr rtlCol="0" anchor="ctr"/>
              <a:lstStyle/>
              <a:p>
                <a:endParaRPr lang="en-US"/>
              </a:p>
            </p:txBody>
          </p:sp>
          <p:sp>
            <p:nvSpPr>
              <p:cNvPr id="121" name="Freeform: Shape 120">
                <a:extLst>
                  <a:ext uri="{FF2B5EF4-FFF2-40B4-BE49-F238E27FC236}">
                    <a16:creationId xmlns:a16="http://schemas.microsoft.com/office/drawing/2014/main" id="{8C005081-D1EC-4280-AFE2-3B673E4245B1}"/>
                  </a:ext>
                </a:extLst>
              </p:cNvPr>
              <p:cNvSpPr/>
              <p:nvPr/>
            </p:nvSpPr>
            <p:spPr>
              <a:xfrm>
                <a:off x="5435441" y="3113246"/>
                <a:ext cx="28575" cy="28575"/>
              </a:xfrm>
              <a:custGeom>
                <a:avLst/>
                <a:gdLst>
                  <a:gd name="connsiteX0" fmla="*/ 18574 w 28575"/>
                  <a:gd name="connsiteY0" fmla="*/ 30004 h 28575"/>
                  <a:gd name="connsiteX1" fmla="*/ 30004 w 28575"/>
                  <a:gd name="connsiteY1" fmla="*/ 18574 h 28575"/>
                  <a:gd name="connsiteX2" fmla="*/ 18574 w 28575"/>
                  <a:gd name="connsiteY2" fmla="*/ 7144 h 28575"/>
                  <a:gd name="connsiteX3" fmla="*/ 7144 w 28575"/>
                  <a:gd name="connsiteY3" fmla="*/ 18574 h 28575"/>
                  <a:gd name="connsiteX4" fmla="*/ 18574 w 28575"/>
                  <a:gd name="connsiteY4" fmla="*/ 30004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8574" y="30004"/>
                    </a:moveTo>
                    <a:cubicBezTo>
                      <a:pt x="24289" y="30004"/>
                      <a:pt x="30004" y="25241"/>
                      <a:pt x="30004" y="18574"/>
                    </a:cubicBezTo>
                    <a:cubicBezTo>
                      <a:pt x="30004" y="12859"/>
                      <a:pt x="25241" y="7144"/>
                      <a:pt x="18574" y="7144"/>
                    </a:cubicBezTo>
                    <a:cubicBezTo>
                      <a:pt x="12859" y="7144"/>
                      <a:pt x="7144" y="11906"/>
                      <a:pt x="7144" y="18574"/>
                    </a:cubicBezTo>
                    <a:cubicBezTo>
                      <a:pt x="8096" y="25241"/>
                      <a:pt x="12859" y="30004"/>
                      <a:pt x="18574" y="30004"/>
                    </a:cubicBezTo>
                    <a:close/>
                  </a:path>
                </a:pathLst>
              </a:custGeom>
              <a:grpFill/>
              <a:ln w="9525" cap="flat">
                <a:noFill/>
                <a:prstDash val="solid"/>
                <a:miter/>
              </a:ln>
            </p:spPr>
            <p:txBody>
              <a:bodyPr rtlCol="0" anchor="ctr"/>
              <a:lstStyle/>
              <a:p>
                <a:endParaRPr lang="en-US"/>
              </a:p>
            </p:txBody>
          </p:sp>
          <p:sp>
            <p:nvSpPr>
              <p:cNvPr id="122" name="Freeform: Shape 121">
                <a:extLst>
                  <a:ext uri="{FF2B5EF4-FFF2-40B4-BE49-F238E27FC236}">
                    <a16:creationId xmlns:a16="http://schemas.microsoft.com/office/drawing/2014/main" id="{36804D91-5A0B-4CB7-9792-1B892F9B65E6}"/>
                  </a:ext>
                </a:extLst>
              </p:cNvPr>
              <p:cNvSpPr/>
              <p:nvPr/>
            </p:nvSpPr>
            <p:spPr>
              <a:xfrm>
                <a:off x="6027896" y="3622834"/>
                <a:ext cx="28575" cy="28575"/>
              </a:xfrm>
              <a:custGeom>
                <a:avLst/>
                <a:gdLst>
                  <a:gd name="connsiteX0" fmla="*/ 16669 w 28575"/>
                  <a:gd name="connsiteY0" fmla="*/ 7144 h 28575"/>
                  <a:gd name="connsiteX1" fmla="*/ 7144 w 28575"/>
                  <a:gd name="connsiteY1" fmla="*/ 16669 h 28575"/>
                  <a:gd name="connsiteX2" fmla="*/ 16669 w 28575"/>
                  <a:gd name="connsiteY2" fmla="*/ 26194 h 28575"/>
                  <a:gd name="connsiteX3" fmla="*/ 26194 w 28575"/>
                  <a:gd name="connsiteY3" fmla="*/ 16669 h 28575"/>
                  <a:gd name="connsiteX4" fmla="*/ 16669 w 28575"/>
                  <a:gd name="connsiteY4" fmla="*/ 7144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6669" y="7144"/>
                    </a:moveTo>
                    <a:cubicBezTo>
                      <a:pt x="11906" y="7144"/>
                      <a:pt x="7144" y="10954"/>
                      <a:pt x="7144" y="16669"/>
                    </a:cubicBezTo>
                    <a:cubicBezTo>
                      <a:pt x="7144" y="22384"/>
                      <a:pt x="10954" y="26194"/>
                      <a:pt x="16669" y="26194"/>
                    </a:cubicBezTo>
                    <a:cubicBezTo>
                      <a:pt x="22384" y="26194"/>
                      <a:pt x="26194" y="22384"/>
                      <a:pt x="26194" y="16669"/>
                    </a:cubicBezTo>
                    <a:cubicBezTo>
                      <a:pt x="26194" y="10954"/>
                      <a:pt x="21431" y="7144"/>
                      <a:pt x="16669" y="7144"/>
                    </a:cubicBezTo>
                    <a:close/>
                  </a:path>
                </a:pathLst>
              </a:custGeom>
              <a:grpFill/>
              <a:ln w="9525" cap="flat">
                <a:noFill/>
                <a:prstDash val="solid"/>
                <a:miter/>
              </a:ln>
            </p:spPr>
            <p:txBody>
              <a:bodyPr rtlCol="0" anchor="ctr"/>
              <a:lstStyle/>
              <a:p>
                <a:endParaRPr lang="en-US"/>
              </a:p>
            </p:txBody>
          </p:sp>
          <p:sp>
            <p:nvSpPr>
              <p:cNvPr id="123" name="Freeform: Shape 122">
                <a:extLst>
                  <a:ext uri="{FF2B5EF4-FFF2-40B4-BE49-F238E27FC236}">
                    <a16:creationId xmlns:a16="http://schemas.microsoft.com/office/drawing/2014/main" id="{4D873E1D-C603-4CC0-A1C2-243299E92E7A}"/>
                  </a:ext>
                </a:extLst>
              </p:cNvPr>
              <p:cNvSpPr/>
              <p:nvPr/>
            </p:nvSpPr>
            <p:spPr>
              <a:xfrm>
                <a:off x="5681186" y="2920841"/>
                <a:ext cx="66675" cy="66675"/>
              </a:xfrm>
              <a:custGeom>
                <a:avLst/>
                <a:gdLst>
                  <a:gd name="connsiteX0" fmla="*/ 35719 w 66675"/>
                  <a:gd name="connsiteY0" fmla="*/ 64294 h 66675"/>
                  <a:gd name="connsiteX1" fmla="*/ 64294 w 66675"/>
                  <a:gd name="connsiteY1" fmla="*/ 35719 h 66675"/>
                  <a:gd name="connsiteX2" fmla="*/ 35719 w 66675"/>
                  <a:gd name="connsiteY2" fmla="*/ 7144 h 66675"/>
                  <a:gd name="connsiteX3" fmla="*/ 7144 w 66675"/>
                  <a:gd name="connsiteY3" fmla="*/ 35719 h 66675"/>
                  <a:gd name="connsiteX4" fmla="*/ 35719 w 66675"/>
                  <a:gd name="connsiteY4" fmla="*/ 64294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6675">
                    <a:moveTo>
                      <a:pt x="35719" y="64294"/>
                    </a:moveTo>
                    <a:cubicBezTo>
                      <a:pt x="50959" y="64294"/>
                      <a:pt x="64294" y="51911"/>
                      <a:pt x="64294" y="35719"/>
                    </a:cubicBezTo>
                    <a:cubicBezTo>
                      <a:pt x="64294" y="19526"/>
                      <a:pt x="51911" y="7144"/>
                      <a:pt x="35719" y="7144"/>
                    </a:cubicBezTo>
                    <a:cubicBezTo>
                      <a:pt x="20479" y="7144"/>
                      <a:pt x="7144" y="19526"/>
                      <a:pt x="7144" y="35719"/>
                    </a:cubicBezTo>
                    <a:cubicBezTo>
                      <a:pt x="7144" y="51911"/>
                      <a:pt x="19526" y="64294"/>
                      <a:pt x="35719" y="64294"/>
                    </a:cubicBezTo>
                    <a:close/>
                  </a:path>
                </a:pathLst>
              </a:custGeom>
              <a:grpFill/>
              <a:ln w="9525" cap="flat">
                <a:noFill/>
                <a:prstDash val="solid"/>
                <a:miter/>
              </a:ln>
            </p:spPr>
            <p:txBody>
              <a:bodyPr rtlCol="0" anchor="ctr"/>
              <a:lstStyle/>
              <a:p>
                <a:endParaRPr lang="en-US"/>
              </a:p>
            </p:txBody>
          </p:sp>
          <p:sp>
            <p:nvSpPr>
              <p:cNvPr id="124" name="Freeform: Shape 123">
                <a:extLst>
                  <a:ext uri="{FF2B5EF4-FFF2-40B4-BE49-F238E27FC236}">
                    <a16:creationId xmlns:a16="http://schemas.microsoft.com/office/drawing/2014/main" id="{F6447D3D-5002-461D-8A84-96A8899CCDE8}"/>
                  </a:ext>
                </a:extLst>
              </p:cNvPr>
              <p:cNvSpPr/>
              <p:nvPr/>
            </p:nvSpPr>
            <p:spPr>
              <a:xfrm>
                <a:off x="6041231" y="4157186"/>
                <a:ext cx="19050" cy="19050"/>
              </a:xfrm>
              <a:custGeom>
                <a:avLst/>
                <a:gdLst>
                  <a:gd name="connsiteX0" fmla="*/ 18574 w 19050"/>
                  <a:gd name="connsiteY0" fmla="*/ 12859 h 19050"/>
                  <a:gd name="connsiteX1" fmla="*/ 12859 w 19050"/>
                  <a:gd name="connsiteY1" fmla="*/ 7144 h 19050"/>
                  <a:gd name="connsiteX2" fmla="*/ 7144 w 19050"/>
                  <a:gd name="connsiteY2" fmla="*/ 12859 h 19050"/>
                  <a:gd name="connsiteX3" fmla="*/ 12859 w 19050"/>
                  <a:gd name="connsiteY3" fmla="*/ 18574 h 19050"/>
                  <a:gd name="connsiteX4" fmla="*/ 18574 w 19050"/>
                  <a:gd name="connsiteY4" fmla="*/ 12859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8574" y="12859"/>
                    </a:moveTo>
                    <a:cubicBezTo>
                      <a:pt x="18574" y="10001"/>
                      <a:pt x="15716" y="7144"/>
                      <a:pt x="12859" y="7144"/>
                    </a:cubicBezTo>
                    <a:cubicBezTo>
                      <a:pt x="10001" y="7144"/>
                      <a:pt x="7144" y="10001"/>
                      <a:pt x="7144" y="12859"/>
                    </a:cubicBezTo>
                    <a:cubicBezTo>
                      <a:pt x="7144" y="15716"/>
                      <a:pt x="10001" y="18574"/>
                      <a:pt x="12859" y="18574"/>
                    </a:cubicBezTo>
                    <a:cubicBezTo>
                      <a:pt x="16669" y="18574"/>
                      <a:pt x="18574" y="15716"/>
                      <a:pt x="18574" y="12859"/>
                    </a:cubicBezTo>
                    <a:close/>
                  </a:path>
                </a:pathLst>
              </a:custGeom>
              <a:grpFill/>
              <a:ln w="9525" cap="flat">
                <a:noFill/>
                <a:prstDash val="solid"/>
                <a:miter/>
              </a:ln>
            </p:spPr>
            <p:txBody>
              <a:bodyPr rtlCol="0" anchor="ctr"/>
              <a:lstStyle/>
              <a:p>
                <a:endParaRPr lang="en-US"/>
              </a:p>
            </p:txBody>
          </p:sp>
          <p:sp>
            <p:nvSpPr>
              <p:cNvPr id="125" name="Freeform: Shape 124">
                <a:extLst>
                  <a:ext uri="{FF2B5EF4-FFF2-40B4-BE49-F238E27FC236}">
                    <a16:creationId xmlns:a16="http://schemas.microsoft.com/office/drawing/2014/main" id="{602EC40E-F8ED-4C3C-9234-BA5A2989617A}"/>
                  </a:ext>
                </a:extLst>
              </p:cNvPr>
              <p:cNvSpPr/>
              <p:nvPr/>
            </p:nvSpPr>
            <p:spPr>
              <a:xfrm>
                <a:off x="6189821" y="2763679"/>
                <a:ext cx="38100" cy="38100"/>
              </a:xfrm>
              <a:custGeom>
                <a:avLst/>
                <a:gdLst>
                  <a:gd name="connsiteX0" fmla="*/ 31909 w 38100"/>
                  <a:gd name="connsiteY0" fmla="*/ 19526 h 38100"/>
                  <a:gd name="connsiteX1" fmla="*/ 19526 w 38100"/>
                  <a:gd name="connsiteY1" fmla="*/ 7144 h 38100"/>
                  <a:gd name="connsiteX2" fmla="*/ 7144 w 38100"/>
                  <a:gd name="connsiteY2" fmla="*/ 19526 h 38100"/>
                  <a:gd name="connsiteX3" fmla="*/ 19526 w 38100"/>
                  <a:gd name="connsiteY3" fmla="*/ 31909 h 38100"/>
                  <a:gd name="connsiteX4" fmla="*/ 31909 w 38100"/>
                  <a:gd name="connsiteY4" fmla="*/ 1952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1909" y="19526"/>
                    </a:moveTo>
                    <a:cubicBezTo>
                      <a:pt x="31909" y="12859"/>
                      <a:pt x="26194" y="7144"/>
                      <a:pt x="19526" y="7144"/>
                    </a:cubicBezTo>
                    <a:cubicBezTo>
                      <a:pt x="12859" y="7144"/>
                      <a:pt x="7144" y="12859"/>
                      <a:pt x="7144" y="19526"/>
                    </a:cubicBezTo>
                    <a:cubicBezTo>
                      <a:pt x="7144" y="26194"/>
                      <a:pt x="12859" y="31909"/>
                      <a:pt x="19526" y="31909"/>
                    </a:cubicBezTo>
                    <a:cubicBezTo>
                      <a:pt x="26194" y="31909"/>
                      <a:pt x="31909" y="26194"/>
                      <a:pt x="31909" y="19526"/>
                    </a:cubicBezTo>
                    <a:close/>
                  </a:path>
                </a:pathLst>
              </a:custGeom>
              <a:grpFill/>
              <a:ln w="9525" cap="flat">
                <a:noFill/>
                <a:prstDash val="solid"/>
                <a:miter/>
              </a:ln>
            </p:spPr>
            <p:txBody>
              <a:bodyPr rtlCol="0" anchor="ctr"/>
              <a:lstStyle/>
              <a:p>
                <a:endParaRPr lang="en-US"/>
              </a:p>
            </p:txBody>
          </p:sp>
          <p:sp>
            <p:nvSpPr>
              <p:cNvPr id="126" name="Freeform: Shape 125">
                <a:extLst>
                  <a:ext uri="{FF2B5EF4-FFF2-40B4-BE49-F238E27FC236}">
                    <a16:creationId xmlns:a16="http://schemas.microsoft.com/office/drawing/2014/main" id="{D07DCA0C-E754-4444-9CC7-952E80F01784}"/>
                  </a:ext>
                </a:extLst>
              </p:cNvPr>
              <p:cNvSpPr/>
              <p:nvPr/>
            </p:nvSpPr>
            <p:spPr>
              <a:xfrm>
                <a:off x="5636419" y="3418046"/>
                <a:ext cx="28575" cy="28575"/>
              </a:xfrm>
              <a:custGeom>
                <a:avLst/>
                <a:gdLst>
                  <a:gd name="connsiteX0" fmla="*/ 18574 w 28575"/>
                  <a:gd name="connsiteY0" fmla="*/ 7144 h 28575"/>
                  <a:gd name="connsiteX1" fmla="*/ 7144 w 28575"/>
                  <a:gd name="connsiteY1" fmla="*/ 18574 h 28575"/>
                  <a:gd name="connsiteX2" fmla="*/ 18574 w 28575"/>
                  <a:gd name="connsiteY2" fmla="*/ 30004 h 28575"/>
                  <a:gd name="connsiteX3" fmla="*/ 30004 w 28575"/>
                  <a:gd name="connsiteY3" fmla="*/ 18574 h 28575"/>
                  <a:gd name="connsiteX4" fmla="*/ 18574 w 28575"/>
                  <a:gd name="connsiteY4" fmla="*/ 7144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8574" y="7144"/>
                    </a:moveTo>
                    <a:cubicBezTo>
                      <a:pt x="11906" y="7144"/>
                      <a:pt x="7144" y="11906"/>
                      <a:pt x="7144" y="18574"/>
                    </a:cubicBezTo>
                    <a:cubicBezTo>
                      <a:pt x="7144" y="25241"/>
                      <a:pt x="11906" y="30004"/>
                      <a:pt x="18574" y="30004"/>
                    </a:cubicBezTo>
                    <a:cubicBezTo>
                      <a:pt x="25241" y="30004"/>
                      <a:pt x="30004" y="25241"/>
                      <a:pt x="30004" y="18574"/>
                    </a:cubicBezTo>
                    <a:cubicBezTo>
                      <a:pt x="30004" y="11906"/>
                      <a:pt x="25241" y="7144"/>
                      <a:pt x="18574" y="7144"/>
                    </a:cubicBezTo>
                    <a:close/>
                  </a:path>
                </a:pathLst>
              </a:custGeom>
              <a:grpFill/>
              <a:ln w="9525" cap="flat">
                <a:noFill/>
                <a:prstDash val="solid"/>
                <a:miter/>
              </a:ln>
            </p:spPr>
            <p:txBody>
              <a:bodyPr rtlCol="0" anchor="ctr"/>
              <a:lstStyle/>
              <a:p>
                <a:endParaRPr lang="en-US"/>
              </a:p>
            </p:txBody>
          </p:sp>
          <p:sp>
            <p:nvSpPr>
              <p:cNvPr id="127" name="Freeform: Shape 126">
                <a:extLst>
                  <a:ext uri="{FF2B5EF4-FFF2-40B4-BE49-F238E27FC236}">
                    <a16:creationId xmlns:a16="http://schemas.microsoft.com/office/drawing/2014/main" id="{CFDFB5BA-246B-4861-8FD6-F790247D9CB5}"/>
                  </a:ext>
                </a:extLst>
              </p:cNvPr>
              <p:cNvSpPr/>
              <p:nvPr/>
            </p:nvSpPr>
            <p:spPr>
              <a:xfrm>
                <a:off x="5991701" y="4151471"/>
                <a:ext cx="28575" cy="28575"/>
              </a:xfrm>
              <a:custGeom>
                <a:avLst/>
                <a:gdLst>
                  <a:gd name="connsiteX0" fmla="*/ 7144 w 28575"/>
                  <a:gd name="connsiteY0" fmla="*/ 14764 h 28575"/>
                  <a:gd name="connsiteX1" fmla="*/ 14764 w 28575"/>
                  <a:gd name="connsiteY1" fmla="*/ 22384 h 28575"/>
                  <a:gd name="connsiteX2" fmla="*/ 22384 w 28575"/>
                  <a:gd name="connsiteY2" fmla="*/ 14764 h 28575"/>
                  <a:gd name="connsiteX3" fmla="*/ 14764 w 28575"/>
                  <a:gd name="connsiteY3" fmla="*/ 7144 h 28575"/>
                  <a:gd name="connsiteX4" fmla="*/ 7144 w 28575"/>
                  <a:gd name="connsiteY4" fmla="*/ 14764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7144" y="14764"/>
                    </a:moveTo>
                    <a:cubicBezTo>
                      <a:pt x="7144" y="18574"/>
                      <a:pt x="10001" y="22384"/>
                      <a:pt x="14764" y="22384"/>
                    </a:cubicBezTo>
                    <a:cubicBezTo>
                      <a:pt x="19526" y="22384"/>
                      <a:pt x="22384" y="19526"/>
                      <a:pt x="22384" y="14764"/>
                    </a:cubicBezTo>
                    <a:cubicBezTo>
                      <a:pt x="22384" y="10001"/>
                      <a:pt x="19526" y="7144"/>
                      <a:pt x="14764" y="7144"/>
                    </a:cubicBezTo>
                    <a:cubicBezTo>
                      <a:pt x="10001" y="7144"/>
                      <a:pt x="7144" y="10954"/>
                      <a:pt x="7144" y="14764"/>
                    </a:cubicBezTo>
                    <a:close/>
                  </a:path>
                </a:pathLst>
              </a:custGeom>
              <a:grpFill/>
              <a:ln w="9525" cap="flat">
                <a:noFill/>
                <a:prstDash val="solid"/>
                <a:miter/>
              </a:ln>
            </p:spPr>
            <p:txBody>
              <a:bodyPr rtlCol="0" anchor="ctr"/>
              <a:lstStyle/>
              <a:p>
                <a:endParaRPr lang="en-US"/>
              </a:p>
            </p:txBody>
          </p:sp>
          <p:sp>
            <p:nvSpPr>
              <p:cNvPr id="128" name="Freeform: Shape 127">
                <a:extLst>
                  <a:ext uri="{FF2B5EF4-FFF2-40B4-BE49-F238E27FC236}">
                    <a16:creationId xmlns:a16="http://schemas.microsoft.com/office/drawing/2014/main" id="{D567EAA1-16A6-446E-9EF3-E1270C2E53D7}"/>
                  </a:ext>
                </a:extLst>
              </p:cNvPr>
              <p:cNvSpPr/>
              <p:nvPr/>
            </p:nvSpPr>
            <p:spPr>
              <a:xfrm>
                <a:off x="5809774" y="4265771"/>
                <a:ext cx="19050" cy="19050"/>
              </a:xfrm>
              <a:custGeom>
                <a:avLst/>
                <a:gdLst>
                  <a:gd name="connsiteX0" fmla="*/ 7144 w 19050"/>
                  <a:gd name="connsiteY0" fmla="*/ 13811 h 19050"/>
                  <a:gd name="connsiteX1" fmla="*/ 13811 w 19050"/>
                  <a:gd name="connsiteY1" fmla="*/ 20479 h 19050"/>
                  <a:gd name="connsiteX2" fmla="*/ 20479 w 19050"/>
                  <a:gd name="connsiteY2" fmla="*/ 13811 h 19050"/>
                  <a:gd name="connsiteX3" fmla="*/ 13811 w 19050"/>
                  <a:gd name="connsiteY3" fmla="*/ 7144 h 19050"/>
                  <a:gd name="connsiteX4" fmla="*/ 7144 w 19050"/>
                  <a:gd name="connsiteY4" fmla="*/ 13811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7144" y="13811"/>
                    </a:moveTo>
                    <a:cubicBezTo>
                      <a:pt x="7144" y="17621"/>
                      <a:pt x="10001" y="20479"/>
                      <a:pt x="13811" y="20479"/>
                    </a:cubicBezTo>
                    <a:cubicBezTo>
                      <a:pt x="17621" y="20479"/>
                      <a:pt x="20479" y="17621"/>
                      <a:pt x="20479" y="13811"/>
                    </a:cubicBezTo>
                    <a:cubicBezTo>
                      <a:pt x="20479" y="10001"/>
                      <a:pt x="17621" y="7144"/>
                      <a:pt x="13811" y="7144"/>
                    </a:cubicBezTo>
                    <a:cubicBezTo>
                      <a:pt x="10001" y="7144"/>
                      <a:pt x="7144" y="10001"/>
                      <a:pt x="7144" y="13811"/>
                    </a:cubicBezTo>
                    <a:close/>
                  </a:path>
                </a:pathLst>
              </a:custGeom>
              <a:grpFill/>
              <a:ln w="9525" cap="flat">
                <a:noFill/>
                <a:prstDash val="solid"/>
                <a:miter/>
              </a:ln>
            </p:spPr>
            <p:txBody>
              <a:bodyPr rtlCol="0" anchor="ctr"/>
              <a:lstStyle/>
              <a:p>
                <a:endParaRPr lang="en-US"/>
              </a:p>
            </p:txBody>
          </p:sp>
          <p:sp>
            <p:nvSpPr>
              <p:cNvPr id="129" name="Freeform: Shape 128">
                <a:extLst>
                  <a:ext uri="{FF2B5EF4-FFF2-40B4-BE49-F238E27FC236}">
                    <a16:creationId xmlns:a16="http://schemas.microsoft.com/office/drawing/2014/main" id="{0B2374CA-A86D-4043-9B23-8455AF8FD116}"/>
                  </a:ext>
                </a:extLst>
              </p:cNvPr>
              <p:cNvSpPr/>
              <p:nvPr/>
            </p:nvSpPr>
            <p:spPr>
              <a:xfrm>
                <a:off x="5965984" y="3198971"/>
                <a:ext cx="19050" cy="19050"/>
              </a:xfrm>
              <a:custGeom>
                <a:avLst/>
                <a:gdLst>
                  <a:gd name="connsiteX0" fmla="*/ 20479 w 19050"/>
                  <a:gd name="connsiteY0" fmla="*/ 13811 h 19050"/>
                  <a:gd name="connsiteX1" fmla="*/ 13811 w 19050"/>
                  <a:gd name="connsiteY1" fmla="*/ 7144 h 19050"/>
                  <a:gd name="connsiteX2" fmla="*/ 7144 w 19050"/>
                  <a:gd name="connsiteY2" fmla="*/ 13811 h 19050"/>
                  <a:gd name="connsiteX3" fmla="*/ 13811 w 19050"/>
                  <a:gd name="connsiteY3" fmla="*/ 20479 h 19050"/>
                  <a:gd name="connsiteX4" fmla="*/ 20479 w 19050"/>
                  <a:gd name="connsiteY4" fmla="*/ 13811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20479" y="13811"/>
                    </a:moveTo>
                    <a:cubicBezTo>
                      <a:pt x="20479" y="10001"/>
                      <a:pt x="17621" y="7144"/>
                      <a:pt x="13811" y="7144"/>
                    </a:cubicBezTo>
                    <a:cubicBezTo>
                      <a:pt x="10001" y="7144"/>
                      <a:pt x="7144" y="10001"/>
                      <a:pt x="7144" y="13811"/>
                    </a:cubicBezTo>
                    <a:cubicBezTo>
                      <a:pt x="7144" y="17621"/>
                      <a:pt x="10001" y="20479"/>
                      <a:pt x="13811" y="20479"/>
                    </a:cubicBezTo>
                    <a:cubicBezTo>
                      <a:pt x="17621" y="19526"/>
                      <a:pt x="20479" y="16669"/>
                      <a:pt x="20479" y="13811"/>
                    </a:cubicBezTo>
                    <a:close/>
                  </a:path>
                </a:pathLst>
              </a:custGeom>
              <a:grpFill/>
              <a:ln w="9525" cap="flat">
                <a:noFill/>
                <a:prstDash val="solid"/>
                <a:miter/>
              </a:ln>
            </p:spPr>
            <p:txBody>
              <a:bodyPr rtlCol="0" anchor="ctr"/>
              <a:lstStyle/>
              <a:p>
                <a:endParaRPr lang="en-US"/>
              </a:p>
            </p:txBody>
          </p:sp>
          <p:sp>
            <p:nvSpPr>
              <p:cNvPr id="130" name="Freeform: Shape 129">
                <a:extLst>
                  <a:ext uri="{FF2B5EF4-FFF2-40B4-BE49-F238E27FC236}">
                    <a16:creationId xmlns:a16="http://schemas.microsoft.com/office/drawing/2014/main" id="{BBF6987C-EFB0-4EEF-BF5C-0B1A2F4A8FD3}"/>
                  </a:ext>
                </a:extLst>
              </p:cNvPr>
              <p:cNvSpPr/>
              <p:nvPr/>
            </p:nvSpPr>
            <p:spPr>
              <a:xfrm>
                <a:off x="5540216" y="3513296"/>
                <a:ext cx="38100" cy="38100"/>
              </a:xfrm>
              <a:custGeom>
                <a:avLst/>
                <a:gdLst>
                  <a:gd name="connsiteX0" fmla="*/ 35719 w 38100"/>
                  <a:gd name="connsiteY0" fmla="*/ 21431 h 38100"/>
                  <a:gd name="connsiteX1" fmla="*/ 21431 w 38100"/>
                  <a:gd name="connsiteY1" fmla="*/ 7144 h 38100"/>
                  <a:gd name="connsiteX2" fmla="*/ 7144 w 38100"/>
                  <a:gd name="connsiteY2" fmla="*/ 21431 h 38100"/>
                  <a:gd name="connsiteX3" fmla="*/ 21431 w 38100"/>
                  <a:gd name="connsiteY3" fmla="*/ 35719 h 38100"/>
                  <a:gd name="connsiteX4" fmla="*/ 35719 w 38100"/>
                  <a:gd name="connsiteY4" fmla="*/ 2143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5719" y="21431"/>
                    </a:moveTo>
                    <a:cubicBezTo>
                      <a:pt x="35719" y="13811"/>
                      <a:pt x="29051" y="7144"/>
                      <a:pt x="21431" y="7144"/>
                    </a:cubicBezTo>
                    <a:cubicBezTo>
                      <a:pt x="13811" y="7144"/>
                      <a:pt x="7144" y="13811"/>
                      <a:pt x="7144" y="21431"/>
                    </a:cubicBezTo>
                    <a:cubicBezTo>
                      <a:pt x="7144" y="29051"/>
                      <a:pt x="13811" y="35719"/>
                      <a:pt x="21431" y="35719"/>
                    </a:cubicBezTo>
                    <a:cubicBezTo>
                      <a:pt x="29051" y="35719"/>
                      <a:pt x="35719" y="29051"/>
                      <a:pt x="35719" y="21431"/>
                    </a:cubicBezTo>
                    <a:close/>
                  </a:path>
                </a:pathLst>
              </a:custGeom>
              <a:grpFill/>
              <a:ln w="9525" cap="flat">
                <a:noFill/>
                <a:prstDash val="solid"/>
                <a:miter/>
              </a:ln>
            </p:spPr>
            <p:txBody>
              <a:bodyPr rtlCol="0" anchor="ctr"/>
              <a:lstStyle/>
              <a:p>
                <a:endParaRPr lang="en-US"/>
              </a:p>
            </p:txBody>
          </p:sp>
          <p:sp>
            <p:nvSpPr>
              <p:cNvPr id="131" name="Freeform: Shape 130">
                <a:extLst>
                  <a:ext uri="{FF2B5EF4-FFF2-40B4-BE49-F238E27FC236}">
                    <a16:creationId xmlns:a16="http://schemas.microsoft.com/office/drawing/2014/main" id="{A76F792A-A0BC-4D31-8420-C7F90375C47E}"/>
                  </a:ext>
                </a:extLst>
              </p:cNvPr>
              <p:cNvSpPr/>
              <p:nvPr/>
            </p:nvSpPr>
            <p:spPr>
              <a:xfrm>
                <a:off x="5640229" y="3940016"/>
                <a:ext cx="19050" cy="19050"/>
              </a:xfrm>
              <a:custGeom>
                <a:avLst/>
                <a:gdLst>
                  <a:gd name="connsiteX0" fmla="*/ 12859 w 19050"/>
                  <a:gd name="connsiteY0" fmla="*/ 7144 h 19050"/>
                  <a:gd name="connsiteX1" fmla="*/ 7144 w 19050"/>
                  <a:gd name="connsiteY1" fmla="*/ 12859 h 19050"/>
                  <a:gd name="connsiteX2" fmla="*/ 12859 w 19050"/>
                  <a:gd name="connsiteY2" fmla="*/ 18574 h 19050"/>
                  <a:gd name="connsiteX3" fmla="*/ 18574 w 19050"/>
                  <a:gd name="connsiteY3" fmla="*/ 12859 h 19050"/>
                  <a:gd name="connsiteX4" fmla="*/ 12859 w 19050"/>
                  <a:gd name="connsiteY4" fmla="*/ 7144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2859" y="7144"/>
                    </a:moveTo>
                    <a:cubicBezTo>
                      <a:pt x="10001" y="7144"/>
                      <a:pt x="7144" y="10001"/>
                      <a:pt x="7144" y="12859"/>
                    </a:cubicBezTo>
                    <a:cubicBezTo>
                      <a:pt x="7144" y="15716"/>
                      <a:pt x="10001" y="18574"/>
                      <a:pt x="12859" y="18574"/>
                    </a:cubicBezTo>
                    <a:cubicBezTo>
                      <a:pt x="15716" y="18574"/>
                      <a:pt x="18574" y="15716"/>
                      <a:pt x="18574" y="12859"/>
                    </a:cubicBezTo>
                    <a:cubicBezTo>
                      <a:pt x="18574" y="10001"/>
                      <a:pt x="15716" y="7144"/>
                      <a:pt x="12859" y="7144"/>
                    </a:cubicBezTo>
                    <a:close/>
                  </a:path>
                </a:pathLst>
              </a:custGeom>
              <a:grpFill/>
              <a:ln w="9525" cap="flat">
                <a:noFill/>
                <a:prstDash val="solid"/>
                <a:miter/>
              </a:ln>
            </p:spPr>
            <p:txBody>
              <a:bodyPr rtlCol="0" anchor="ctr"/>
              <a:lstStyle/>
              <a:p>
                <a:endParaRPr lang="en-US"/>
              </a:p>
            </p:txBody>
          </p:sp>
          <p:sp>
            <p:nvSpPr>
              <p:cNvPr id="132" name="Freeform: Shape 131">
                <a:extLst>
                  <a:ext uri="{FF2B5EF4-FFF2-40B4-BE49-F238E27FC236}">
                    <a16:creationId xmlns:a16="http://schemas.microsoft.com/office/drawing/2014/main" id="{45C72C2F-982B-4F14-88AB-4DEE7B514624}"/>
                  </a:ext>
                </a:extLst>
              </p:cNvPr>
              <p:cNvSpPr/>
              <p:nvPr/>
            </p:nvSpPr>
            <p:spPr>
              <a:xfrm>
                <a:off x="5954554" y="3885724"/>
                <a:ext cx="47625" cy="38100"/>
              </a:xfrm>
              <a:custGeom>
                <a:avLst/>
                <a:gdLst>
                  <a:gd name="connsiteX0" fmla="*/ 7144 w 47625"/>
                  <a:gd name="connsiteY0" fmla="*/ 17621 h 38100"/>
                  <a:gd name="connsiteX1" fmla="*/ 14764 w 47625"/>
                  <a:gd name="connsiteY1" fmla="*/ 25241 h 38100"/>
                  <a:gd name="connsiteX2" fmla="*/ 16669 w 47625"/>
                  <a:gd name="connsiteY2" fmla="*/ 25241 h 38100"/>
                  <a:gd name="connsiteX3" fmla="*/ 29051 w 47625"/>
                  <a:gd name="connsiteY3" fmla="*/ 33814 h 38100"/>
                  <a:gd name="connsiteX4" fmla="*/ 42386 w 47625"/>
                  <a:gd name="connsiteY4" fmla="*/ 20479 h 38100"/>
                  <a:gd name="connsiteX5" fmla="*/ 29051 w 47625"/>
                  <a:gd name="connsiteY5" fmla="*/ 7144 h 38100"/>
                  <a:gd name="connsiteX6" fmla="*/ 18574 w 47625"/>
                  <a:gd name="connsiteY6" fmla="*/ 11906 h 38100"/>
                  <a:gd name="connsiteX7" fmla="*/ 14764 w 47625"/>
                  <a:gd name="connsiteY7" fmla="*/ 10954 h 38100"/>
                  <a:gd name="connsiteX8" fmla="*/ 7144 w 47625"/>
                  <a:gd name="connsiteY8" fmla="*/ 17621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38100">
                    <a:moveTo>
                      <a:pt x="7144" y="17621"/>
                    </a:moveTo>
                    <a:cubicBezTo>
                      <a:pt x="7144" y="21431"/>
                      <a:pt x="10001" y="25241"/>
                      <a:pt x="14764" y="25241"/>
                    </a:cubicBezTo>
                    <a:cubicBezTo>
                      <a:pt x="15716" y="25241"/>
                      <a:pt x="15716" y="25241"/>
                      <a:pt x="16669" y="25241"/>
                    </a:cubicBezTo>
                    <a:cubicBezTo>
                      <a:pt x="18574" y="30004"/>
                      <a:pt x="23336" y="33814"/>
                      <a:pt x="29051" y="33814"/>
                    </a:cubicBezTo>
                    <a:cubicBezTo>
                      <a:pt x="36671" y="33814"/>
                      <a:pt x="42386" y="28099"/>
                      <a:pt x="42386" y="20479"/>
                    </a:cubicBezTo>
                    <a:cubicBezTo>
                      <a:pt x="42386" y="12859"/>
                      <a:pt x="36671" y="7144"/>
                      <a:pt x="29051" y="7144"/>
                    </a:cubicBezTo>
                    <a:cubicBezTo>
                      <a:pt x="25241" y="7144"/>
                      <a:pt x="21431" y="9049"/>
                      <a:pt x="18574" y="11906"/>
                    </a:cubicBezTo>
                    <a:cubicBezTo>
                      <a:pt x="17621" y="10954"/>
                      <a:pt x="15716" y="10954"/>
                      <a:pt x="14764" y="10954"/>
                    </a:cubicBezTo>
                    <a:cubicBezTo>
                      <a:pt x="10954" y="10001"/>
                      <a:pt x="7144" y="13811"/>
                      <a:pt x="7144" y="17621"/>
                    </a:cubicBezTo>
                    <a:close/>
                  </a:path>
                </a:pathLst>
              </a:custGeom>
              <a:grpFill/>
              <a:ln w="9525" cap="flat">
                <a:noFill/>
                <a:prstDash val="solid"/>
                <a:miter/>
              </a:ln>
            </p:spPr>
            <p:txBody>
              <a:bodyPr rtlCol="0" anchor="ctr"/>
              <a:lstStyle/>
              <a:p>
                <a:endParaRPr lang="en-US"/>
              </a:p>
            </p:txBody>
          </p:sp>
          <p:sp>
            <p:nvSpPr>
              <p:cNvPr id="133" name="Freeform: Shape 132">
                <a:extLst>
                  <a:ext uri="{FF2B5EF4-FFF2-40B4-BE49-F238E27FC236}">
                    <a16:creationId xmlns:a16="http://schemas.microsoft.com/office/drawing/2014/main" id="{23AB0B20-B639-45F2-AD68-B4462E2825C0}"/>
                  </a:ext>
                </a:extLst>
              </p:cNvPr>
              <p:cNvSpPr/>
              <p:nvPr/>
            </p:nvSpPr>
            <p:spPr>
              <a:xfrm>
                <a:off x="6050756" y="3398044"/>
                <a:ext cx="19050" cy="19050"/>
              </a:xfrm>
              <a:custGeom>
                <a:avLst/>
                <a:gdLst>
                  <a:gd name="connsiteX0" fmla="*/ 16669 w 19050"/>
                  <a:gd name="connsiteY0" fmla="*/ 11906 h 19050"/>
                  <a:gd name="connsiteX1" fmla="*/ 11906 w 19050"/>
                  <a:gd name="connsiteY1" fmla="*/ 7144 h 19050"/>
                  <a:gd name="connsiteX2" fmla="*/ 7144 w 19050"/>
                  <a:gd name="connsiteY2" fmla="*/ 11906 h 19050"/>
                  <a:gd name="connsiteX3" fmla="*/ 11906 w 19050"/>
                  <a:gd name="connsiteY3" fmla="*/ 16669 h 19050"/>
                  <a:gd name="connsiteX4" fmla="*/ 16669 w 19050"/>
                  <a:gd name="connsiteY4" fmla="*/ 11906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6669" y="11906"/>
                    </a:moveTo>
                    <a:cubicBezTo>
                      <a:pt x="16669" y="9049"/>
                      <a:pt x="14764" y="7144"/>
                      <a:pt x="11906" y="7144"/>
                    </a:cubicBezTo>
                    <a:cubicBezTo>
                      <a:pt x="9049" y="7144"/>
                      <a:pt x="7144" y="9049"/>
                      <a:pt x="7144" y="11906"/>
                    </a:cubicBezTo>
                    <a:cubicBezTo>
                      <a:pt x="7144" y="14764"/>
                      <a:pt x="9049" y="16669"/>
                      <a:pt x="11906" y="16669"/>
                    </a:cubicBezTo>
                    <a:cubicBezTo>
                      <a:pt x="14764" y="17621"/>
                      <a:pt x="16669" y="14764"/>
                      <a:pt x="16669" y="11906"/>
                    </a:cubicBezTo>
                    <a:close/>
                  </a:path>
                </a:pathLst>
              </a:custGeom>
              <a:grpFill/>
              <a:ln w="9525" cap="flat">
                <a:noFill/>
                <a:prstDash val="solid"/>
                <a:miter/>
              </a:ln>
            </p:spPr>
            <p:txBody>
              <a:bodyPr rtlCol="0" anchor="ctr"/>
              <a:lstStyle/>
              <a:p>
                <a:endParaRPr lang="en-US"/>
              </a:p>
            </p:txBody>
          </p:sp>
          <p:sp>
            <p:nvSpPr>
              <p:cNvPr id="134" name="Freeform: Shape 133">
                <a:extLst>
                  <a:ext uri="{FF2B5EF4-FFF2-40B4-BE49-F238E27FC236}">
                    <a16:creationId xmlns:a16="http://schemas.microsoft.com/office/drawing/2014/main" id="{77A11A1E-8668-4F38-B7F3-1D2A7EB22124}"/>
                  </a:ext>
                </a:extLst>
              </p:cNvPr>
              <p:cNvSpPr/>
              <p:nvPr/>
            </p:nvSpPr>
            <p:spPr>
              <a:xfrm>
                <a:off x="5799296" y="4277201"/>
                <a:ext cx="142875" cy="123825"/>
              </a:xfrm>
              <a:custGeom>
                <a:avLst/>
                <a:gdLst>
                  <a:gd name="connsiteX0" fmla="*/ 109061 w 142875"/>
                  <a:gd name="connsiteY0" fmla="*/ 26194 h 123825"/>
                  <a:gd name="connsiteX1" fmla="*/ 95726 w 142875"/>
                  <a:gd name="connsiteY1" fmla="*/ 29051 h 123825"/>
                  <a:gd name="connsiteX2" fmla="*/ 81439 w 142875"/>
                  <a:gd name="connsiteY2" fmla="*/ 25241 h 123825"/>
                  <a:gd name="connsiteX3" fmla="*/ 79534 w 142875"/>
                  <a:gd name="connsiteY3" fmla="*/ 25241 h 123825"/>
                  <a:gd name="connsiteX4" fmla="*/ 82391 w 142875"/>
                  <a:gd name="connsiteY4" fmla="*/ 17621 h 123825"/>
                  <a:gd name="connsiteX5" fmla="*/ 71914 w 142875"/>
                  <a:gd name="connsiteY5" fmla="*/ 7144 h 123825"/>
                  <a:gd name="connsiteX6" fmla="*/ 61436 w 142875"/>
                  <a:gd name="connsiteY6" fmla="*/ 17621 h 123825"/>
                  <a:gd name="connsiteX7" fmla="*/ 69056 w 142875"/>
                  <a:gd name="connsiteY7" fmla="*/ 28099 h 123825"/>
                  <a:gd name="connsiteX8" fmla="*/ 52864 w 142875"/>
                  <a:gd name="connsiteY8" fmla="*/ 47149 h 123825"/>
                  <a:gd name="connsiteX9" fmla="*/ 49054 w 142875"/>
                  <a:gd name="connsiteY9" fmla="*/ 46196 h 123825"/>
                  <a:gd name="connsiteX10" fmla="*/ 48101 w 142875"/>
                  <a:gd name="connsiteY10" fmla="*/ 45244 h 123825"/>
                  <a:gd name="connsiteX11" fmla="*/ 55721 w 142875"/>
                  <a:gd name="connsiteY11" fmla="*/ 30956 h 123825"/>
                  <a:gd name="connsiteX12" fmla="*/ 39529 w 142875"/>
                  <a:gd name="connsiteY12" fmla="*/ 14764 h 123825"/>
                  <a:gd name="connsiteX13" fmla="*/ 23336 w 142875"/>
                  <a:gd name="connsiteY13" fmla="*/ 30956 h 123825"/>
                  <a:gd name="connsiteX14" fmla="*/ 23336 w 142875"/>
                  <a:gd name="connsiteY14" fmla="*/ 34766 h 123825"/>
                  <a:gd name="connsiteX15" fmla="*/ 7144 w 142875"/>
                  <a:gd name="connsiteY15" fmla="*/ 55721 h 123825"/>
                  <a:gd name="connsiteX16" fmla="*/ 25241 w 142875"/>
                  <a:gd name="connsiteY16" fmla="*/ 76676 h 123825"/>
                  <a:gd name="connsiteX17" fmla="*/ 34766 w 142875"/>
                  <a:gd name="connsiteY17" fmla="*/ 87154 h 123825"/>
                  <a:gd name="connsiteX18" fmla="*/ 34766 w 142875"/>
                  <a:gd name="connsiteY18" fmla="*/ 90011 h 123825"/>
                  <a:gd name="connsiteX19" fmla="*/ 58579 w 142875"/>
                  <a:gd name="connsiteY19" fmla="*/ 113824 h 123825"/>
                  <a:gd name="connsiteX20" fmla="*/ 81439 w 142875"/>
                  <a:gd name="connsiteY20" fmla="*/ 94774 h 123825"/>
                  <a:gd name="connsiteX21" fmla="*/ 82391 w 142875"/>
                  <a:gd name="connsiteY21" fmla="*/ 94774 h 123825"/>
                  <a:gd name="connsiteX22" fmla="*/ 80486 w 142875"/>
                  <a:gd name="connsiteY22" fmla="*/ 100489 h 123825"/>
                  <a:gd name="connsiteX23" fmla="*/ 79534 w 142875"/>
                  <a:gd name="connsiteY23" fmla="*/ 104299 h 123825"/>
                  <a:gd name="connsiteX24" fmla="*/ 80486 w 142875"/>
                  <a:gd name="connsiteY24" fmla="*/ 109061 h 123825"/>
                  <a:gd name="connsiteX25" fmla="*/ 99536 w 142875"/>
                  <a:gd name="connsiteY25" fmla="*/ 123349 h 123825"/>
                  <a:gd name="connsiteX26" fmla="*/ 119539 w 142875"/>
                  <a:gd name="connsiteY26" fmla="*/ 103346 h 123825"/>
                  <a:gd name="connsiteX27" fmla="*/ 110014 w 142875"/>
                  <a:gd name="connsiteY27" fmla="*/ 87154 h 123825"/>
                  <a:gd name="connsiteX28" fmla="*/ 139541 w 142875"/>
                  <a:gd name="connsiteY28" fmla="*/ 56674 h 123825"/>
                  <a:gd name="connsiteX29" fmla="*/ 109061 w 142875"/>
                  <a:gd name="connsiteY29" fmla="*/ 26194 h 123825"/>
                  <a:gd name="connsiteX30" fmla="*/ 94774 w 142875"/>
                  <a:gd name="connsiteY30" fmla="*/ 85249 h 123825"/>
                  <a:gd name="connsiteX31" fmla="*/ 94774 w 142875"/>
                  <a:gd name="connsiteY31" fmla="*/ 84296 h 123825"/>
                  <a:gd name="connsiteX32" fmla="*/ 96679 w 142875"/>
                  <a:gd name="connsiteY32" fmla="*/ 85249 h 123825"/>
                  <a:gd name="connsiteX33" fmla="*/ 94774 w 142875"/>
                  <a:gd name="connsiteY33" fmla="*/ 85249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2875" h="123825">
                    <a:moveTo>
                      <a:pt x="109061" y="26194"/>
                    </a:moveTo>
                    <a:cubicBezTo>
                      <a:pt x="104299" y="26194"/>
                      <a:pt x="99536" y="27146"/>
                      <a:pt x="95726" y="29051"/>
                    </a:cubicBezTo>
                    <a:cubicBezTo>
                      <a:pt x="91916" y="27146"/>
                      <a:pt x="87154" y="25241"/>
                      <a:pt x="81439" y="25241"/>
                    </a:cubicBezTo>
                    <a:cubicBezTo>
                      <a:pt x="80486" y="25241"/>
                      <a:pt x="79534" y="25241"/>
                      <a:pt x="79534" y="25241"/>
                    </a:cubicBezTo>
                    <a:cubicBezTo>
                      <a:pt x="81439" y="23336"/>
                      <a:pt x="82391" y="20479"/>
                      <a:pt x="82391" y="17621"/>
                    </a:cubicBezTo>
                    <a:cubicBezTo>
                      <a:pt x="82391" y="11906"/>
                      <a:pt x="77629" y="7144"/>
                      <a:pt x="71914" y="7144"/>
                    </a:cubicBezTo>
                    <a:cubicBezTo>
                      <a:pt x="66199" y="7144"/>
                      <a:pt x="61436" y="11906"/>
                      <a:pt x="61436" y="17621"/>
                    </a:cubicBezTo>
                    <a:cubicBezTo>
                      <a:pt x="61436" y="22384"/>
                      <a:pt x="65246" y="26194"/>
                      <a:pt x="69056" y="28099"/>
                    </a:cubicBezTo>
                    <a:cubicBezTo>
                      <a:pt x="61436" y="31909"/>
                      <a:pt x="55721" y="38576"/>
                      <a:pt x="52864" y="47149"/>
                    </a:cubicBezTo>
                    <a:cubicBezTo>
                      <a:pt x="51911" y="47149"/>
                      <a:pt x="50006" y="46196"/>
                      <a:pt x="49054" y="46196"/>
                    </a:cubicBezTo>
                    <a:cubicBezTo>
                      <a:pt x="49054" y="46196"/>
                      <a:pt x="49054" y="45244"/>
                      <a:pt x="48101" y="45244"/>
                    </a:cubicBezTo>
                    <a:cubicBezTo>
                      <a:pt x="52864" y="42386"/>
                      <a:pt x="55721" y="37624"/>
                      <a:pt x="55721" y="30956"/>
                    </a:cubicBezTo>
                    <a:cubicBezTo>
                      <a:pt x="55721" y="22384"/>
                      <a:pt x="48101" y="14764"/>
                      <a:pt x="39529" y="14764"/>
                    </a:cubicBezTo>
                    <a:cubicBezTo>
                      <a:pt x="30956" y="14764"/>
                      <a:pt x="23336" y="22384"/>
                      <a:pt x="23336" y="30956"/>
                    </a:cubicBezTo>
                    <a:cubicBezTo>
                      <a:pt x="23336" y="31909"/>
                      <a:pt x="23336" y="33814"/>
                      <a:pt x="23336" y="34766"/>
                    </a:cubicBezTo>
                    <a:cubicBezTo>
                      <a:pt x="13811" y="36671"/>
                      <a:pt x="7144" y="45244"/>
                      <a:pt x="7144" y="55721"/>
                    </a:cubicBezTo>
                    <a:cubicBezTo>
                      <a:pt x="7144" y="66199"/>
                      <a:pt x="14764" y="75724"/>
                      <a:pt x="25241" y="76676"/>
                    </a:cubicBezTo>
                    <a:cubicBezTo>
                      <a:pt x="27146" y="81439"/>
                      <a:pt x="30004" y="85249"/>
                      <a:pt x="34766" y="87154"/>
                    </a:cubicBezTo>
                    <a:cubicBezTo>
                      <a:pt x="34766" y="88106"/>
                      <a:pt x="34766" y="89059"/>
                      <a:pt x="34766" y="90011"/>
                    </a:cubicBezTo>
                    <a:cubicBezTo>
                      <a:pt x="34766" y="103346"/>
                      <a:pt x="45244" y="113824"/>
                      <a:pt x="58579" y="113824"/>
                    </a:cubicBezTo>
                    <a:cubicBezTo>
                      <a:pt x="70009" y="113824"/>
                      <a:pt x="79534" y="105251"/>
                      <a:pt x="81439" y="94774"/>
                    </a:cubicBezTo>
                    <a:cubicBezTo>
                      <a:pt x="81439" y="94774"/>
                      <a:pt x="82391" y="94774"/>
                      <a:pt x="82391" y="94774"/>
                    </a:cubicBezTo>
                    <a:cubicBezTo>
                      <a:pt x="81439" y="96679"/>
                      <a:pt x="80486" y="98584"/>
                      <a:pt x="80486" y="100489"/>
                    </a:cubicBezTo>
                    <a:cubicBezTo>
                      <a:pt x="79534" y="101441"/>
                      <a:pt x="79534" y="102394"/>
                      <a:pt x="79534" y="104299"/>
                    </a:cubicBezTo>
                    <a:cubicBezTo>
                      <a:pt x="79534" y="106204"/>
                      <a:pt x="80486" y="107156"/>
                      <a:pt x="80486" y="109061"/>
                    </a:cubicBezTo>
                    <a:cubicBezTo>
                      <a:pt x="82391" y="117634"/>
                      <a:pt x="90011" y="123349"/>
                      <a:pt x="99536" y="123349"/>
                    </a:cubicBezTo>
                    <a:cubicBezTo>
                      <a:pt x="110014" y="123349"/>
                      <a:pt x="119539" y="114776"/>
                      <a:pt x="119539" y="103346"/>
                    </a:cubicBezTo>
                    <a:cubicBezTo>
                      <a:pt x="119539" y="96679"/>
                      <a:pt x="115729" y="90011"/>
                      <a:pt x="110014" y="87154"/>
                    </a:cubicBezTo>
                    <a:cubicBezTo>
                      <a:pt x="126206" y="86201"/>
                      <a:pt x="139541" y="72866"/>
                      <a:pt x="139541" y="56674"/>
                    </a:cubicBezTo>
                    <a:cubicBezTo>
                      <a:pt x="140494" y="40481"/>
                      <a:pt x="126206" y="26194"/>
                      <a:pt x="109061" y="26194"/>
                    </a:cubicBezTo>
                    <a:close/>
                    <a:moveTo>
                      <a:pt x="94774" y="85249"/>
                    </a:moveTo>
                    <a:cubicBezTo>
                      <a:pt x="94774" y="85249"/>
                      <a:pt x="94774" y="84296"/>
                      <a:pt x="94774" y="84296"/>
                    </a:cubicBezTo>
                    <a:cubicBezTo>
                      <a:pt x="95726" y="84296"/>
                      <a:pt x="95726" y="85249"/>
                      <a:pt x="96679" y="85249"/>
                    </a:cubicBezTo>
                    <a:cubicBezTo>
                      <a:pt x="95726" y="85249"/>
                      <a:pt x="95726" y="85249"/>
                      <a:pt x="94774" y="85249"/>
                    </a:cubicBezTo>
                    <a:close/>
                  </a:path>
                </a:pathLst>
              </a:custGeom>
              <a:grpFill/>
              <a:ln w="9525" cap="flat">
                <a:noFill/>
                <a:prstDash val="solid"/>
                <a:miter/>
              </a:ln>
            </p:spPr>
            <p:txBody>
              <a:bodyPr rtlCol="0" anchor="ctr"/>
              <a:lstStyle/>
              <a:p>
                <a:endParaRPr lang="en-US"/>
              </a:p>
            </p:txBody>
          </p:sp>
          <p:sp>
            <p:nvSpPr>
              <p:cNvPr id="135" name="Freeform: Shape 134">
                <a:extLst>
                  <a:ext uri="{FF2B5EF4-FFF2-40B4-BE49-F238E27FC236}">
                    <a16:creationId xmlns:a16="http://schemas.microsoft.com/office/drawing/2014/main" id="{5EFE919F-ECB2-4DF2-B268-42A81035A446}"/>
                  </a:ext>
                </a:extLst>
              </p:cNvPr>
              <p:cNvSpPr/>
              <p:nvPr/>
            </p:nvSpPr>
            <p:spPr>
              <a:xfrm>
                <a:off x="5920160" y="3238976"/>
                <a:ext cx="28575" cy="28575"/>
              </a:xfrm>
              <a:custGeom>
                <a:avLst/>
                <a:gdLst>
                  <a:gd name="connsiteX0" fmla="*/ 18678 w 28575"/>
                  <a:gd name="connsiteY0" fmla="*/ 30004 h 28575"/>
                  <a:gd name="connsiteX1" fmla="*/ 30108 w 28575"/>
                  <a:gd name="connsiteY1" fmla="*/ 18574 h 28575"/>
                  <a:gd name="connsiteX2" fmla="*/ 18678 w 28575"/>
                  <a:gd name="connsiteY2" fmla="*/ 7144 h 28575"/>
                  <a:gd name="connsiteX3" fmla="*/ 7248 w 28575"/>
                  <a:gd name="connsiteY3" fmla="*/ 18574 h 28575"/>
                  <a:gd name="connsiteX4" fmla="*/ 18678 w 28575"/>
                  <a:gd name="connsiteY4" fmla="*/ 30004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8678" y="30004"/>
                    </a:moveTo>
                    <a:cubicBezTo>
                      <a:pt x="25345" y="30004"/>
                      <a:pt x="30108" y="25241"/>
                      <a:pt x="30108" y="18574"/>
                    </a:cubicBezTo>
                    <a:cubicBezTo>
                      <a:pt x="30108" y="11906"/>
                      <a:pt x="25345" y="7144"/>
                      <a:pt x="18678" y="7144"/>
                    </a:cubicBezTo>
                    <a:cubicBezTo>
                      <a:pt x="12010" y="7144"/>
                      <a:pt x="7248" y="11906"/>
                      <a:pt x="7248" y="18574"/>
                    </a:cubicBezTo>
                    <a:cubicBezTo>
                      <a:pt x="6295" y="24289"/>
                      <a:pt x="12010" y="30004"/>
                      <a:pt x="18678" y="30004"/>
                    </a:cubicBezTo>
                    <a:close/>
                  </a:path>
                </a:pathLst>
              </a:custGeom>
              <a:grpFill/>
              <a:ln w="9525" cap="flat">
                <a:noFill/>
                <a:prstDash val="solid"/>
                <a:miter/>
              </a:ln>
            </p:spPr>
            <p:txBody>
              <a:bodyPr rtlCol="0" anchor="ctr"/>
              <a:lstStyle/>
              <a:p>
                <a:endParaRPr lang="en-US"/>
              </a:p>
            </p:txBody>
          </p:sp>
          <p:sp>
            <p:nvSpPr>
              <p:cNvPr id="136" name="Freeform: Shape 135">
                <a:extLst>
                  <a:ext uri="{FF2B5EF4-FFF2-40B4-BE49-F238E27FC236}">
                    <a16:creationId xmlns:a16="http://schemas.microsoft.com/office/drawing/2014/main" id="{61C552B6-20FB-4164-B02F-9F7296634698}"/>
                  </a:ext>
                </a:extLst>
              </p:cNvPr>
              <p:cNvSpPr/>
              <p:nvPr/>
            </p:nvSpPr>
            <p:spPr>
              <a:xfrm>
                <a:off x="5753576" y="3219926"/>
                <a:ext cx="19050" cy="19050"/>
              </a:xfrm>
              <a:custGeom>
                <a:avLst/>
                <a:gdLst>
                  <a:gd name="connsiteX0" fmla="*/ 18574 w 19050"/>
                  <a:gd name="connsiteY0" fmla="*/ 12859 h 19050"/>
                  <a:gd name="connsiteX1" fmla="*/ 12859 w 19050"/>
                  <a:gd name="connsiteY1" fmla="*/ 7144 h 19050"/>
                  <a:gd name="connsiteX2" fmla="*/ 7144 w 19050"/>
                  <a:gd name="connsiteY2" fmla="*/ 12859 h 19050"/>
                  <a:gd name="connsiteX3" fmla="*/ 12859 w 19050"/>
                  <a:gd name="connsiteY3" fmla="*/ 18574 h 19050"/>
                  <a:gd name="connsiteX4" fmla="*/ 18574 w 19050"/>
                  <a:gd name="connsiteY4" fmla="*/ 12859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8574" y="12859"/>
                    </a:moveTo>
                    <a:cubicBezTo>
                      <a:pt x="18574" y="10001"/>
                      <a:pt x="15716" y="7144"/>
                      <a:pt x="12859" y="7144"/>
                    </a:cubicBezTo>
                    <a:cubicBezTo>
                      <a:pt x="10001" y="7144"/>
                      <a:pt x="7144" y="10001"/>
                      <a:pt x="7144" y="12859"/>
                    </a:cubicBezTo>
                    <a:cubicBezTo>
                      <a:pt x="7144" y="15716"/>
                      <a:pt x="10001" y="18574"/>
                      <a:pt x="12859" y="18574"/>
                    </a:cubicBezTo>
                    <a:cubicBezTo>
                      <a:pt x="15716" y="18574"/>
                      <a:pt x="18574" y="16669"/>
                      <a:pt x="18574" y="12859"/>
                    </a:cubicBezTo>
                    <a:close/>
                  </a:path>
                </a:pathLst>
              </a:custGeom>
              <a:grpFill/>
              <a:ln w="9525" cap="flat">
                <a:noFill/>
                <a:prstDash val="solid"/>
                <a:miter/>
              </a:ln>
            </p:spPr>
            <p:txBody>
              <a:bodyPr rtlCol="0" anchor="ctr"/>
              <a:lstStyle/>
              <a:p>
                <a:endParaRPr lang="en-US"/>
              </a:p>
            </p:txBody>
          </p:sp>
          <p:sp>
            <p:nvSpPr>
              <p:cNvPr id="137" name="Freeform: Shape 136">
                <a:extLst>
                  <a:ext uri="{FF2B5EF4-FFF2-40B4-BE49-F238E27FC236}">
                    <a16:creationId xmlns:a16="http://schemas.microsoft.com/office/drawing/2014/main" id="{BFDFA48E-28A3-47EE-88D3-A1B3A0350F99}"/>
                  </a:ext>
                </a:extLst>
              </p:cNvPr>
              <p:cNvSpPr/>
              <p:nvPr/>
            </p:nvSpPr>
            <p:spPr>
              <a:xfrm>
                <a:off x="6035516" y="2895124"/>
                <a:ext cx="38100" cy="38100"/>
              </a:xfrm>
              <a:custGeom>
                <a:avLst/>
                <a:gdLst>
                  <a:gd name="connsiteX0" fmla="*/ 21431 w 38100"/>
                  <a:gd name="connsiteY0" fmla="*/ 7144 h 38100"/>
                  <a:gd name="connsiteX1" fmla="*/ 7144 w 38100"/>
                  <a:gd name="connsiteY1" fmla="*/ 21431 h 38100"/>
                  <a:gd name="connsiteX2" fmla="*/ 21431 w 38100"/>
                  <a:gd name="connsiteY2" fmla="*/ 35719 h 38100"/>
                  <a:gd name="connsiteX3" fmla="*/ 35719 w 38100"/>
                  <a:gd name="connsiteY3" fmla="*/ 21431 h 38100"/>
                  <a:gd name="connsiteX4" fmla="*/ 21431 w 38100"/>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1431" y="7144"/>
                    </a:moveTo>
                    <a:cubicBezTo>
                      <a:pt x="13811" y="7144"/>
                      <a:pt x="7144" y="13811"/>
                      <a:pt x="7144" y="21431"/>
                    </a:cubicBezTo>
                    <a:cubicBezTo>
                      <a:pt x="7144" y="29051"/>
                      <a:pt x="13811" y="35719"/>
                      <a:pt x="21431" y="35719"/>
                    </a:cubicBezTo>
                    <a:cubicBezTo>
                      <a:pt x="29051" y="35719"/>
                      <a:pt x="35719" y="29051"/>
                      <a:pt x="35719" y="21431"/>
                    </a:cubicBezTo>
                    <a:cubicBezTo>
                      <a:pt x="36671" y="13811"/>
                      <a:pt x="30004" y="7144"/>
                      <a:pt x="21431" y="7144"/>
                    </a:cubicBezTo>
                    <a:close/>
                  </a:path>
                </a:pathLst>
              </a:custGeom>
              <a:grpFill/>
              <a:ln w="9525" cap="flat">
                <a:noFill/>
                <a:prstDash val="solid"/>
                <a:miter/>
              </a:ln>
            </p:spPr>
            <p:txBody>
              <a:bodyPr rtlCol="0" anchor="ctr"/>
              <a:lstStyle/>
              <a:p>
                <a:endParaRPr lang="en-US"/>
              </a:p>
            </p:txBody>
          </p:sp>
          <p:sp>
            <p:nvSpPr>
              <p:cNvPr id="138" name="Freeform: Shape 137">
                <a:extLst>
                  <a:ext uri="{FF2B5EF4-FFF2-40B4-BE49-F238E27FC236}">
                    <a16:creationId xmlns:a16="http://schemas.microsoft.com/office/drawing/2014/main" id="{05C80387-3C62-4353-922D-D20F3B695D51}"/>
                  </a:ext>
                </a:extLst>
              </p:cNvPr>
              <p:cNvSpPr/>
              <p:nvPr/>
            </p:nvSpPr>
            <p:spPr>
              <a:xfrm>
                <a:off x="5612606" y="3429476"/>
                <a:ext cx="171450" cy="190500"/>
              </a:xfrm>
              <a:custGeom>
                <a:avLst/>
                <a:gdLst>
                  <a:gd name="connsiteX0" fmla="*/ 60484 w 171450"/>
                  <a:gd name="connsiteY0" fmla="*/ 172879 h 190500"/>
                  <a:gd name="connsiteX1" fmla="*/ 75724 w 171450"/>
                  <a:gd name="connsiteY1" fmla="*/ 188119 h 190500"/>
                  <a:gd name="connsiteX2" fmla="*/ 90964 w 171450"/>
                  <a:gd name="connsiteY2" fmla="*/ 172879 h 190500"/>
                  <a:gd name="connsiteX3" fmla="*/ 88106 w 171450"/>
                  <a:gd name="connsiteY3" fmla="*/ 164306 h 190500"/>
                  <a:gd name="connsiteX4" fmla="*/ 110966 w 171450"/>
                  <a:gd name="connsiteY4" fmla="*/ 131921 h 190500"/>
                  <a:gd name="connsiteX5" fmla="*/ 103346 w 171450"/>
                  <a:gd name="connsiteY5" fmla="*/ 110966 h 190500"/>
                  <a:gd name="connsiteX6" fmla="*/ 104299 w 171450"/>
                  <a:gd name="connsiteY6" fmla="*/ 102394 h 190500"/>
                  <a:gd name="connsiteX7" fmla="*/ 103346 w 171450"/>
                  <a:gd name="connsiteY7" fmla="*/ 94774 h 190500"/>
                  <a:gd name="connsiteX8" fmla="*/ 107156 w 171450"/>
                  <a:gd name="connsiteY8" fmla="*/ 94774 h 190500"/>
                  <a:gd name="connsiteX9" fmla="*/ 137636 w 171450"/>
                  <a:gd name="connsiteY9" fmla="*/ 70009 h 190500"/>
                  <a:gd name="connsiteX10" fmla="*/ 146209 w 171450"/>
                  <a:gd name="connsiteY10" fmla="*/ 71914 h 190500"/>
                  <a:gd name="connsiteX11" fmla="*/ 172879 w 171450"/>
                  <a:gd name="connsiteY11" fmla="*/ 45244 h 190500"/>
                  <a:gd name="connsiteX12" fmla="*/ 146209 w 171450"/>
                  <a:gd name="connsiteY12" fmla="*/ 18574 h 190500"/>
                  <a:gd name="connsiteX13" fmla="*/ 139541 w 171450"/>
                  <a:gd name="connsiteY13" fmla="*/ 19526 h 190500"/>
                  <a:gd name="connsiteX14" fmla="*/ 124301 w 171450"/>
                  <a:gd name="connsiteY14" fmla="*/ 7144 h 190500"/>
                  <a:gd name="connsiteX15" fmla="*/ 108109 w 171450"/>
                  <a:gd name="connsiteY15" fmla="*/ 23336 h 190500"/>
                  <a:gd name="connsiteX16" fmla="*/ 111919 w 171450"/>
                  <a:gd name="connsiteY16" fmla="*/ 33814 h 190500"/>
                  <a:gd name="connsiteX17" fmla="*/ 106204 w 171450"/>
                  <a:gd name="connsiteY17" fmla="*/ 32861 h 190500"/>
                  <a:gd name="connsiteX18" fmla="*/ 90964 w 171450"/>
                  <a:gd name="connsiteY18" fmla="*/ 36671 h 190500"/>
                  <a:gd name="connsiteX19" fmla="*/ 63341 w 171450"/>
                  <a:gd name="connsiteY19" fmla="*/ 19526 h 190500"/>
                  <a:gd name="connsiteX20" fmla="*/ 31909 w 171450"/>
                  <a:gd name="connsiteY20" fmla="*/ 50959 h 190500"/>
                  <a:gd name="connsiteX21" fmla="*/ 39529 w 171450"/>
                  <a:gd name="connsiteY21" fmla="*/ 70961 h 190500"/>
                  <a:gd name="connsiteX22" fmla="*/ 24289 w 171450"/>
                  <a:gd name="connsiteY22" fmla="*/ 101441 h 190500"/>
                  <a:gd name="connsiteX23" fmla="*/ 24289 w 171450"/>
                  <a:gd name="connsiteY23" fmla="*/ 105251 h 190500"/>
                  <a:gd name="connsiteX24" fmla="*/ 18574 w 171450"/>
                  <a:gd name="connsiteY24" fmla="*/ 103346 h 190500"/>
                  <a:gd name="connsiteX25" fmla="*/ 7144 w 171450"/>
                  <a:gd name="connsiteY25" fmla="*/ 114776 h 190500"/>
                  <a:gd name="connsiteX26" fmla="*/ 18574 w 171450"/>
                  <a:gd name="connsiteY26" fmla="*/ 126206 h 190500"/>
                  <a:gd name="connsiteX27" fmla="*/ 26194 w 171450"/>
                  <a:gd name="connsiteY27" fmla="*/ 123349 h 190500"/>
                  <a:gd name="connsiteX28" fmla="*/ 41434 w 171450"/>
                  <a:gd name="connsiteY28" fmla="*/ 140494 h 190500"/>
                  <a:gd name="connsiteX29" fmla="*/ 62389 w 171450"/>
                  <a:gd name="connsiteY29" fmla="*/ 164306 h 190500"/>
                  <a:gd name="connsiteX30" fmla="*/ 60484 w 171450"/>
                  <a:gd name="connsiteY30" fmla="*/ 172879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71450" h="190500">
                    <a:moveTo>
                      <a:pt x="60484" y="172879"/>
                    </a:moveTo>
                    <a:cubicBezTo>
                      <a:pt x="60484" y="181451"/>
                      <a:pt x="67151" y="188119"/>
                      <a:pt x="75724" y="188119"/>
                    </a:cubicBezTo>
                    <a:cubicBezTo>
                      <a:pt x="84296" y="188119"/>
                      <a:pt x="90964" y="181451"/>
                      <a:pt x="90964" y="172879"/>
                    </a:cubicBezTo>
                    <a:cubicBezTo>
                      <a:pt x="90964" y="169069"/>
                      <a:pt x="90011" y="166211"/>
                      <a:pt x="88106" y="164306"/>
                    </a:cubicBezTo>
                    <a:cubicBezTo>
                      <a:pt x="101441" y="159544"/>
                      <a:pt x="110966" y="147161"/>
                      <a:pt x="110966" y="131921"/>
                    </a:cubicBezTo>
                    <a:cubicBezTo>
                      <a:pt x="110966" y="124301"/>
                      <a:pt x="108109" y="116681"/>
                      <a:pt x="103346" y="110966"/>
                    </a:cubicBezTo>
                    <a:cubicBezTo>
                      <a:pt x="104299" y="108109"/>
                      <a:pt x="104299" y="105251"/>
                      <a:pt x="104299" y="102394"/>
                    </a:cubicBezTo>
                    <a:cubicBezTo>
                      <a:pt x="104299" y="99536"/>
                      <a:pt x="104299" y="97631"/>
                      <a:pt x="103346" y="94774"/>
                    </a:cubicBezTo>
                    <a:cubicBezTo>
                      <a:pt x="104299" y="94774"/>
                      <a:pt x="106204" y="94774"/>
                      <a:pt x="107156" y="94774"/>
                    </a:cubicBezTo>
                    <a:cubicBezTo>
                      <a:pt x="122396" y="94774"/>
                      <a:pt x="134779" y="84296"/>
                      <a:pt x="137636" y="70009"/>
                    </a:cubicBezTo>
                    <a:cubicBezTo>
                      <a:pt x="140494" y="70961"/>
                      <a:pt x="143351" y="71914"/>
                      <a:pt x="146209" y="71914"/>
                    </a:cubicBezTo>
                    <a:cubicBezTo>
                      <a:pt x="161449" y="71914"/>
                      <a:pt x="172879" y="59531"/>
                      <a:pt x="172879" y="45244"/>
                    </a:cubicBezTo>
                    <a:cubicBezTo>
                      <a:pt x="172879" y="30956"/>
                      <a:pt x="160496" y="18574"/>
                      <a:pt x="146209" y="18574"/>
                    </a:cubicBezTo>
                    <a:cubicBezTo>
                      <a:pt x="144304" y="18574"/>
                      <a:pt x="141446" y="18574"/>
                      <a:pt x="139541" y="19526"/>
                    </a:cubicBezTo>
                    <a:cubicBezTo>
                      <a:pt x="138589" y="11906"/>
                      <a:pt x="131921" y="7144"/>
                      <a:pt x="124301" y="7144"/>
                    </a:cubicBezTo>
                    <a:cubicBezTo>
                      <a:pt x="115729" y="7144"/>
                      <a:pt x="108109" y="13811"/>
                      <a:pt x="108109" y="23336"/>
                    </a:cubicBezTo>
                    <a:cubicBezTo>
                      <a:pt x="108109" y="27146"/>
                      <a:pt x="110014" y="30956"/>
                      <a:pt x="111919" y="33814"/>
                    </a:cubicBezTo>
                    <a:cubicBezTo>
                      <a:pt x="110014" y="33814"/>
                      <a:pt x="108109" y="32861"/>
                      <a:pt x="106204" y="32861"/>
                    </a:cubicBezTo>
                    <a:cubicBezTo>
                      <a:pt x="100489" y="32861"/>
                      <a:pt x="95726" y="34766"/>
                      <a:pt x="90964" y="36671"/>
                    </a:cubicBezTo>
                    <a:cubicBezTo>
                      <a:pt x="85249" y="27146"/>
                      <a:pt x="75724" y="19526"/>
                      <a:pt x="63341" y="19526"/>
                    </a:cubicBezTo>
                    <a:cubicBezTo>
                      <a:pt x="46196" y="19526"/>
                      <a:pt x="31909" y="33814"/>
                      <a:pt x="31909" y="50959"/>
                    </a:cubicBezTo>
                    <a:cubicBezTo>
                      <a:pt x="31909" y="58579"/>
                      <a:pt x="34766" y="65246"/>
                      <a:pt x="39529" y="70961"/>
                    </a:cubicBezTo>
                    <a:cubicBezTo>
                      <a:pt x="30004" y="78581"/>
                      <a:pt x="24289" y="89059"/>
                      <a:pt x="24289" y="101441"/>
                    </a:cubicBezTo>
                    <a:cubicBezTo>
                      <a:pt x="24289" y="103346"/>
                      <a:pt x="24289" y="104299"/>
                      <a:pt x="24289" y="105251"/>
                    </a:cubicBezTo>
                    <a:cubicBezTo>
                      <a:pt x="22384" y="104299"/>
                      <a:pt x="20479" y="103346"/>
                      <a:pt x="18574" y="103346"/>
                    </a:cubicBezTo>
                    <a:cubicBezTo>
                      <a:pt x="12859" y="103346"/>
                      <a:pt x="7144" y="108109"/>
                      <a:pt x="7144" y="114776"/>
                    </a:cubicBezTo>
                    <a:cubicBezTo>
                      <a:pt x="7144" y="120491"/>
                      <a:pt x="11906" y="126206"/>
                      <a:pt x="18574" y="126206"/>
                    </a:cubicBezTo>
                    <a:cubicBezTo>
                      <a:pt x="21431" y="126206"/>
                      <a:pt x="24289" y="125254"/>
                      <a:pt x="26194" y="123349"/>
                    </a:cubicBezTo>
                    <a:cubicBezTo>
                      <a:pt x="28099" y="130969"/>
                      <a:pt x="33814" y="137636"/>
                      <a:pt x="41434" y="140494"/>
                    </a:cubicBezTo>
                    <a:cubicBezTo>
                      <a:pt x="44291" y="151924"/>
                      <a:pt x="51911" y="160496"/>
                      <a:pt x="62389" y="164306"/>
                    </a:cubicBezTo>
                    <a:cubicBezTo>
                      <a:pt x="61436" y="166211"/>
                      <a:pt x="60484" y="169069"/>
                      <a:pt x="60484" y="172879"/>
                    </a:cubicBezTo>
                    <a:close/>
                  </a:path>
                </a:pathLst>
              </a:custGeom>
              <a:grpFill/>
              <a:ln w="9525" cap="flat">
                <a:noFill/>
                <a:prstDash val="solid"/>
                <a:miter/>
              </a:ln>
            </p:spPr>
            <p:txBody>
              <a:bodyPr rtlCol="0" anchor="ctr"/>
              <a:lstStyle/>
              <a:p>
                <a:endParaRPr lang="en-US"/>
              </a:p>
            </p:txBody>
          </p:sp>
          <p:sp>
            <p:nvSpPr>
              <p:cNvPr id="139" name="Freeform: Shape 138">
                <a:extLst>
                  <a:ext uri="{FF2B5EF4-FFF2-40B4-BE49-F238E27FC236}">
                    <a16:creationId xmlns:a16="http://schemas.microsoft.com/office/drawing/2014/main" id="{E312E3F1-EB06-4A69-82B4-4FF9E3EECBD4}"/>
                  </a:ext>
                </a:extLst>
              </p:cNvPr>
              <p:cNvSpPr/>
              <p:nvPr/>
            </p:nvSpPr>
            <p:spPr>
              <a:xfrm>
                <a:off x="5805011" y="4197191"/>
                <a:ext cx="66675" cy="57150"/>
              </a:xfrm>
              <a:custGeom>
                <a:avLst/>
                <a:gdLst>
                  <a:gd name="connsiteX0" fmla="*/ 39529 w 66675"/>
                  <a:gd name="connsiteY0" fmla="*/ 50959 h 57150"/>
                  <a:gd name="connsiteX1" fmla="*/ 61436 w 66675"/>
                  <a:gd name="connsiteY1" fmla="*/ 29051 h 57150"/>
                  <a:gd name="connsiteX2" fmla="*/ 39529 w 66675"/>
                  <a:gd name="connsiteY2" fmla="*/ 7144 h 57150"/>
                  <a:gd name="connsiteX3" fmla="*/ 20479 w 66675"/>
                  <a:gd name="connsiteY3" fmla="*/ 17621 h 57150"/>
                  <a:gd name="connsiteX4" fmla="*/ 19526 w 66675"/>
                  <a:gd name="connsiteY4" fmla="*/ 17621 h 57150"/>
                  <a:gd name="connsiteX5" fmla="*/ 7144 w 66675"/>
                  <a:gd name="connsiteY5" fmla="*/ 30004 h 57150"/>
                  <a:gd name="connsiteX6" fmla="*/ 19526 w 66675"/>
                  <a:gd name="connsiteY6" fmla="*/ 42386 h 57150"/>
                  <a:gd name="connsiteX7" fmla="*/ 22384 w 66675"/>
                  <a:gd name="connsiteY7" fmla="*/ 41434 h 57150"/>
                  <a:gd name="connsiteX8" fmla="*/ 39529 w 66675"/>
                  <a:gd name="connsiteY8" fmla="*/ 50959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675" h="57150">
                    <a:moveTo>
                      <a:pt x="39529" y="50959"/>
                    </a:moveTo>
                    <a:cubicBezTo>
                      <a:pt x="51911" y="50959"/>
                      <a:pt x="61436" y="41434"/>
                      <a:pt x="61436" y="29051"/>
                    </a:cubicBezTo>
                    <a:cubicBezTo>
                      <a:pt x="61436" y="16669"/>
                      <a:pt x="51911" y="7144"/>
                      <a:pt x="39529" y="7144"/>
                    </a:cubicBezTo>
                    <a:cubicBezTo>
                      <a:pt x="31909" y="7144"/>
                      <a:pt x="24289" y="11906"/>
                      <a:pt x="20479" y="17621"/>
                    </a:cubicBezTo>
                    <a:cubicBezTo>
                      <a:pt x="20479" y="17621"/>
                      <a:pt x="20479" y="17621"/>
                      <a:pt x="19526" y="17621"/>
                    </a:cubicBezTo>
                    <a:cubicBezTo>
                      <a:pt x="12859" y="17621"/>
                      <a:pt x="7144" y="23336"/>
                      <a:pt x="7144" y="30004"/>
                    </a:cubicBezTo>
                    <a:cubicBezTo>
                      <a:pt x="7144" y="36671"/>
                      <a:pt x="12859" y="42386"/>
                      <a:pt x="19526" y="42386"/>
                    </a:cubicBezTo>
                    <a:cubicBezTo>
                      <a:pt x="20479" y="42386"/>
                      <a:pt x="21431" y="42386"/>
                      <a:pt x="22384" y="41434"/>
                    </a:cubicBezTo>
                    <a:cubicBezTo>
                      <a:pt x="27146" y="48101"/>
                      <a:pt x="32861" y="50959"/>
                      <a:pt x="39529" y="50959"/>
                    </a:cubicBezTo>
                    <a:close/>
                  </a:path>
                </a:pathLst>
              </a:custGeom>
              <a:grpFill/>
              <a:ln w="9525" cap="flat">
                <a:noFill/>
                <a:prstDash val="solid"/>
                <a:miter/>
              </a:ln>
            </p:spPr>
            <p:txBody>
              <a:bodyPr rtlCol="0" anchor="ctr"/>
              <a:lstStyle/>
              <a:p>
                <a:endParaRPr lang="en-US"/>
              </a:p>
            </p:txBody>
          </p:sp>
          <p:sp>
            <p:nvSpPr>
              <p:cNvPr id="140" name="Freeform: Shape 139">
                <a:extLst>
                  <a:ext uri="{FF2B5EF4-FFF2-40B4-BE49-F238E27FC236}">
                    <a16:creationId xmlns:a16="http://schemas.microsoft.com/office/drawing/2014/main" id="{E84F926E-1985-4734-88C3-3B51A1D2977B}"/>
                  </a:ext>
                </a:extLst>
              </p:cNvPr>
              <p:cNvSpPr/>
              <p:nvPr/>
            </p:nvSpPr>
            <p:spPr>
              <a:xfrm>
                <a:off x="5743099" y="3115151"/>
                <a:ext cx="66675" cy="76200"/>
              </a:xfrm>
              <a:custGeom>
                <a:avLst/>
                <a:gdLst>
                  <a:gd name="connsiteX0" fmla="*/ 18574 w 66675"/>
                  <a:gd name="connsiteY0" fmla="*/ 56674 h 76200"/>
                  <a:gd name="connsiteX1" fmla="*/ 10954 w 66675"/>
                  <a:gd name="connsiteY1" fmla="*/ 67151 h 76200"/>
                  <a:gd name="connsiteX2" fmla="*/ 21431 w 66675"/>
                  <a:gd name="connsiteY2" fmla="*/ 77629 h 76200"/>
                  <a:gd name="connsiteX3" fmla="*/ 31909 w 66675"/>
                  <a:gd name="connsiteY3" fmla="*/ 67151 h 76200"/>
                  <a:gd name="connsiteX4" fmla="*/ 30956 w 66675"/>
                  <a:gd name="connsiteY4" fmla="*/ 62389 h 76200"/>
                  <a:gd name="connsiteX5" fmla="*/ 34766 w 66675"/>
                  <a:gd name="connsiteY5" fmla="*/ 62389 h 76200"/>
                  <a:gd name="connsiteX6" fmla="*/ 62389 w 66675"/>
                  <a:gd name="connsiteY6" fmla="*/ 34766 h 76200"/>
                  <a:gd name="connsiteX7" fmla="*/ 34766 w 66675"/>
                  <a:gd name="connsiteY7" fmla="*/ 7144 h 76200"/>
                  <a:gd name="connsiteX8" fmla="*/ 7144 w 66675"/>
                  <a:gd name="connsiteY8" fmla="*/ 34766 h 76200"/>
                  <a:gd name="connsiteX9" fmla="*/ 18574 w 66675"/>
                  <a:gd name="connsiteY9" fmla="*/ 56674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75" h="76200">
                    <a:moveTo>
                      <a:pt x="18574" y="56674"/>
                    </a:moveTo>
                    <a:cubicBezTo>
                      <a:pt x="13811" y="57626"/>
                      <a:pt x="10954" y="62389"/>
                      <a:pt x="10954" y="67151"/>
                    </a:cubicBezTo>
                    <a:cubicBezTo>
                      <a:pt x="10954" y="72866"/>
                      <a:pt x="15716" y="77629"/>
                      <a:pt x="21431" y="77629"/>
                    </a:cubicBezTo>
                    <a:cubicBezTo>
                      <a:pt x="27146" y="77629"/>
                      <a:pt x="31909" y="72866"/>
                      <a:pt x="31909" y="67151"/>
                    </a:cubicBezTo>
                    <a:cubicBezTo>
                      <a:pt x="31909" y="65246"/>
                      <a:pt x="30956" y="63341"/>
                      <a:pt x="30956" y="62389"/>
                    </a:cubicBezTo>
                    <a:cubicBezTo>
                      <a:pt x="31909" y="62389"/>
                      <a:pt x="33814" y="62389"/>
                      <a:pt x="34766" y="62389"/>
                    </a:cubicBezTo>
                    <a:cubicBezTo>
                      <a:pt x="50006" y="62389"/>
                      <a:pt x="62389" y="50006"/>
                      <a:pt x="62389" y="34766"/>
                    </a:cubicBezTo>
                    <a:cubicBezTo>
                      <a:pt x="62389" y="19526"/>
                      <a:pt x="50006" y="7144"/>
                      <a:pt x="34766" y="7144"/>
                    </a:cubicBezTo>
                    <a:cubicBezTo>
                      <a:pt x="19526" y="7144"/>
                      <a:pt x="7144" y="19526"/>
                      <a:pt x="7144" y="34766"/>
                    </a:cubicBezTo>
                    <a:cubicBezTo>
                      <a:pt x="7144" y="44291"/>
                      <a:pt x="11906" y="51911"/>
                      <a:pt x="18574" y="56674"/>
                    </a:cubicBezTo>
                    <a:close/>
                  </a:path>
                </a:pathLst>
              </a:custGeom>
              <a:grpFill/>
              <a:ln w="9525" cap="flat">
                <a:noFill/>
                <a:prstDash val="solid"/>
                <a:miter/>
              </a:ln>
            </p:spPr>
            <p:txBody>
              <a:bodyPr rtlCol="0" anchor="ctr"/>
              <a:lstStyle/>
              <a:p>
                <a:endParaRPr lang="en-US"/>
              </a:p>
            </p:txBody>
          </p:sp>
          <p:sp>
            <p:nvSpPr>
              <p:cNvPr id="141" name="Freeform: Shape 140">
                <a:extLst>
                  <a:ext uri="{FF2B5EF4-FFF2-40B4-BE49-F238E27FC236}">
                    <a16:creationId xmlns:a16="http://schemas.microsoft.com/office/drawing/2014/main" id="{7074AE5E-2655-4AD5-B49B-3CBF0460C7AD}"/>
                  </a:ext>
                </a:extLst>
              </p:cNvPr>
              <p:cNvSpPr/>
              <p:nvPr/>
            </p:nvSpPr>
            <p:spPr>
              <a:xfrm>
                <a:off x="5561171" y="3656171"/>
                <a:ext cx="28575" cy="28575"/>
              </a:xfrm>
              <a:custGeom>
                <a:avLst/>
                <a:gdLst>
                  <a:gd name="connsiteX0" fmla="*/ 17621 w 28575"/>
                  <a:gd name="connsiteY0" fmla="*/ 7144 h 28575"/>
                  <a:gd name="connsiteX1" fmla="*/ 7144 w 28575"/>
                  <a:gd name="connsiteY1" fmla="*/ 17621 h 28575"/>
                  <a:gd name="connsiteX2" fmla="*/ 17621 w 28575"/>
                  <a:gd name="connsiteY2" fmla="*/ 28099 h 28575"/>
                  <a:gd name="connsiteX3" fmla="*/ 28099 w 28575"/>
                  <a:gd name="connsiteY3" fmla="*/ 17621 h 28575"/>
                  <a:gd name="connsiteX4" fmla="*/ 17621 w 28575"/>
                  <a:gd name="connsiteY4" fmla="*/ 7144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7621" y="7144"/>
                    </a:moveTo>
                    <a:cubicBezTo>
                      <a:pt x="11906" y="7144"/>
                      <a:pt x="7144" y="11906"/>
                      <a:pt x="7144" y="17621"/>
                    </a:cubicBezTo>
                    <a:cubicBezTo>
                      <a:pt x="7144" y="23336"/>
                      <a:pt x="11906" y="28099"/>
                      <a:pt x="17621" y="28099"/>
                    </a:cubicBezTo>
                    <a:cubicBezTo>
                      <a:pt x="23336" y="28099"/>
                      <a:pt x="28099" y="23336"/>
                      <a:pt x="28099" y="17621"/>
                    </a:cubicBezTo>
                    <a:cubicBezTo>
                      <a:pt x="27146" y="11906"/>
                      <a:pt x="23336" y="7144"/>
                      <a:pt x="17621" y="7144"/>
                    </a:cubicBezTo>
                    <a:close/>
                  </a:path>
                </a:pathLst>
              </a:custGeom>
              <a:grpFill/>
              <a:ln w="9525" cap="flat">
                <a:noFill/>
                <a:prstDash val="solid"/>
                <a:miter/>
              </a:ln>
            </p:spPr>
            <p:txBody>
              <a:bodyPr rtlCol="0" anchor="ctr"/>
              <a:lstStyle/>
              <a:p>
                <a:endParaRPr lang="en-US"/>
              </a:p>
            </p:txBody>
          </p:sp>
          <p:sp>
            <p:nvSpPr>
              <p:cNvPr id="142" name="Freeform: Shape 141">
                <a:extLst>
                  <a:ext uri="{FF2B5EF4-FFF2-40B4-BE49-F238E27FC236}">
                    <a16:creationId xmlns:a16="http://schemas.microsoft.com/office/drawing/2014/main" id="{C42794B9-B7BF-4A9C-A4EF-876E14808839}"/>
                  </a:ext>
                </a:extLst>
              </p:cNvPr>
              <p:cNvSpPr/>
              <p:nvPr/>
            </p:nvSpPr>
            <p:spPr>
              <a:xfrm>
                <a:off x="5945981" y="3291038"/>
                <a:ext cx="47625" cy="38100"/>
              </a:xfrm>
              <a:custGeom>
                <a:avLst/>
                <a:gdLst>
                  <a:gd name="connsiteX0" fmla="*/ 7144 w 47625"/>
                  <a:gd name="connsiteY0" fmla="*/ 21757 h 38100"/>
                  <a:gd name="connsiteX1" fmla="*/ 23336 w 47625"/>
                  <a:gd name="connsiteY1" fmla="*/ 37950 h 38100"/>
                  <a:gd name="connsiteX2" fmla="*/ 37624 w 47625"/>
                  <a:gd name="connsiteY2" fmla="*/ 28425 h 38100"/>
                  <a:gd name="connsiteX3" fmla="*/ 47149 w 47625"/>
                  <a:gd name="connsiteY3" fmla="*/ 17947 h 38100"/>
                  <a:gd name="connsiteX4" fmla="*/ 36671 w 47625"/>
                  <a:gd name="connsiteY4" fmla="*/ 7470 h 38100"/>
                  <a:gd name="connsiteX5" fmla="*/ 30956 w 47625"/>
                  <a:gd name="connsiteY5" fmla="*/ 9375 h 38100"/>
                  <a:gd name="connsiteX6" fmla="*/ 23336 w 47625"/>
                  <a:gd name="connsiteY6" fmla="*/ 7470 h 38100"/>
                  <a:gd name="connsiteX7" fmla="*/ 7144 w 47625"/>
                  <a:gd name="connsiteY7" fmla="*/ 21757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38100">
                    <a:moveTo>
                      <a:pt x="7144" y="21757"/>
                    </a:moveTo>
                    <a:cubicBezTo>
                      <a:pt x="7144" y="30330"/>
                      <a:pt x="13811" y="37950"/>
                      <a:pt x="23336" y="37950"/>
                    </a:cubicBezTo>
                    <a:cubicBezTo>
                      <a:pt x="30004" y="37950"/>
                      <a:pt x="35719" y="34140"/>
                      <a:pt x="37624" y="28425"/>
                    </a:cubicBezTo>
                    <a:cubicBezTo>
                      <a:pt x="43339" y="27472"/>
                      <a:pt x="47149" y="23662"/>
                      <a:pt x="47149" y="17947"/>
                    </a:cubicBezTo>
                    <a:cubicBezTo>
                      <a:pt x="47149" y="12232"/>
                      <a:pt x="42386" y="7470"/>
                      <a:pt x="36671" y="7470"/>
                    </a:cubicBezTo>
                    <a:cubicBezTo>
                      <a:pt x="34766" y="7470"/>
                      <a:pt x="32861" y="8422"/>
                      <a:pt x="30956" y="9375"/>
                    </a:cubicBezTo>
                    <a:cubicBezTo>
                      <a:pt x="29051" y="8422"/>
                      <a:pt x="26194" y="7470"/>
                      <a:pt x="23336" y="7470"/>
                    </a:cubicBezTo>
                    <a:cubicBezTo>
                      <a:pt x="14764" y="5565"/>
                      <a:pt x="7144" y="12232"/>
                      <a:pt x="7144" y="21757"/>
                    </a:cubicBezTo>
                    <a:close/>
                  </a:path>
                </a:pathLst>
              </a:custGeom>
              <a:grpFill/>
              <a:ln w="9525" cap="flat">
                <a:noFill/>
                <a:prstDash val="solid"/>
                <a:miter/>
              </a:ln>
            </p:spPr>
            <p:txBody>
              <a:bodyPr rtlCol="0" anchor="ctr"/>
              <a:lstStyle/>
              <a:p>
                <a:endParaRPr lang="en-US"/>
              </a:p>
            </p:txBody>
          </p:sp>
          <p:sp>
            <p:nvSpPr>
              <p:cNvPr id="143" name="Freeform: Shape 142">
                <a:extLst>
                  <a:ext uri="{FF2B5EF4-FFF2-40B4-BE49-F238E27FC236}">
                    <a16:creationId xmlns:a16="http://schemas.microsoft.com/office/drawing/2014/main" id="{ECA5C001-B79E-4A68-B6F4-91C0CD156BF0}"/>
                  </a:ext>
                </a:extLst>
              </p:cNvPr>
              <p:cNvSpPr/>
              <p:nvPr/>
            </p:nvSpPr>
            <p:spPr>
              <a:xfrm>
                <a:off x="5442109" y="3480911"/>
                <a:ext cx="19050" cy="19050"/>
              </a:xfrm>
              <a:custGeom>
                <a:avLst/>
                <a:gdLst>
                  <a:gd name="connsiteX0" fmla="*/ 18574 w 19050"/>
                  <a:gd name="connsiteY0" fmla="*/ 12859 h 19050"/>
                  <a:gd name="connsiteX1" fmla="*/ 12859 w 19050"/>
                  <a:gd name="connsiteY1" fmla="*/ 7144 h 19050"/>
                  <a:gd name="connsiteX2" fmla="*/ 7144 w 19050"/>
                  <a:gd name="connsiteY2" fmla="*/ 12859 h 19050"/>
                  <a:gd name="connsiteX3" fmla="*/ 12859 w 19050"/>
                  <a:gd name="connsiteY3" fmla="*/ 18574 h 19050"/>
                  <a:gd name="connsiteX4" fmla="*/ 18574 w 19050"/>
                  <a:gd name="connsiteY4" fmla="*/ 12859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8574" y="12859"/>
                    </a:moveTo>
                    <a:cubicBezTo>
                      <a:pt x="18574" y="10001"/>
                      <a:pt x="15716" y="7144"/>
                      <a:pt x="12859" y="7144"/>
                    </a:cubicBezTo>
                    <a:cubicBezTo>
                      <a:pt x="10001" y="7144"/>
                      <a:pt x="7144" y="10001"/>
                      <a:pt x="7144" y="12859"/>
                    </a:cubicBezTo>
                    <a:cubicBezTo>
                      <a:pt x="7144" y="15716"/>
                      <a:pt x="10001" y="18574"/>
                      <a:pt x="12859" y="18574"/>
                    </a:cubicBezTo>
                    <a:cubicBezTo>
                      <a:pt x="15716" y="18574"/>
                      <a:pt x="18574" y="15716"/>
                      <a:pt x="18574" y="12859"/>
                    </a:cubicBezTo>
                    <a:close/>
                  </a:path>
                </a:pathLst>
              </a:custGeom>
              <a:grpFill/>
              <a:ln w="9525" cap="flat">
                <a:noFill/>
                <a:prstDash val="solid"/>
                <a:miter/>
              </a:ln>
            </p:spPr>
            <p:txBody>
              <a:bodyPr rtlCol="0" anchor="ctr"/>
              <a:lstStyle/>
              <a:p>
                <a:endParaRPr lang="en-US"/>
              </a:p>
            </p:txBody>
          </p:sp>
          <p:sp>
            <p:nvSpPr>
              <p:cNvPr id="144" name="Freeform: Shape 143">
                <a:extLst>
                  <a:ext uri="{FF2B5EF4-FFF2-40B4-BE49-F238E27FC236}">
                    <a16:creationId xmlns:a16="http://schemas.microsoft.com/office/drawing/2014/main" id="{617F78D5-68DE-4EF3-9B18-BF7FC6130097}"/>
                  </a:ext>
                </a:extLst>
              </p:cNvPr>
              <p:cNvSpPr/>
              <p:nvPr/>
            </p:nvSpPr>
            <p:spPr>
              <a:xfrm>
                <a:off x="5835491" y="2999899"/>
                <a:ext cx="47625" cy="38100"/>
              </a:xfrm>
              <a:custGeom>
                <a:avLst/>
                <a:gdLst>
                  <a:gd name="connsiteX0" fmla="*/ 15716 w 47625"/>
                  <a:gd name="connsiteY0" fmla="*/ 15716 h 38100"/>
                  <a:gd name="connsiteX1" fmla="*/ 7144 w 47625"/>
                  <a:gd name="connsiteY1" fmla="*/ 24289 h 38100"/>
                  <a:gd name="connsiteX2" fmla="*/ 15716 w 47625"/>
                  <a:gd name="connsiteY2" fmla="*/ 32861 h 38100"/>
                  <a:gd name="connsiteX3" fmla="*/ 21431 w 47625"/>
                  <a:gd name="connsiteY3" fmla="*/ 30956 h 38100"/>
                  <a:gd name="connsiteX4" fmla="*/ 33814 w 47625"/>
                  <a:gd name="connsiteY4" fmla="*/ 37624 h 38100"/>
                  <a:gd name="connsiteX5" fmla="*/ 49054 w 47625"/>
                  <a:gd name="connsiteY5" fmla="*/ 22384 h 38100"/>
                  <a:gd name="connsiteX6" fmla="*/ 33814 w 47625"/>
                  <a:gd name="connsiteY6" fmla="*/ 7144 h 38100"/>
                  <a:gd name="connsiteX7" fmla="*/ 18574 w 47625"/>
                  <a:gd name="connsiteY7" fmla="*/ 17621 h 38100"/>
                  <a:gd name="connsiteX8" fmla="*/ 15716 w 47625"/>
                  <a:gd name="connsiteY8" fmla="*/ 15716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38100">
                    <a:moveTo>
                      <a:pt x="15716" y="15716"/>
                    </a:moveTo>
                    <a:cubicBezTo>
                      <a:pt x="10954" y="15716"/>
                      <a:pt x="7144" y="19526"/>
                      <a:pt x="7144" y="24289"/>
                    </a:cubicBezTo>
                    <a:cubicBezTo>
                      <a:pt x="7144" y="29051"/>
                      <a:pt x="10954" y="32861"/>
                      <a:pt x="15716" y="32861"/>
                    </a:cubicBezTo>
                    <a:cubicBezTo>
                      <a:pt x="17621" y="32861"/>
                      <a:pt x="19526" y="31909"/>
                      <a:pt x="21431" y="30956"/>
                    </a:cubicBezTo>
                    <a:cubicBezTo>
                      <a:pt x="24289" y="34766"/>
                      <a:pt x="29051" y="37624"/>
                      <a:pt x="33814" y="37624"/>
                    </a:cubicBezTo>
                    <a:cubicBezTo>
                      <a:pt x="42386" y="37624"/>
                      <a:pt x="49054" y="30956"/>
                      <a:pt x="49054" y="22384"/>
                    </a:cubicBezTo>
                    <a:cubicBezTo>
                      <a:pt x="49054" y="13811"/>
                      <a:pt x="42386" y="7144"/>
                      <a:pt x="33814" y="7144"/>
                    </a:cubicBezTo>
                    <a:cubicBezTo>
                      <a:pt x="27146" y="7144"/>
                      <a:pt x="21431" y="11906"/>
                      <a:pt x="18574" y="17621"/>
                    </a:cubicBezTo>
                    <a:cubicBezTo>
                      <a:pt x="17621" y="15716"/>
                      <a:pt x="16669" y="15716"/>
                      <a:pt x="15716" y="15716"/>
                    </a:cubicBezTo>
                    <a:close/>
                  </a:path>
                </a:pathLst>
              </a:custGeom>
              <a:grpFill/>
              <a:ln w="9525" cap="flat">
                <a:noFill/>
                <a:prstDash val="solid"/>
                <a:miter/>
              </a:ln>
            </p:spPr>
            <p:txBody>
              <a:bodyPr rtlCol="0" anchor="ctr"/>
              <a:lstStyle/>
              <a:p>
                <a:endParaRPr lang="en-US"/>
              </a:p>
            </p:txBody>
          </p:sp>
          <p:sp>
            <p:nvSpPr>
              <p:cNvPr id="145" name="Freeform: Shape 144">
                <a:extLst>
                  <a:ext uri="{FF2B5EF4-FFF2-40B4-BE49-F238E27FC236}">
                    <a16:creationId xmlns:a16="http://schemas.microsoft.com/office/drawing/2014/main" id="{A163E4C1-E447-4A7D-A6E3-7B369DE270B7}"/>
                  </a:ext>
                </a:extLst>
              </p:cNvPr>
              <p:cNvSpPr/>
              <p:nvPr/>
            </p:nvSpPr>
            <p:spPr>
              <a:xfrm>
                <a:off x="5748814" y="3547586"/>
                <a:ext cx="57150" cy="57150"/>
              </a:xfrm>
              <a:custGeom>
                <a:avLst/>
                <a:gdLst>
                  <a:gd name="connsiteX0" fmla="*/ 7144 w 57150"/>
                  <a:gd name="connsiteY0" fmla="*/ 30956 h 57150"/>
                  <a:gd name="connsiteX1" fmla="*/ 30956 w 57150"/>
                  <a:gd name="connsiteY1" fmla="*/ 54769 h 57150"/>
                  <a:gd name="connsiteX2" fmla="*/ 54769 w 57150"/>
                  <a:gd name="connsiteY2" fmla="*/ 30956 h 57150"/>
                  <a:gd name="connsiteX3" fmla="*/ 30956 w 57150"/>
                  <a:gd name="connsiteY3" fmla="*/ 7144 h 57150"/>
                  <a:gd name="connsiteX4" fmla="*/ 7144 w 57150"/>
                  <a:gd name="connsiteY4" fmla="*/ 30956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7144" y="30956"/>
                    </a:moveTo>
                    <a:cubicBezTo>
                      <a:pt x="7144" y="44291"/>
                      <a:pt x="17621" y="54769"/>
                      <a:pt x="30956" y="54769"/>
                    </a:cubicBezTo>
                    <a:cubicBezTo>
                      <a:pt x="44291" y="54769"/>
                      <a:pt x="54769" y="44291"/>
                      <a:pt x="54769" y="30956"/>
                    </a:cubicBezTo>
                    <a:cubicBezTo>
                      <a:pt x="54769" y="17621"/>
                      <a:pt x="44291" y="7144"/>
                      <a:pt x="30956" y="7144"/>
                    </a:cubicBezTo>
                    <a:cubicBezTo>
                      <a:pt x="17621" y="7144"/>
                      <a:pt x="7144" y="17621"/>
                      <a:pt x="7144" y="30956"/>
                    </a:cubicBezTo>
                    <a:close/>
                  </a:path>
                </a:pathLst>
              </a:custGeom>
              <a:grpFill/>
              <a:ln w="9525" cap="flat">
                <a:noFill/>
                <a:prstDash val="solid"/>
                <a:miter/>
              </a:ln>
            </p:spPr>
            <p:txBody>
              <a:bodyPr rtlCol="0" anchor="ctr"/>
              <a:lstStyle/>
              <a:p>
                <a:endParaRPr lang="en-US"/>
              </a:p>
            </p:txBody>
          </p:sp>
          <p:sp>
            <p:nvSpPr>
              <p:cNvPr id="146" name="Freeform: Shape 145">
                <a:extLst>
                  <a:ext uri="{FF2B5EF4-FFF2-40B4-BE49-F238E27FC236}">
                    <a16:creationId xmlns:a16="http://schemas.microsoft.com/office/drawing/2014/main" id="{F344D6E2-1683-4BCB-AFB5-02420C030787}"/>
                  </a:ext>
                </a:extLst>
              </p:cNvPr>
              <p:cNvSpPr/>
              <p:nvPr/>
            </p:nvSpPr>
            <p:spPr>
              <a:xfrm>
                <a:off x="6052661" y="2749336"/>
                <a:ext cx="57150" cy="57150"/>
              </a:xfrm>
              <a:custGeom>
                <a:avLst/>
                <a:gdLst>
                  <a:gd name="connsiteX0" fmla="*/ 7144 w 57150"/>
                  <a:gd name="connsiteY0" fmla="*/ 31012 h 57150"/>
                  <a:gd name="connsiteX1" fmla="*/ 30956 w 57150"/>
                  <a:gd name="connsiteY1" fmla="*/ 54824 h 57150"/>
                  <a:gd name="connsiteX2" fmla="*/ 54769 w 57150"/>
                  <a:gd name="connsiteY2" fmla="*/ 31012 h 57150"/>
                  <a:gd name="connsiteX3" fmla="*/ 30956 w 57150"/>
                  <a:gd name="connsiteY3" fmla="*/ 7199 h 57150"/>
                  <a:gd name="connsiteX4" fmla="*/ 7144 w 57150"/>
                  <a:gd name="connsiteY4" fmla="*/ 31012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7144" y="31012"/>
                    </a:moveTo>
                    <a:cubicBezTo>
                      <a:pt x="7144" y="44347"/>
                      <a:pt x="17621" y="54824"/>
                      <a:pt x="30956" y="54824"/>
                    </a:cubicBezTo>
                    <a:cubicBezTo>
                      <a:pt x="44291" y="54824"/>
                      <a:pt x="54769" y="44347"/>
                      <a:pt x="54769" y="31012"/>
                    </a:cubicBezTo>
                    <a:cubicBezTo>
                      <a:pt x="54769" y="17677"/>
                      <a:pt x="44291" y="7199"/>
                      <a:pt x="30956" y="7199"/>
                    </a:cubicBezTo>
                    <a:cubicBezTo>
                      <a:pt x="17621" y="6247"/>
                      <a:pt x="7144" y="17677"/>
                      <a:pt x="7144" y="31012"/>
                    </a:cubicBezTo>
                    <a:close/>
                  </a:path>
                </a:pathLst>
              </a:custGeom>
              <a:grpFill/>
              <a:ln w="9525" cap="flat">
                <a:noFill/>
                <a:prstDash val="solid"/>
                <a:miter/>
              </a:ln>
            </p:spPr>
            <p:txBody>
              <a:bodyPr rtlCol="0" anchor="ctr"/>
              <a:lstStyle/>
              <a:p>
                <a:endParaRPr lang="en-US"/>
              </a:p>
            </p:txBody>
          </p:sp>
          <p:sp>
            <p:nvSpPr>
              <p:cNvPr id="147" name="Freeform: Shape 146">
                <a:extLst>
                  <a:ext uri="{FF2B5EF4-FFF2-40B4-BE49-F238E27FC236}">
                    <a16:creationId xmlns:a16="http://schemas.microsoft.com/office/drawing/2014/main" id="{700609A4-DCEF-48E7-88F0-DC5E92F8471B}"/>
                  </a:ext>
                </a:extLst>
              </p:cNvPr>
              <p:cNvSpPr/>
              <p:nvPr/>
            </p:nvSpPr>
            <p:spPr>
              <a:xfrm>
                <a:off x="5403056" y="3395186"/>
                <a:ext cx="38100" cy="38100"/>
              </a:xfrm>
              <a:custGeom>
                <a:avLst/>
                <a:gdLst>
                  <a:gd name="connsiteX0" fmla="*/ 37624 w 38100"/>
                  <a:gd name="connsiteY0" fmla="*/ 22384 h 38100"/>
                  <a:gd name="connsiteX1" fmla="*/ 22384 w 38100"/>
                  <a:gd name="connsiteY1" fmla="*/ 37624 h 38100"/>
                  <a:gd name="connsiteX2" fmla="*/ 7144 w 38100"/>
                  <a:gd name="connsiteY2" fmla="*/ 22384 h 38100"/>
                  <a:gd name="connsiteX3" fmla="*/ 22384 w 38100"/>
                  <a:gd name="connsiteY3" fmla="*/ 7144 h 38100"/>
                  <a:gd name="connsiteX4" fmla="*/ 37624 w 38100"/>
                  <a:gd name="connsiteY4" fmla="*/ 2238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7624" y="22384"/>
                    </a:moveTo>
                    <a:cubicBezTo>
                      <a:pt x="37624" y="30801"/>
                      <a:pt x="30801" y="37624"/>
                      <a:pt x="22384" y="37624"/>
                    </a:cubicBezTo>
                    <a:cubicBezTo>
                      <a:pt x="13967" y="37624"/>
                      <a:pt x="7144" y="30801"/>
                      <a:pt x="7144" y="22384"/>
                    </a:cubicBezTo>
                    <a:cubicBezTo>
                      <a:pt x="7144" y="13967"/>
                      <a:pt x="13967" y="7144"/>
                      <a:pt x="22384" y="7144"/>
                    </a:cubicBezTo>
                    <a:cubicBezTo>
                      <a:pt x="30801" y="7144"/>
                      <a:pt x="37624" y="13967"/>
                      <a:pt x="37624" y="22384"/>
                    </a:cubicBezTo>
                    <a:close/>
                  </a:path>
                </a:pathLst>
              </a:custGeom>
              <a:grpFill/>
              <a:ln w="9525" cap="flat">
                <a:noFill/>
                <a:prstDash val="solid"/>
                <a:miter/>
              </a:ln>
            </p:spPr>
            <p:txBody>
              <a:bodyPr rtlCol="0" anchor="ctr"/>
              <a:lstStyle/>
              <a:p>
                <a:endParaRPr lang="en-US"/>
              </a:p>
            </p:txBody>
          </p:sp>
          <p:sp>
            <p:nvSpPr>
              <p:cNvPr id="148" name="Freeform: Shape 147">
                <a:extLst>
                  <a:ext uri="{FF2B5EF4-FFF2-40B4-BE49-F238E27FC236}">
                    <a16:creationId xmlns:a16="http://schemas.microsoft.com/office/drawing/2014/main" id="{A842D0B0-40C1-4CD2-BDF8-00EF192D3251}"/>
                  </a:ext>
                </a:extLst>
              </p:cNvPr>
              <p:cNvSpPr/>
              <p:nvPr/>
            </p:nvSpPr>
            <p:spPr>
              <a:xfrm>
                <a:off x="5899309" y="3254216"/>
                <a:ext cx="28575" cy="28575"/>
              </a:xfrm>
              <a:custGeom>
                <a:avLst/>
                <a:gdLst>
                  <a:gd name="connsiteX0" fmla="*/ 16669 w 28575"/>
                  <a:gd name="connsiteY0" fmla="*/ 26194 h 28575"/>
                  <a:gd name="connsiteX1" fmla="*/ 26194 w 28575"/>
                  <a:gd name="connsiteY1" fmla="*/ 16669 h 28575"/>
                  <a:gd name="connsiteX2" fmla="*/ 16669 w 28575"/>
                  <a:gd name="connsiteY2" fmla="*/ 7144 h 28575"/>
                  <a:gd name="connsiteX3" fmla="*/ 7144 w 28575"/>
                  <a:gd name="connsiteY3" fmla="*/ 16669 h 28575"/>
                  <a:gd name="connsiteX4" fmla="*/ 16669 w 28575"/>
                  <a:gd name="connsiteY4" fmla="*/ 26194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6669" y="26194"/>
                    </a:moveTo>
                    <a:cubicBezTo>
                      <a:pt x="22384" y="26194"/>
                      <a:pt x="26194" y="22384"/>
                      <a:pt x="26194" y="16669"/>
                    </a:cubicBezTo>
                    <a:cubicBezTo>
                      <a:pt x="26194" y="10954"/>
                      <a:pt x="22384" y="7144"/>
                      <a:pt x="16669" y="7144"/>
                    </a:cubicBezTo>
                    <a:cubicBezTo>
                      <a:pt x="10954" y="7144"/>
                      <a:pt x="7144" y="10954"/>
                      <a:pt x="7144" y="16669"/>
                    </a:cubicBezTo>
                    <a:cubicBezTo>
                      <a:pt x="7144" y="22384"/>
                      <a:pt x="10954" y="26194"/>
                      <a:pt x="16669" y="26194"/>
                    </a:cubicBezTo>
                    <a:close/>
                  </a:path>
                </a:pathLst>
              </a:custGeom>
              <a:grpFill/>
              <a:ln w="9525" cap="flat">
                <a:noFill/>
                <a:prstDash val="solid"/>
                <a:miter/>
              </a:ln>
            </p:spPr>
            <p:txBody>
              <a:bodyPr rtlCol="0" anchor="ctr"/>
              <a:lstStyle/>
              <a:p>
                <a:endParaRPr lang="en-US"/>
              </a:p>
            </p:txBody>
          </p:sp>
          <p:sp>
            <p:nvSpPr>
              <p:cNvPr id="149" name="Freeform: Shape 148">
                <a:extLst>
                  <a:ext uri="{FF2B5EF4-FFF2-40B4-BE49-F238E27FC236}">
                    <a16:creationId xmlns:a16="http://schemas.microsoft.com/office/drawing/2014/main" id="{A4E4E510-8FCC-4B94-B207-6D3192A74736}"/>
                  </a:ext>
                </a:extLst>
              </p:cNvPr>
              <p:cNvSpPr/>
              <p:nvPr/>
            </p:nvSpPr>
            <p:spPr>
              <a:xfrm>
                <a:off x="5721191" y="4040029"/>
                <a:ext cx="38100" cy="38100"/>
              </a:xfrm>
              <a:custGeom>
                <a:avLst/>
                <a:gdLst>
                  <a:gd name="connsiteX0" fmla="*/ 39529 w 38100"/>
                  <a:gd name="connsiteY0" fmla="*/ 23336 h 38100"/>
                  <a:gd name="connsiteX1" fmla="*/ 23336 w 38100"/>
                  <a:gd name="connsiteY1" fmla="*/ 7144 h 38100"/>
                  <a:gd name="connsiteX2" fmla="*/ 7144 w 38100"/>
                  <a:gd name="connsiteY2" fmla="*/ 23336 h 38100"/>
                  <a:gd name="connsiteX3" fmla="*/ 23336 w 38100"/>
                  <a:gd name="connsiteY3" fmla="*/ 39529 h 38100"/>
                  <a:gd name="connsiteX4" fmla="*/ 39529 w 38100"/>
                  <a:gd name="connsiteY4" fmla="*/ 2333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529" y="23336"/>
                    </a:moveTo>
                    <a:cubicBezTo>
                      <a:pt x="39529" y="14764"/>
                      <a:pt x="31909" y="7144"/>
                      <a:pt x="23336" y="7144"/>
                    </a:cubicBezTo>
                    <a:cubicBezTo>
                      <a:pt x="14764" y="7144"/>
                      <a:pt x="7144" y="14764"/>
                      <a:pt x="7144" y="23336"/>
                    </a:cubicBezTo>
                    <a:cubicBezTo>
                      <a:pt x="7144" y="31909"/>
                      <a:pt x="14764" y="39529"/>
                      <a:pt x="23336" y="39529"/>
                    </a:cubicBezTo>
                    <a:cubicBezTo>
                      <a:pt x="31909" y="39529"/>
                      <a:pt x="39529" y="31909"/>
                      <a:pt x="39529" y="23336"/>
                    </a:cubicBezTo>
                    <a:close/>
                  </a:path>
                </a:pathLst>
              </a:custGeom>
              <a:grpFill/>
              <a:ln w="9525" cap="flat">
                <a:noFill/>
                <a:prstDash val="solid"/>
                <a:miter/>
              </a:ln>
            </p:spPr>
            <p:txBody>
              <a:bodyPr rtlCol="0" anchor="ctr"/>
              <a:lstStyle/>
              <a:p>
                <a:endParaRPr lang="en-US"/>
              </a:p>
            </p:txBody>
          </p:sp>
          <p:sp>
            <p:nvSpPr>
              <p:cNvPr id="150" name="Freeform: Shape 149">
                <a:extLst>
                  <a:ext uri="{FF2B5EF4-FFF2-40B4-BE49-F238E27FC236}">
                    <a16:creationId xmlns:a16="http://schemas.microsoft.com/office/drawing/2014/main" id="{7F2F02FC-DB61-49B5-BA26-4ECA647BA5A6}"/>
                  </a:ext>
                </a:extLst>
              </p:cNvPr>
              <p:cNvSpPr/>
              <p:nvPr/>
            </p:nvSpPr>
            <p:spPr>
              <a:xfrm>
                <a:off x="5850731" y="3401854"/>
                <a:ext cx="28575" cy="28575"/>
              </a:xfrm>
              <a:custGeom>
                <a:avLst/>
                <a:gdLst>
                  <a:gd name="connsiteX0" fmla="*/ 28099 w 28575"/>
                  <a:gd name="connsiteY0" fmla="*/ 17621 h 28575"/>
                  <a:gd name="connsiteX1" fmla="*/ 17621 w 28575"/>
                  <a:gd name="connsiteY1" fmla="*/ 28099 h 28575"/>
                  <a:gd name="connsiteX2" fmla="*/ 7144 w 28575"/>
                  <a:gd name="connsiteY2" fmla="*/ 17621 h 28575"/>
                  <a:gd name="connsiteX3" fmla="*/ 17621 w 28575"/>
                  <a:gd name="connsiteY3" fmla="*/ 7144 h 28575"/>
                  <a:gd name="connsiteX4" fmla="*/ 28099 w 28575"/>
                  <a:gd name="connsiteY4" fmla="*/ 17621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099" y="17621"/>
                    </a:moveTo>
                    <a:cubicBezTo>
                      <a:pt x="28099" y="23408"/>
                      <a:pt x="23408" y="28099"/>
                      <a:pt x="17621" y="28099"/>
                    </a:cubicBezTo>
                    <a:cubicBezTo>
                      <a:pt x="11835" y="28099"/>
                      <a:pt x="7144" y="23408"/>
                      <a:pt x="7144" y="17621"/>
                    </a:cubicBezTo>
                    <a:cubicBezTo>
                      <a:pt x="7144" y="11835"/>
                      <a:pt x="11835" y="7144"/>
                      <a:pt x="17621" y="7144"/>
                    </a:cubicBezTo>
                    <a:cubicBezTo>
                      <a:pt x="23408" y="7144"/>
                      <a:pt x="28099" y="11835"/>
                      <a:pt x="28099" y="17621"/>
                    </a:cubicBezTo>
                    <a:close/>
                  </a:path>
                </a:pathLst>
              </a:custGeom>
              <a:grpFill/>
              <a:ln w="9525" cap="flat">
                <a:noFill/>
                <a:prstDash val="solid"/>
                <a:miter/>
              </a:ln>
            </p:spPr>
            <p:txBody>
              <a:bodyPr rtlCol="0" anchor="ctr"/>
              <a:lstStyle/>
              <a:p>
                <a:endParaRPr lang="en-US"/>
              </a:p>
            </p:txBody>
          </p:sp>
          <p:sp>
            <p:nvSpPr>
              <p:cNvPr id="151" name="Freeform: Shape 150">
                <a:extLst>
                  <a:ext uri="{FF2B5EF4-FFF2-40B4-BE49-F238E27FC236}">
                    <a16:creationId xmlns:a16="http://schemas.microsoft.com/office/drawing/2014/main" id="{58CA6A97-8110-46C6-9413-6571D0C83ABB}"/>
                  </a:ext>
                </a:extLst>
              </p:cNvPr>
              <p:cNvSpPr/>
              <p:nvPr/>
            </p:nvSpPr>
            <p:spPr>
              <a:xfrm>
                <a:off x="5676424" y="2450306"/>
                <a:ext cx="1247775" cy="1857375"/>
              </a:xfrm>
              <a:custGeom>
                <a:avLst/>
                <a:gdLst>
                  <a:gd name="connsiteX0" fmla="*/ 1172051 w 1247775"/>
                  <a:gd name="connsiteY0" fmla="*/ 974884 h 1857375"/>
                  <a:gd name="connsiteX1" fmla="*/ 1037749 w 1247775"/>
                  <a:gd name="connsiteY1" fmla="*/ 787241 h 1857375"/>
                  <a:gd name="connsiteX2" fmla="*/ 1026319 w 1247775"/>
                  <a:gd name="connsiteY2" fmla="*/ 764381 h 1857375"/>
                  <a:gd name="connsiteX3" fmla="*/ 1023461 w 1247775"/>
                  <a:gd name="connsiteY3" fmla="*/ 751046 h 1857375"/>
                  <a:gd name="connsiteX4" fmla="*/ 1024414 w 1247775"/>
                  <a:gd name="connsiteY4" fmla="*/ 750094 h 1857375"/>
                  <a:gd name="connsiteX5" fmla="*/ 1025366 w 1247775"/>
                  <a:gd name="connsiteY5" fmla="*/ 744379 h 1857375"/>
                  <a:gd name="connsiteX6" fmla="*/ 1022509 w 1247775"/>
                  <a:gd name="connsiteY6" fmla="*/ 731996 h 1857375"/>
                  <a:gd name="connsiteX7" fmla="*/ 1037749 w 1247775"/>
                  <a:gd name="connsiteY7" fmla="*/ 609124 h 1857375"/>
                  <a:gd name="connsiteX8" fmla="*/ 1025366 w 1247775"/>
                  <a:gd name="connsiteY8" fmla="*/ 473869 h 1857375"/>
                  <a:gd name="connsiteX9" fmla="*/ 1025366 w 1247775"/>
                  <a:gd name="connsiteY9" fmla="*/ 472916 h 1857375"/>
                  <a:gd name="connsiteX10" fmla="*/ 1023461 w 1247775"/>
                  <a:gd name="connsiteY10" fmla="*/ 463391 h 1857375"/>
                  <a:gd name="connsiteX11" fmla="*/ 1020604 w 1247775"/>
                  <a:gd name="connsiteY11" fmla="*/ 450056 h 1857375"/>
                  <a:gd name="connsiteX12" fmla="*/ 1021556 w 1247775"/>
                  <a:gd name="connsiteY12" fmla="*/ 442436 h 1857375"/>
                  <a:gd name="connsiteX13" fmla="*/ 1014889 w 1247775"/>
                  <a:gd name="connsiteY13" fmla="*/ 424339 h 1857375"/>
                  <a:gd name="connsiteX14" fmla="*/ 1000601 w 1247775"/>
                  <a:gd name="connsiteY14" fmla="*/ 362426 h 1857375"/>
                  <a:gd name="connsiteX15" fmla="*/ 996791 w 1247775"/>
                  <a:gd name="connsiteY15" fmla="*/ 347186 h 1857375"/>
                  <a:gd name="connsiteX16" fmla="*/ 994886 w 1247775"/>
                  <a:gd name="connsiteY16" fmla="*/ 339566 h 1857375"/>
                  <a:gd name="connsiteX17" fmla="*/ 892969 w 1247775"/>
                  <a:gd name="connsiteY17" fmla="*/ 148114 h 1857375"/>
                  <a:gd name="connsiteX18" fmla="*/ 891064 w 1247775"/>
                  <a:gd name="connsiteY18" fmla="*/ 144304 h 1857375"/>
                  <a:gd name="connsiteX19" fmla="*/ 891064 w 1247775"/>
                  <a:gd name="connsiteY19" fmla="*/ 144304 h 1857375"/>
                  <a:gd name="connsiteX20" fmla="*/ 886301 w 1247775"/>
                  <a:gd name="connsiteY20" fmla="*/ 137636 h 1857375"/>
                  <a:gd name="connsiteX21" fmla="*/ 842486 w 1247775"/>
                  <a:gd name="connsiteY21" fmla="*/ 97631 h 1857375"/>
                  <a:gd name="connsiteX22" fmla="*/ 821531 w 1247775"/>
                  <a:gd name="connsiteY22" fmla="*/ 103346 h 1857375"/>
                  <a:gd name="connsiteX23" fmla="*/ 803434 w 1247775"/>
                  <a:gd name="connsiteY23" fmla="*/ 80486 h 1857375"/>
                  <a:gd name="connsiteX24" fmla="*/ 784384 w 1247775"/>
                  <a:gd name="connsiteY24" fmla="*/ 63341 h 1857375"/>
                  <a:gd name="connsiteX25" fmla="*/ 751046 w 1247775"/>
                  <a:gd name="connsiteY25" fmla="*/ 40481 h 1857375"/>
                  <a:gd name="connsiteX26" fmla="*/ 719614 w 1247775"/>
                  <a:gd name="connsiteY26" fmla="*/ 58579 h 1857375"/>
                  <a:gd name="connsiteX27" fmla="*/ 708184 w 1247775"/>
                  <a:gd name="connsiteY27" fmla="*/ 55721 h 1857375"/>
                  <a:gd name="connsiteX28" fmla="*/ 704374 w 1247775"/>
                  <a:gd name="connsiteY28" fmla="*/ 55721 h 1857375"/>
                  <a:gd name="connsiteX29" fmla="*/ 698659 w 1247775"/>
                  <a:gd name="connsiteY29" fmla="*/ 48101 h 1857375"/>
                  <a:gd name="connsiteX30" fmla="*/ 703421 w 1247775"/>
                  <a:gd name="connsiteY30" fmla="*/ 37624 h 1857375"/>
                  <a:gd name="connsiteX31" fmla="*/ 688181 w 1247775"/>
                  <a:gd name="connsiteY31" fmla="*/ 22384 h 1857375"/>
                  <a:gd name="connsiteX32" fmla="*/ 679609 w 1247775"/>
                  <a:gd name="connsiteY32" fmla="*/ 25241 h 1857375"/>
                  <a:gd name="connsiteX33" fmla="*/ 667226 w 1247775"/>
                  <a:gd name="connsiteY33" fmla="*/ 16669 h 1857375"/>
                  <a:gd name="connsiteX34" fmla="*/ 667226 w 1247775"/>
                  <a:gd name="connsiteY34" fmla="*/ 16669 h 1857375"/>
                  <a:gd name="connsiteX35" fmla="*/ 652939 w 1247775"/>
                  <a:gd name="connsiteY35" fmla="*/ 7144 h 1857375"/>
                  <a:gd name="connsiteX36" fmla="*/ 637699 w 1247775"/>
                  <a:gd name="connsiteY36" fmla="*/ 22384 h 1857375"/>
                  <a:gd name="connsiteX37" fmla="*/ 652939 w 1247775"/>
                  <a:gd name="connsiteY37" fmla="*/ 37624 h 1857375"/>
                  <a:gd name="connsiteX38" fmla="*/ 658654 w 1247775"/>
                  <a:gd name="connsiteY38" fmla="*/ 36671 h 1857375"/>
                  <a:gd name="connsiteX39" fmla="*/ 667226 w 1247775"/>
                  <a:gd name="connsiteY39" fmla="*/ 40481 h 1857375"/>
                  <a:gd name="connsiteX40" fmla="*/ 671989 w 1247775"/>
                  <a:gd name="connsiteY40" fmla="*/ 39529 h 1857375"/>
                  <a:gd name="connsiteX41" fmla="*/ 673894 w 1247775"/>
                  <a:gd name="connsiteY41" fmla="*/ 45244 h 1857375"/>
                  <a:gd name="connsiteX42" fmla="*/ 667226 w 1247775"/>
                  <a:gd name="connsiteY42" fmla="*/ 50006 h 1857375"/>
                  <a:gd name="connsiteX43" fmla="*/ 652939 w 1247775"/>
                  <a:gd name="connsiteY43" fmla="*/ 65246 h 1857375"/>
                  <a:gd name="connsiteX44" fmla="*/ 664369 w 1247775"/>
                  <a:gd name="connsiteY44" fmla="*/ 80486 h 1857375"/>
                  <a:gd name="connsiteX45" fmla="*/ 666274 w 1247775"/>
                  <a:gd name="connsiteY45" fmla="*/ 83344 h 1857375"/>
                  <a:gd name="connsiteX46" fmla="*/ 661511 w 1247775"/>
                  <a:gd name="connsiteY46" fmla="*/ 94774 h 1857375"/>
                  <a:gd name="connsiteX47" fmla="*/ 662464 w 1247775"/>
                  <a:gd name="connsiteY47" fmla="*/ 101441 h 1857375"/>
                  <a:gd name="connsiteX48" fmla="*/ 661511 w 1247775"/>
                  <a:gd name="connsiteY48" fmla="*/ 101441 h 1857375"/>
                  <a:gd name="connsiteX49" fmla="*/ 640556 w 1247775"/>
                  <a:gd name="connsiteY49" fmla="*/ 122396 h 1857375"/>
                  <a:gd name="connsiteX50" fmla="*/ 651034 w 1247775"/>
                  <a:gd name="connsiteY50" fmla="*/ 140494 h 1857375"/>
                  <a:gd name="connsiteX51" fmla="*/ 649129 w 1247775"/>
                  <a:gd name="connsiteY51" fmla="*/ 146209 h 1857375"/>
                  <a:gd name="connsiteX52" fmla="*/ 659606 w 1247775"/>
                  <a:gd name="connsiteY52" fmla="*/ 156686 h 1857375"/>
                  <a:gd name="connsiteX53" fmla="*/ 670084 w 1247775"/>
                  <a:gd name="connsiteY53" fmla="*/ 146209 h 1857375"/>
                  <a:gd name="connsiteX54" fmla="*/ 669131 w 1247775"/>
                  <a:gd name="connsiteY54" fmla="*/ 142399 h 1857375"/>
                  <a:gd name="connsiteX55" fmla="*/ 672941 w 1247775"/>
                  <a:gd name="connsiteY55" fmla="*/ 140494 h 1857375"/>
                  <a:gd name="connsiteX56" fmla="*/ 671989 w 1247775"/>
                  <a:gd name="connsiteY56" fmla="*/ 145256 h 1857375"/>
                  <a:gd name="connsiteX57" fmla="*/ 685324 w 1247775"/>
                  <a:gd name="connsiteY57" fmla="*/ 158591 h 1857375"/>
                  <a:gd name="connsiteX58" fmla="*/ 698659 w 1247775"/>
                  <a:gd name="connsiteY58" fmla="*/ 145256 h 1857375"/>
                  <a:gd name="connsiteX59" fmla="*/ 685324 w 1247775"/>
                  <a:gd name="connsiteY59" fmla="*/ 131921 h 1857375"/>
                  <a:gd name="connsiteX60" fmla="*/ 679609 w 1247775"/>
                  <a:gd name="connsiteY60" fmla="*/ 132874 h 1857375"/>
                  <a:gd name="connsiteX61" fmla="*/ 681514 w 1247775"/>
                  <a:gd name="connsiteY61" fmla="*/ 125254 h 1857375"/>
                  <a:gd name="connsiteX62" fmla="*/ 682466 w 1247775"/>
                  <a:gd name="connsiteY62" fmla="*/ 125254 h 1857375"/>
                  <a:gd name="connsiteX63" fmla="*/ 699611 w 1247775"/>
                  <a:gd name="connsiteY63" fmla="*/ 110014 h 1857375"/>
                  <a:gd name="connsiteX64" fmla="*/ 706279 w 1247775"/>
                  <a:gd name="connsiteY64" fmla="*/ 111919 h 1857375"/>
                  <a:gd name="connsiteX65" fmla="*/ 706279 w 1247775"/>
                  <a:gd name="connsiteY65" fmla="*/ 113824 h 1857375"/>
                  <a:gd name="connsiteX66" fmla="*/ 711994 w 1247775"/>
                  <a:gd name="connsiteY66" fmla="*/ 122396 h 1857375"/>
                  <a:gd name="connsiteX67" fmla="*/ 738664 w 1247775"/>
                  <a:gd name="connsiteY67" fmla="*/ 146209 h 1857375"/>
                  <a:gd name="connsiteX68" fmla="*/ 763429 w 1247775"/>
                  <a:gd name="connsiteY68" fmla="*/ 130969 h 1857375"/>
                  <a:gd name="connsiteX69" fmla="*/ 770096 w 1247775"/>
                  <a:gd name="connsiteY69" fmla="*/ 132874 h 1857375"/>
                  <a:gd name="connsiteX70" fmla="*/ 778669 w 1247775"/>
                  <a:gd name="connsiteY70" fmla="*/ 140494 h 1857375"/>
                  <a:gd name="connsiteX71" fmla="*/ 773906 w 1247775"/>
                  <a:gd name="connsiteY71" fmla="*/ 145256 h 1857375"/>
                  <a:gd name="connsiteX72" fmla="*/ 765334 w 1247775"/>
                  <a:gd name="connsiteY72" fmla="*/ 138589 h 1857375"/>
                  <a:gd name="connsiteX73" fmla="*/ 756761 w 1247775"/>
                  <a:gd name="connsiteY73" fmla="*/ 147161 h 1857375"/>
                  <a:gd name="connsiteX74" fmla="*/ 761524 w 1247775"/>
                  <a:gd name="connsiteY74" fmla="*/ 154781 h 1857375"/>
                  <a:gd name="connsiteX75" fmla="*/ 757714 w 1247775"/>
                  <a:gd name="connsiteY75" fmla="*/ 161449 h 1857375"/>
                  <a:gd name="connsiteX76" fmla="*/ 759619 w 1247775"/>
                  <a:gd name="connsiteY76" fmla="*/ 167164 h 1857375"/>
                  <a:gd name="connsiteX77" fmla="*/ 759619 w 1247775"/>
                  <a:gd name="connsiteY77" fmla="*/ 169069 h 1857375"/>
                  <a:gd name="connsiteX78" fmla="*/ 738664 w 1247775"/>
                  <a:gd name="connsiteY78" fmla="*/ 155734 h 1857375"/>
                  <a:gd name="connsiteX79" fmla="*/ 735806 w 1247775"/>
                  <a:gd name="connsiteY79" fmla="*/ 155734 h 1857375"/>
                  <a:gd name="connsiteX80" fmla="*/ 729139 w 1247775"/>
                  <a:gd name="connsiteY80" fmla="*/ 152876 h 1857375"/>
                  <a:gd name="connsiteX81" fmla="*/ 719614 w 1247775"/>
                  <a:gd name="connsiteY81" fmla="*/ 162401 h 1857375"/>
                  <a:gd name="connsiteX82" fmla="*/ 720566 w 1247775"/>
                  <a:gd name="connsiteY82" fmla="*/ 165259 h 1857375"/>
                  <a:gd name="connsiteX83" fmla="*/ 716756 w 1247775"/>
                  <a:gd name="connsiteY83" fmla="*/ 173831 h 1857375"/>
                  <a:gd name="connsiteX84" fmla="*/ 711994 w 1247775"/>
                  <a:gd name="connsiteY84" fmla="*/ 172879 h 1857375"/>
                  <a:gd name="connsiteX85" fmla="*/ 691991 w 1247775"/>
                  <a:gd name="connsiteY85" fmla="*/ 178594 h 1857375"/>
                  <a:gd name="connsiteX86" fmla="*/ 680561 w 1247775"/>
                  <a:gd name="connsiteY86" fmla="*/ 175736 h 1857375"/>
                  <a:gd name="connsiteX87" fmla="*/ 673894 w 1247775"/>
                  <a:gd name="connsiteY87" fmla="*/ 176689 h 1857375"/>
                  <a:gd name="connsiteX88" fmla="*/ 675799 w 1247775"/>
                  <a:gd name="connsiteY88" fmla="*/ 172879 h 1857375"/>
                  <a:gd name="connsiteX89" fmla="*/ 668179 w 1247775"/>
                  <a:gd name="connsiteY89" fmla="*/ 165259 h 1857375"/>
                  <a:gd name="connsiteX90" fmla="*/ 660559 w 1247775"/>
                  <a:gd name="connsiteY90" fmla="*/ 172879 h 1857375"/>
                  <a:gd name="connsiteX91" fmla="*/ 667226 w 1247775"/>
                  <a:gd name="connsiteY91" fmla="*/ 180499 h 1857375"/>
                  <a:gd name="connsiteX92" fmla="*/ 657701 w 1247775"/>
                  <a:gd name="connsiteY92" fmla="*/ 199549 h 1857375"/>
                  <a:gd name="connsiteX93" fmla="*/ 659606 w 1247775"/>
                  <a:gd name="connsiteY93" fmla="*/ 207169 h 1857375"/>
                  <a:gd name="connsiteX94" fmla="*/ 654844 w 1247775"/>
                  <a:gd name="connsiteY94" fmla="*/ 208121 h 1857375"/>
                  <a:gd name="connsiteX95" fmla="*/ 648176 w 1247775"/>
                  <a:gd name="connsiteY95" fmla="*/ 205264 h 1857375"/>
                  <a:gd name="connsiteX96" fmla="*/ 639604 w 1247775"/>
                  <a:gd name="connsiteY96" fmla="*/ 213836 h 1857375"/>
                  <a:gd name="connsiteX97" fmla="*/ 640556 w 1247775"/>
                  <a:gd name="connsiteY97" fmla="*/ 217646 h 1857375"/>
                  <a:gd name="connsiteX98" fmla="*/ 634841 w 1247775"/>
                  <a:gd name="connsiteY98" fmla="*/ 226219 h 1857375"/>
                  <a:gd name="connsiteX99" fmla="*/ 627221 w 1247775"/>
                  <a:gd name="connsiteY99" fmla="*/ 223361 h 1857375"/>
                  <a:gd name="connsiteX100" fmla="*/ 613886 w 1247775"/>
                  <a:gd name="connsiteY100" fmla="*/ 205264 h 1857375"/>
                  <a:gd name="connsiteX101" fmla="*/ 623411 w 1247775"/>
                  <a:gd name="connsiteY101" fmla="*/ 203359 h 1857375"/>
                  <a:gd name="connsiteX102" fmla="*/ 632936 w 1247775"/>
                  <a:gd name="connsiteY102" fmla="*/ 209074 h 1857375"/>
                  <a:gd name="connsiteX103" fmla="*/ 644366 w 1247775"/>
                  <a:gd name="connsiteY103" fmla="*/ 197644 h 1857375"/>
                  <a:gd name="connsiteX104" fmla="*/ 640556 w 1247775"/>
                  <a:gd name="connsiteY104" fmla="*/ 189071 h 1857375"/>
                  <a:gd name="connsiteX105" fmla="*/ 646271 w 1247775"/>
                  <a:gd name="connsiteY105" fmla="*/ 170021 h 1857375"/>
                  <a:gd name="connsiteX106" fmla="*/ 619601 w 1247775"/>
                  <a:gd name="connsiteY106" fmla="*/ 135731 h 1857375"/>
                  <a:gd name="connsiteX107" fmla="*/ 612934 w 1247775"/>
                  <a:gd name="connsiteY107" fmla="*/ 132874 h 1857375"/>
                  <a:gd name="connsiteX108" fmla="*/ 607219 w 1247775"/>
                  <a:gd name="connsiteY108" fmla="*/ 134779 h 1857375"/>
                  <a:gd name="connsiteX109" fmla="*/ 600551 w 1247775"/>
                  <a:gd name="connsiteY109" fmla="*/ 135731 h 1857375"/>
                  <a:gd name="connsiteX110" fmla="*/ 601504 w 1247775"/>
                  <a:gd name="connsiteY110" fmla="*/ 129064 h 1857375"/>
                  <a:gd name="connsiteX111" fmla="*/ 607219 w 1247775"/>
                  <a:gd name="connsiteY111" fmla="*/ 130969 h 1857375"/>
                  <a:gd name="connsiteX112" fmla="*/ 616744 w 1247775"/>
                  <a:gd name="connsiteY112" fmla="*/ 121444 h 1857375"/>
                  <a:gd name="connsiteX113" fmla="*/ 607219 w 1247775"/>
                  <a:gd name="connsiteY113" fmla="*/ 111919 h 1857375"/>
                  <a:gd name="connsiteX114" fmla="*/ 599599 w 1247775"/>
                  <a:gd name="connsiteY114" fmla="*/ 116681 h 1857375"/>
                  <a:gd name="connsiteX115" fmla="*/ 591979 w 1247775"/>
                  <a:gd name="connsiteY115" fmla="*/ 107156 h 1857375"/>
                  <a:gd name="connsiteX116" fmla="*/ 598646 w 1247775"/>
                  <a:gd name="connsiteY116" fmla="*/ 108109 h 1857375"/>
                  <a:gd name="connsiteX117" fmla="*/ 626269 w 1247775"/>
                  <a:gd name="connsiteY117" fmla="*/ 84296 h 1857375"/>
                  <a:gd name="connsiteX118" fmla="*/ 631031 w 1247775"/>
                  <a:gd name="connsiteY118" fmla="*/ 85249 h 1857375"/>
                  <a:gd name="connsiteX119" fmla="*/ 644366 w 1247775"/>
                  <a:gd name="connsiteY119" fmla="*/ 71914 h 1857375"/>
                  <a:gd name="connsiteX120" fmla="*/ 631031 w 1247775"/>
                  <a:gd name="connsiteY120" fmla="*/ 58579 h 1857375"/>
                  <a:gd name="connsiteX121" fmla="*/ 620554 w 1247775"/>
                  <a:gd name="connsiteY121" fmla="*/ 64294 h 1857375"/>
                  <a:gd name="connsiteX122" fmla="*/ 598646 w 1247775"/>
                  <a:gd name="connsiteY122" fmla="*/ 53816 h 1857375"/>
                  <a:gd name="connsiteX123" fmla="*/ 578644 w 1247775"/>
                  <a:gd name="connsiteY123" fmla="*/ 62389 h 1857375"/>
                  <a:gd name="connsiteX124" fmla="*/ 578644 w 1247775"/>
                  <a:gd name="connsiteY124" fmla="*/ 58579 h 1857375"/>
                  <a:gd name="connsiteX125" fmla="*/ 557689 w 1247775"/>
                  <a:gd name="connsiteY125" fmla="*/ 37624 h 1857375"/>
                  <a:gd name="connsiteX126" fmla="*/ 536734 w 1247775"/>
                  <a:gd name="connsiteY126" fmla="*/ 58579 h 1857375"/>
                  <a:gd name="connsiteX127" fmla="*/ 557689 w 1247775"/>
                  <a:gd name="connsiteY127" fmla="*/ 79534 h 1857375"/>
                  <a:gd name="connsiteX128" fmla="*/ 571024 w 1247775"/>
                  <a:gd name="connsiteY128" fmla="*/ 74771 h 1857375"/>
                  <a:gd name="connsiteX129" fmla="*/ 570071 w 1247775"/>
                  <a:gd name="connsiteY129" fmla="*/ 83344 h 1857375"/>
                  <a:gd name="connsiteX130" fmla="*/ 582454 w 1247775"/>
                  <a:gd name="connsiteY130" fmla="*/ 106204 h 1857375"/>
                  <a:gd name="connsiteX131" fmla="*/ 577691 w 1247775"/>
                  <a:gd name="connsiteY131" fmla="*/ 105251 h 1857375"/>
                  <a:gd name="connsiteX132" fmla="*/ 559594 w 1247775"/>
                  <a:gd name="connsiteY132" fmla="*/ 113824 h 1857375"/>
                  <a:gd name="connsiteX133" fmla="*/ 541496 w 1247775"/>
                  <a:gd name="connsiteY133" fmla="*/ 103346 h 1857375"/>
                  <a:gd name="connsiteX134" fmla="*/ 519589 w 1247775"/>
                  <a:gd name="connsiteY134" fmla="*/ 125254 h 1857375"/>
                  <a:gd name="connsiteX135" fmla="*/ 541496 w 1247775"/>
                  <a:gd name="connsiteY135" fmla="*/ 147161 h 1857375"/>
                  <a:gd name="connsiteX136" fmla="*/ 556736 w 1247775"/>
                  <a:gd name="connsiteY136" fmla="*/ 140494 h 1857375"/>
                  <a:gd name="connsiteX137" fmla="*/ 578644 w 1247775"/>
                  <a:gd name="connsiteY137" fmla="*/ 153829 h 1857375"/>
                  <a:gd name="connsiteX138" fmla="*/ 581501 w 1247775"/>
                  <a:gd name="connsiteY138" fmla="*/ 153829 h 1857375"/>
                  <a:gd name="connsiteX139" fmla="*/ 576739 w 1247775"/>
                  <a:gd name="connsiteY139" fmla="*/ 170974 h 1857375"/>
                  <a:gd name="connsiteX140" fmla="*/ 577691 w 1247775"/>
                  <a:gd name="connsiteY140" fmla="*/ 176689 h 1857375"/>
                  <a:gd name="connsiteX141" fmla="*/ 557689 w 1247775"/>
                  <a:gd name="connsiteY141" fmla="*/ 170974 h 1857375"/>
                  <a:gd name="connsiteX142" fmla="*/ 526256 w 1247775"/>
                  <a:gd name="connsiteY142" fmla="*/ 186214 h 1857375"/>
                  <a:gd name="connsiteX143" fmla="*/ 512921 w 1247775"/>
                  <a:gd name="connsiteY143" fmla="*/ 177641 h 1857375"/>
                  <a:gd name="connsiteX144" fmla="*/ 497681 w 1247775"/>
                  <a:gd name="connsiteY144" fmla="*/ 192881 h 1857375"/>
                  <a:gd name="connsiteX145" fmla="*/ 512921 w 1247775"/>
                  <a:gd name="connsiteY145" fmla="*/ 208121 h 1857375"/>
                  <a:gd name="connsiteX146" fmla="*/ 518636 w 1247775"/>
                  <a:gd name="connsiteY146" fmla="*/ 207169 h 1857375"/>
                  <a:gd name="connsiteX147" fmla="*/ 518636 w 1247775"/>
                  <a:gd name="connsiteY147" fmla="*/ 210026 h 1857375"/>
                  <a:gd name="connsiteX148" fmla="*/ 532924 w 1247775"/>
                  <a:gd name="connsiteY148" fmla="*/ 239554 h 1857375"/>
                  <a:gd name="connsiteX149" fmla="*/ 530066 w 1247775"/>
                  <a:gd name="connsiteY149" fmla="*/ 249079 h 1857375"/>
                  <a:gd name="connsiteX150" fmla="*/ 530066 w 1247775"/>
                  <a:gd name="connsiteY150" fmla="*/ 250984 h 1857375"/>
                  <a:gd name="connsiteX151" fmla="*/ 514826 w 1247775"/>
                  <a:gd name="connsiteY151" fmla="*/ 270034 h 1857375"/>
                  <a:gd name="connsiteX152" fmla="*/ 503396 w 1247775"/>
                  <a:gd name="connsiteY152" fmla="*/ 291941 h 1857375"/>
                  <a:gd name="connsiteX153" fmla="*/ 531019 w 1247775"/>
                  <a:gd name="connsiteY153" fmla="*/ 319564 h 1857375"/>
                  <a:gd name="connsiteX154" fmla="*/ 540544 w 1247775"/>
                  <a:gd name="connsiteY154" fmla="*/ 317659 h 1857375"/>
                  <a:gd name="connsiteX155" fmla="*/ 549116 w 1247775"/>
                  <a:gd name="connsiteY155" fmla="*/ 318611 h 1857375"/>
                  <a:gd name="connsiteX156" fmla="*/ 582454 w 1247775"/>
                  <a:gd name="connsiteY156" fmla="*/ 295751 h 1857375"/>
                  <a:gd name="connsiteX157" fmla="*/ 584359 w 1247775"/>
                  <a:gd name="connsiteY157" fmla="*/ 294799 h 1857375"/>
                  <a:gd name="connsiteX158" fmla="*/ 585311 w 1247775"/>
                  <a:gd name="connsiteY158" fmla="*/ 294799 h 1857375"/>
                  <a:gd name="connsiteX159" fmla="*/ 596741 w 1247775"/>
                  <a:gd name="connsiteY159" fmla="*/ 310991 h 1857375"/>
                  <a:gd name="connsiteX160" fmla="*/ 596741 w 1247775"/>
                  <a:gd name="connsiteY160" fmla="*/ 311944 h 1857375"/>
                  <a:gd name="connsiteX161" fmla="*/ 596741 w 1247775"/>
                  <a:gd name="connsiteY161" fmla="*/ 313849 h 1857375"/>
                  <a:gd name="connsiteX162" fmla="*/ 595789 w 1247775"/>
                  <a:gd name="connsiteY162" fmla="*/ 321469 h 1857375"/>
                  <a:gd name="connsiteX163" fmla="*/ 603409 w 1247775"/>
                  <a:gd name="connsiteY163" fmla="*/ 337661 h 1857375"/>
                  <a:gd name="connsiteX164" fmla="*/ 603409 w 1247775"/>
                  <a:gd name="connsiteY164" fmla="*/ 339566 h 1857375"/>
                  <a:gd name="connsiteX165" fmla="*/ 614839 w 1247775"/>
                  <a:gd name="connsiteY165" fmla="*/ 354806 h 1857375"/>
                  <a:gd name="connsiteX166" fmla="*/ 611029 w 1247775"/>
                  <a:gd name="connsiteY166" fmla="*/ 363379 h 1857375"/>
                  <a:gd name="connsiteX167" fmla="*/ 586264 w 1247775"/>
                  <a:gd name="connsiteY167" fmla="*/ 352901 h 1857375"/>
                  <a:gd name="connsiteX168" fmla="*/ 551974 w 1247775"/>
                  <a:gd name="connsiteY168" fmla="*/ 387191 h 1857375"/>
                  <a:gd name="connsiteX169" fmla="*/ 552926 w 1247775"/>
                  <a:gd name="connsiteY169" fmla="*/ 395764 h 1857375"/>
                  <a:gd name="connsiteX170" fmla="*/ 541496 w 1247775"/>
                  <a:gd name="connsiteY170" fmla="*/ 385286 h 1857375"/>
                  <a:gd name="connsiteX171" fmla="*/ 527209 w 1247775"/>
                  <a:gd name="connsiteY171" fmla="*/ 375761 h 1857375"/>
                  <a:gd name="connsiteX172" fmla="*/ 511969 w 1247775"/>
                  <a:gd name="connsiteY172" fmla="*/ 391001 h 1857375"/>
                  <a:gd name="connsiteX173" fmla="*/ 511969 w 1247775"/>
                  <a:gd name="connsiteY173" fmla="*/ 392906 h 1857375"/>
                  <a:gd name="connsiteX174" fmla="*/ 506254 w 1247775"/>
                  <a:gd name="connsiteY174" fmla="*/ 409099 h 1857375"/>
                  <a:gd name="connsiteX175" fmla="*/ 511969 w 1247775"/>
                  <a:gd name="connsiteY175" fmla="*/ 425291 h 1857375"/>
                  <a:gd name="connsiteX176" fmla="*/ 511016 w 1247775"/>
                  <a:gd name="connsiteY176" fmla="*/ 430054 h 1857375"/>
                  <a:gd name="connsiteX177" fmla="*/ 524351 w 1247775"/>
                  <a:gd name="connsiteY177" fmla="*/ 443389 h 1857375"/>
                  <a:gd name="connsiteX178" fmla="*/ 537686 w 1247775"/>
                  <a:gd name="connsiteY178" fmla="*/ 433864 h 1857375"/>
                  <a:gd name="connsiteX179" fmla="*/ 537686 w 1247775"/>
                  <a:gd name="connsiteY179" fmla="*/ 433864 h 1857375"/>
                  <a:gd name="connsiteX180" fmla="*/ 539591 w 1247775"/>
                  <a:gd name="connsiteY180" fmla="*/ 441484 h 1857375"/>
                  <a:gd name="connsiteX181" fmla="*/ 531971 w 1247775"/>
                  <a:gd name="connsiteY181" fmla="*/ 450056 h 1857375"/>
                  <a:gd name="connsiteX182" fmla="*/ 540544 w 1247775"/>
                  <a:gd name="connsiteY182" fmla="*/ 458629 h 1857375"/>
                  <a:gd name="connsiteX183" fmla="*/ 549116 w 1247775"/>
                  <a:gd name="connsiteY183" fmla="*/ 451009 h 1857375"/>
                  <a:gd name="connsiteX184" fmla="*/ 557689 w 1247775"/>
                  <a:gd name="connsiteY184" fmla="*/ 452914 h 1857375"/>
                  <a:gd name="connsiteX185" fmla="*/ 563404 w 1247775"/>
                  <a:gd name="connsiteY185" fmla="*/ 451961 h 1857375"/>
                  <a:gd name="connsiteX186" fmla="*/ 565309 w 1247775"/>
                  <a:gd name="connsiteY186" fmla="*/ 454819 h 1857375"/>
                  <a:gd name="connsiteX187" fmla="*/ 560546 w 1247775"/>
                  <a:gd name="connsiteY187" fmla="*/ 464344 h 1857375"/>
                  <a:gd name="connsiteX188" fmla="*/ 560546 w 1247775"/>
                  <a:gd name="connsiteY188" fmla="*/ 467201 h 1857375"/>
                  <a:gd name="connsiteX189" fmla="*/ 551974 w 1247775"/>
                  <a:gd name="connsiteY189" fmla="*/ 487204 h 1857375"/>
                  <a:gd name="connsiteX190" fmla="*/ 551974 w 1247775"/>
                  <a:gd name="connsiteY190" fmla="*/ 488156 h 1857375"/>
                  <a:gd name="connsiteX191" fmla="*/ 548164 w 1247775"/>
                  <a:gd name="connsiteY191" fmla="*/ 499586 h 1857375"/>
                  <a:gd name="connsiteX192" fmla="*/ 566261 w 1247775"/>
                  <a:gd name="connsiteY192" fmla="*/ 517684 h 1857375"/>
                  <a:gd name="connsiteX193" fmla="*/ 573881 w 1247775"/>
                  <a:gd name="connsiteY193" fmla="*/ 515779 h 1857375"/>
                  <a:gd name="connsiteX194" fmla="*/ 571024 w 1247775"/>
                  <a:gd name="connsiteY194" fmla="*/ 523399 h 1857375"/>
                  <a:gd name="connsiteX195" fmla="*/ 574834 w 1247775"/>
                  <a:gd name="connsiteY195" fmla="*/ 531971 h 1857375"/>
                  <a:gd name="connsiteX196" fmla="*/ 574834 w 1247775"/>
                  <a:gd name="connsiteY196" fmla="*/ 532924 h 1857375"/>
                  <a:gd name="connsiteX197" fmla="*/ 586264 w 1247775"/>
                  <a:gd name="connsiteY197" fmla="*/ 544354 h 1857375"/>
                  <a:gd name="connsiteX198" fmla="*/ 596741 w 1247775"/>
                  <a:gd name="connsiteY198" fmla="*/ 537686 h 1857375"/>
                  <a:gd name="connsiteX199" fmla="*/ 598646 w 1247775"/>
                  <a:gd name="connsiteY199" fmla="*/ 536734 h 1857375"/>
                  <a:gd name="connsiteX200" fmla="*/ 611981 w 1247775"/>
                  <a:gd name="connsiteY200" fmla="*/ 542449 h 1857375"/>
                  <a:gd name="connsiteX201" fmla="*/ 631984 w 1247775"/>
                  <a:gd name="connsiteY201" fmla="*/ 522446 h 1857375"/>
                  <a:gd name="connsiteX202" fmla="*/ 643414 w 1247775"/>
                  <a:gd name="connsiteY202" fmla="*/ 525304 h 1857375"/>
                  <a:gd name="connsiteX203" fmla="*/ 632936 w 1247775"/>
                  <a:gd name="connsiteY203" fmla="*/ 538639 h 1857375"/>
                  <a:gd name="connsiteX204" fmla="*/ 633889 w 1247775"/>
                  <a:gd name="connsiteY204" fmla="*/ 542449 h 1857375"/>
                  <a:gd name="connsiteX205" fmla="*/ 626269 w 1247775"/>
                  <a:gd name="connsiteY205" fmla="*/ 554831 h 1857375"/>
                  <a:gd name="connsiteX206" fmla="*/ 626269 w 1247775"/>
                  <a:gd name="connsiteY206" fmla="*/ 555784 h 1857375"/>
                  <a:gd name="connsiteX207" fmla="*/ 614839 w 1247775"/>
                  <a:gd name="connsiteY207" fmla="*/ 548164 h 1857375"/>
                  <a:gd name="connsiteX208" fmla="*/ 602456 w 1247775"/>
                  <a:gd name="connsiteY208" fmla="*/ 560546 h 1857375"/>
                  <a:gd name="connsiteX209" fmla="*/ 614839 w 1247775"/>
                  <a:gd name="connsiteY209" fmla="*/ 572929 h 1857375"/>
                  <a:gd name="connsiteX210" fmla="*/ 627221 w 1247775"/>
                  <a:gd name="connsiteY210" fmla="*/ 560546 h 1857375"/>
                  <a:gd name="connsiteX211" fmla="*/ 627221 w 1247775"/>
                  <a:gd name="connsiteY211" fmla="*/ 560546 h 1857375"/>
                  <a:gd name="connsiteX212" fmla="*/ 631031 w 1247775"/>
                  <a:gd name="connsiteY212" fmla="*/ 566261 h 1857375"/>
                  <a:gd name="connsiteX213" fmla="*/ 628174 w 1247775"/>
                  <a:gd name="connsiteY213" fmla="*/ 571024 h 1857375"/>
                  <a:gd name="connsiteX214" fmla="*/ 633889 w 1247775"/>
                  <a:gd name="connsiteY214" fmla="*/ 576739 h 1857375"/>
                  <a:gd name="connsiteX215" fmla="*/ 639604 w 1247775"/>
                  <a:gd name="connsiteY215" fmla="*/ 571024 h 1857375"/>
                  <a:gd name="connsiteX216" fmla="*/ 639604 w 1247775"/>
                  <a:gd name="connsiteY216" fmla="*/ 569119 h 1857375"/>
                  <a:gd name="connsiteX217" fmla="*/ 640556 w 1247775"/>
                  <a:gd name="connsiteY217" fmla="*/ 569119 h 1857375"/>
                  <a:gd name="connsiteX218" fmla="*/ 646271 w 1247775"/>
                  <a:gd name="connsiteY218" fmla="*/ 568166 h 1857375"/>
                  <a:gd name="connsiteX219" fmla="*/ 648176 w 1247775"/>
                  <a:gd name="connsiteY219" fmla="*/ 570071 h 1857375"/>
                  <a:gd name="connsiteX220" fmla="*/ 647224 w 1247775"/>
                  <a:gd name="connsiteY220" fmla="*/ 573881 h 1857375"/>
                  <a:gd name="connsiteX221" fmla="*/ 650081 w 1247775"/>
                  <a:gd name="connsiteY221" fmla="*/ 579596 h 1857375"/>
                  <a:gd name="connsiteX222" fmla="*/ 642461 w 1247775"/>
                  <a:gd name="connsiteY222" fmla="*/ 589121 h 1857375"/>
                  <a:gd name="connsiteX223" fmla="*/ 648176 w 1247775"/>
                  <a:gd name="connsiteY223" fmla="*/ 597694 h 1857375"/>
                  <a:gd name="connsiteX224" fmla="*/ 656749 w 1247775"/>
                  <a:gd name="connsiteY224" fmla="*/ 605314 h 1857375"/>
                  <a:gd name="connsiteX225" fmla="*/ 656749 w 1247775"/>
                  <a:gd name="connsiteY225" fmla="*/ 608171 h 1857375"/>
                  <a:gd name="connsiteX226" fmla="*/ 647224 w 1247775"/>
                  <a:gd name="connsiteY226" fmla="*/ 603409 h 1857375"/>
                  <a:gd name="connsiteX227" fmla="*/ 635794 w 1247775"/>
                  <a:gd name="connsiteY227" fmla="*/ 614839 h 1857375"/>
                  <a:gd name="connsiteX228" fmla="*/ 636746 w 1247775"/>
                  <a:gd name="connsiteY228" fmla="*/ 617696 h 1857375"/>
                  <a:gd name="connsiteX229" fmla="*/ 634841 w 1247775"/>
                  <a:gd name="connsiteY229" fmla="*/ 617696 h 1857375"/>
                  <a:gd name="connsiteX230" fmla="*/ 614839 w 1247775"/>
                  <a:gd name="connsiteY230" fmla="*/ 623411 h 1857375"/>
                  <a:gd name="connsiteX231" fmla="*/ 613886 w 1247775"/>
                  <a:gd name="connsiteY231" fmla="*/ 623411 h 1857375"/>
                  <a:gd name="connsiteX232" fmla="*/ 609124 w 1247775"/>
                  <a:gd name="connsiteY232" fmla="*/ 624364 h 1857375"/>
                  <a:gd name="connsiteX233" fmla="*/ 609124 w 1247775"/>
                  <a:gd name="connsiteY233" fmla="*/ 624364 h 1857375"/>
                  <a:gd name="connsiteX234" fmla="*/ 596741 w 1247775"/>
                  <a:gd name="connsiteY234" fmla="*/ 611981 h 1857375"/>
                  <a:gd name="connsiteX235" fmla="*/ 587216 w 1247775"/>
                  <a:gd name="connsiteY235" fmla="*/ 617696 h 1857375"/>
                  <a:gd name="connsiteX236" fmla="*/ 564356 w 1247775"/>
                  <a:gd name="connsiteY236" fmla="*/ 605314 h 1857375"/>
                  <a:gd name="connsiteX237" fmla="*/ 542449 w 1247775"/>
                  <a:gd name="connsiteY237" fmla="*/ 616744 h 1857375"/>
                  <a:gd name="connsiteX238" fmla="*/ 540544 w 1247775"/>
                  <a:gd name="connsiteY238" fmla="*/ 615791 h 1857375"/>
                  <a:gd name="connsiteX239" fmla="*/ 536734 w 1247775"/>
                  <a:gd name="connsiteY239" fmla="*/ 609124 h 1857375"/>
                  <a:gd name="connsiteX240" fmla="*/ 556736 w 1247775"/>
                  <a:gd name="connsiteY240" fmla="*/ 593884 h 1857375"/>
                  <a:gd name="connsiteX241" fmla="*/ 563404 w 1247775"/>
                  <a:gd name="connsiteY241" fmla="*/ 579596 h 1857375"/>
                  <a:gd name="connsiteX242" fmla="*/ 563404 w 1247775"/>
                  <a:gd name="connsiteY242" fmla="*/ 575786 h 1857375"/>
                  <a:gd name="connsiteX243" fmla="*/ 564356 w 1247775"/>
                  <a:gd name="connsiteY243" fmla="*/ 575786 h 1857375"/>
                  <a:gd name="connsiteX244" fmla="*/ 572929 w 1247775"/>
                  <a:gd name="connsiteY244" fmla="*/ 573881 h 1857375"/>
                  <a:gd name="connsiteX245" fmla="*/ 569119 w 1247775"/>
                  <a:gd name="connsiteY245" fmla="*/ 585311 h 1857375"/>
                  <a:gd name="connsiteX246" fmla="*/ 591026 w 1247775"/>
                  <a:gd name="connsiteY246" fmla="*/ 607219 h 1857375"/>
                  <a:gd name="connsiteX247" fmla="*/ 612934 w 1247775"/>
                  <a:gd name="connsiteY247" fmla="*/ 585311 h 1857375"/>
                  <a:gd name="connsiteX248" fmla="*/ 591026 w 1247775"/>
                  <a:gd name="connsiteY248" fmla="*/ 563404 h 1857375"/>
                  <a:gd name="connsiteX249" fmla="*/ 579596 w 1247775"/>
                  <a:gd name="connsiteY249" fmla="*/ 567214 h 1857375"/>
                  <a:gd name="connsiteX250" fmla="*/ 581501 w 1247775"/>
                  <a:gd name="connsiteY250" fmla="*/ 558641 h 1857375"/>
                  <a:gd name="connsiteX251" fmla="*/ 564356 w 1247775"/>
                  <a:gd name="connsiteY251" fmla="*/ 541496 h 1857375"/>
                  <a:gd name="connsiteX252" fmla="*/ 547211 w 1247775"/>
                  <a:gd name="connsiteY252" fmla="*/ 558641 h 1857375"/>
                  <a:gd name="connsiteX253" fmla="*/ 547211 w 1247775"/>
                  <a:gd name="connsiteY253" fmla="*/ 560546 h 1857375"/>
                  <a:gd name="connsiteX254" fmla="*/ 543401 w 1247775"/>
                  <a:gd name="connsiteY254" fmla="*/ 560546 h 1857375"/>
                  <a:gd name="connsiteX255" fmla="*/ 528161 w 1247775"/>
                  <a:gd name="connsiteY255" fmla="*/ 567214 h 1857375"/>
                  <a:gd name="connsiteX256" fmla="*/ 526256 w 1247775"/>
                  <a:gd name="connsiteY256" fmla="*/ 568166 h 1857375"/>
                  <a:gd name="connsiteX257" fmla="*/ 526256 w 1247775"/>
                  <a:gd name="connsiteY257" fmla="*/ 566261 h 1857375"/>
                  <a:gd name="connsiteX258" fmla="*/ 508159 w 1247775"/>
                  <a:gd name="connsiteY258" fmla="*/ 548164 h 1857375"/>
                  <a:gd name="connsiteX259" fmla="*/ 490061 w 1247775"/>
                  <a:gd name="connsiteY259" fmla="*/ 566261 h 1857375"/>
                  <a:gd name="connsiteX260" fmla="*/ 508159 w 1247775"/>
                  <a:gd name="connsiteY260" fmla="*/ 584359 h 1857375"/>
                  <a:gd name="connsiteX261" fmla="*/ 513874 w 1247775"/>
                  <a:gd name="connsiteY261" fmla="*/ 583406 h 1857375"/>
                  <a:gd name="connsiteX262" fmla="*/ 512921 w 1247775"/>
                  <a:gd name="connsiteY262" fmla="*/ 588169 h 1857375"/>
                  <a:gd name="connsiteX263" fmla="*/ 515779 w 1247775"/>
                  <a:gd name="connsiteY263" fmla="*/ 599599 h 1857375"/>
                  <a:gd name="connsiteX264" fmla="*/ 511969 w 1247775"/>
                  <a:gd name="connsiteY264" fmla="*/ 599599 h 1857375"/>
                  <a:gd name="connsiteX265" fmla="*/ 506254 w 1247775"/>
                  <a:gd name="connsiteY265" fmla="*/ 600551 h 1857375"/>
                  <a:gd name="connsiteX266" fmla="*/ 497681 w 1247775"/>
                  <a:gd name="connsiteY266" fmla="*/ 594836 h 1857375"/>
                  <a:gd name="connsiteX267" fmla="*/ 489109 w 1247775"/>
                  <a:gd name="connsiteY267" fmla="*/ 602456 h 1857375"/>
                  <a:gd name="connsiteX268" fmla="*/ 487204 w 1247775"/>
                  <a:gd name="connsiteY268" fmla="*/ 603409 h 1857375"/>
                  <a:gd name="connsiteX269" fmla="*/ 475774 w 1247775"/>
                  <a:gd name="connsiteY269" fmla="*/ 599599 h 1857375"/>
                  <a:gd name="connsiteX270" fmla="*/ 454819 w 1247775"/>
                  <a:gd name="connsiteY270" fmla="*/ 620554 h 1857375"/>
                  <a:gd name="connsiteX271" fmla="*/ 455771 w 1247775"/>
                  <a:gd name="connsiteY271" fmla="*/ 625316 h 1857375"/>
                  <a:gd name="connsiteX272" fmla="*/ 450056 w 1247775"/>
                  <a:gd name="connsiteY272" fmla="*/ 633889 h 1857375"/>
                  <a:gd name="connsiteX273" fmla="*/ 459581 w 1247775"/>
                  <a:gd name="connsiteY273" fmla="*/ 643414 h 1857375"/>
                  <a:gd name="connsiteX274" fmla="*/ 484346 w 1247775"/>
                  <a:gd name="connsiteY274" fmla="*/ 668179 h 1857375"/>
                  <a:gd name="connsiteX275" fmla="*/ 498634 w 1247775"/>
                  <a:gd name="connsiteY275" fmla="*/ 663416 h 1857375"/>
                  <a:gd name="connsiteX276" fmla="*/ 503396 w 1247775"/>
                  <a:gd name="connsiteY276" fmla="*/ 662464 h 1857375"/>
                  <a:gd name="connsiteX277" fmla="*/ 511016 w 1247775"/>
                  <a:gd name="connsiteY277" fmla="*/ 664369 h 1857375"/>
                  <a:gd name="connsiteX278" fmla="*/ 511969 w 1247775"/>
                  <a:gd name="connsiteY278" fmla="*/ 667226 h 1857375"/>
                  <a:gd name="connsiteX279" fmla="*/ 511969 w 1247775"/>
                  <a:gd name="connsiteY279" fmla="*/ 668179 h 1857375"/>
                  <a:gd name="connsiteX280" fmla="*/ 513874 w 1247775"/>
                  <a:gd name="connsiteY280" fmla="*/ 677704 h 1857375"/>
                  <a:gd name="connsiteX281" fmla="*/ 511969 w 1247775"/>
                  <a:gd name="connsiteY281" fmla="*/ 678656 h 1857375"/>
                  <a:gd name="connsiteX282" fmla="*/ 498634 w 1247775"/>
                  <a:gd name="connsiteY282" fmla="*/ 671036 h 1857375"/>
                  <a:gd name="connsiteX283" fmla="*/ 487204 w 1247775"/>
                  <a:gd name="connsiteY283" fmla="*/ 675799 h 1857375"/>
                  <a:gd name="connsiteX284" fmla="*/ 481489 w 1247775"/>
                  <a:gd name="connsiteY284" fmla="*/ 673894 h 1857375"/>
                  <a:gd name="connsiteX285" fmla="*/ 470059 w 1247775"/>
                  <a:gd name="connsiteY285" fmla="*/ 685324 h 1857375"/>
                  <a:gd name="connsiteX286" fmla="*/ 481489 w 1247775"/>
                  <a:gd name="connsiteY286" fmla="*/ 696754 h 1857375"/>
                  <a:gd name="connsiteX287" fmla="*/ 484346 w 1247775"/>
                  <a:gd name="connsiteY287" fmla="*/ 695801 h 1857375"/>
                  <a:gd name="connsiteX288" fmla="*/ 488156 w 1247775"/>
                  <a:gd name="connsiteY288" fmla="*/ 700564 h 1857375"/>
                  <a:gd name="connsiteX289" fmla="*/ 486251 w 1247775"/>
                  <a:gd name="connsiteY289" fmla="*/ 712946 h 1857375"/>
                  <a:gd name="connsiteX290" fmla="*/ 486251 w 1247775"/>
                  <a:gd name="connsiteY290" fmla="*/ 715804 h 1857375"/>
                  <a:gd name="connsiteX291" fmla="*/ 460534 w 1247775"/>
                  <a:gd name="connsiteY291" fmla="*/ 701516 h 1857375"/>
                  <a:gd name="connsiteX292" fmla="*/ 435769 w 1247775"/>
                  <a:gd name="connsiteY292" fmla="*/ 714851 h 1857375"/>
                  <a:gd name="connsiteX293" fmla="*/ 426244 w 1247775"/>
                  <a:gd name="connsiteY293" fmla="*/ 711041 h 1857375"/>
                  <a:gd name="connsiteX294" fmla="*/ 432911 w 1247775"/>
                  <a:gd name="connsiteY294" fmla="*/ 701516 h 1857375"/>
                  <a:gd name="connsiteX295" fmla="*/ 437674 w 1247775"/>
                  <a:gd name="connsiteY295" fmla="*/ 691039 h 1857375"/>
                  <a:gd name="connsiteX296" fmla="*/ 431006 w 1247775"/>
                  <a:gd name="connsiteY296" fmla="*/ 679609 h 1857375"/>
                  <a:gd name="connsiteX297" fmla="*/ 410051 w 1247775"/>
                  <a:gd name="connsiteY297" fmla="*/ 668179 h 1857375"/>
                  <a:gd name="connsiteX298" fmla="*/ 404336 w 1247775"/>
                  <a:gd name="connsiteY298" fmla="*/ 669131 h 1857375"/>
                  <a:gd name="connsiteX299" fmla="*/ 401479 w 1247775"/>
                  <a:gd name="connsiteY299" fmla="*/ 661511 h 1857375"/>
                  <a:gd name="connsiteX300" fmla="*/ 409099 w 1247775"/>
                  <a:gd name="connsiteY300" fmla="*/ 650081 h 1857375"/>
                  <a:gd name="connsiteX301" fmla="*/ 410051 w 1247775"/>
                  <a:gd name="connsiteY301" fmla="*/ 647224 h 1857375"/>
                  <a:gd name="connsiteX302" fmla="*/ 410051 w 1247775"/>
                  <a:gd name="connsiteY302" fmla="*/ 647224 h 1857375"/>
                  <a:gd name="connsiteX303" fmla="*/ 411956 w 1247775"/>
                  <a:gd name="connsiteY303" fmla="*/ 634841 h 1857375"/>
                  <a:gd name="connsiteX304" fmla="*/ 370046 w 1247775"/>
                  <a:gd name="connsiteY304" fmla="*/ 592931 h 1857375"/>
                  <a:gd name="connsiteX305" fmla="*/ 360521 w 1247775"/>
                  <a:gd name="connsiteY305" fmla="*/ 593884 h 1857375"/>
                  <a:gd name="connsiteX306" fmla="*/ 362426 w 1247775"/>
                  <a:gd name="connsiteY306" fmla="*/ 588169 h 1857375"/>
                  <a:gd name="connsiteX307" fmla="*/ 350996 w 1247775"/>
                  <a:gd name="connsiteY307" fmla="*/ 576739 h 1857375"/>
                  <a:gd name="connsiteX308" fmla="*/ 342424 w 1247775"/>
                  <a:gd name="connsiteY308" fmla="*/ 580549 h 1857375"/>
                  <a:gd name="connsiteX309" fmla="*/ 335756 w 1247775"/>
                  <a:gd name="connsiteY309" fmla="*/ 578644 h 1857375"/>
                  <a:gd name="connsiteX310" fmla="*/ 324326 w 1247775"/>
                  <a:gd name="connsiteY310" fmla="*/ 590074 h 1857375"/>
                  <a:gd name="connsiteX311" fmla="*/ 335756 w 1247775"/>
                  <a:gd name="connsiteY311" fmla="*/ 601504 h 1857375"/>
                  <a:gd name="connsiteX312" fmla="*/ 344329 w 1247775"/>
                  <a:gd name="connsiteY312" fmla="*/ 597694 h 1857375"/>
                  <a:gd name="connsiteX313" fmla="*/ 348139 w 1247775"/>
                  <a:gd name="connsiteY313" fmla="*/ 599599 h 1857375"/>
                  <a:gd name="connsiteX314" fmla="*/ 324326 w 1247775"/>
                  <a:gd name="connsiteY314" fmla="*/ 625316 h 1857375"/>
                  <a:gd name="connsiteX315" fmla="*/ 324326 w 1247775"/>
                  <a:gd name="connsiteY315" fmla="*/ 627221 h 1857375"/>
                  <a:gd name="connsiteX316" fmla="*/ 316706 w 1247775"/>
                  <a:gd name="connsiteY316" fmla="*/ 633889 h 1857375"/>
                  <a:gd name="connsiteX317" fmla="*/ 316706 w 1247775"/>
                  <a:gd name="connsiteY317" fmla="*/ 633889 h 1857375"/>
                  <a:gd name="connsiteX318" fmla="*/ 316706 w 1247775"/>
                  <a:gd name="connsiteY318" fmla="*/ 631031 h 1857375"/>
                  <a:gd name="connsiteX319" fmla="*/ 310039 w 1247775"/>
                  <a:gd name="connsiteY319" fmla="*/ 616744 h 1857375"/>
                  <a:gd name="connsiteX320" fmla="*/ 294799 w 1247775"/>
                  <a:gd name="connsiteY320" fmla="*/ 602456 h 1857375"/>
                  <a:gd name="connsiteX321" fmla="*/ 279559 w 1247775"/>
                  <a:gd name="connsiteY321" fmla="*/ 617696 h 1857375"/>
                  <a:gd name="connsiteX322" fmla="*/ 280511 w 1247775"/>
                  <a:gd name="connsiteY322" fmla="*/ 623411 h 1857375"/>
                  <a:gd name="connsiteX323" fmla="*/ 278606 w 1247775"/>
                  <a:gd name="connsiteY323" fmla="*/ 631031 h 1857375"/>
                  <a:gd name="connsiteX324" fmla="*/ 297656 w 1247775"/>
                  <a:gd name="connsiteY324" fmla="*/ 650081 h 1857375"/>
                  <a:gd name="connsiteX325" fmla="*/ 310039 w 1247775"/>
                  <a:gd name="connsiteY325" fmla="*/ 645319 h 1857375"/>
                  <a:gd name="connsiteX326" fmla="*/ 310991 w 1247775"/>
                  <a:gd name="connsiteY326" fmla="*/ 645319 h 1857375"/>
                  <a:gd name="connsiteX327" fmla="*/ 310039 w 1247775"/>
                  <a:gd name="connsiteY327" fmla="*/ 652939 h 1857375"/>
                  <a:gd name="connsiteX328" fmla="*/ 312896 w 1247775"/>
                  <a:gd name="connsiteY328" fmla="*/ 666274 h 1857375"/>
                  <a:gd name="connsiteX329" fmla="*/ 308134 w 1247775"/>
                  <a:gd name="connsiteY329" fmla="*/ 665321 h 1857375"/>
                  <a:gd name="connsiteX330" fmla="*/ 304324 w 1247775"/>
                  <a:gd name="connsiteY330" fmla="*/ 666274 h 1857375"/>
                  <a:gd name="connsiteX331" fmla="*/ 304324 w 1247775"/>
                  <a:gd name="connsiteY331" fmla="*/ 664369 h 1857375"/>
                  <a:gd name="connsiteX332" fmla="*/ 290036 w 1247775"/>
                  <a:gd name="connsiteY332" fmla="*/ 650081 h 1857375"/>
                  <a:gd name="connsiteX333" fmla="*/ 275749 w 1247775"/>
                  <a:gd name="connsiteY333" fmla="*/ 664369 h 1857375"/>
                  <a:gd name="connsiteX334" fmla="*/ 290036 w 1247775"/>
                  <a:gd name="connsiteY334" fmla="*/ 678656 h 1857375"/>
                  <a:gd name="connsiteX335" fmla="*/ 289084 w 1247775"/>
                  <a:gd name="connsiteY335" fmla="*/ 685324 h 1857375"/>
                  <a:gd name="connsiteX336" fmla="*/ 309086 w 1247775"/>
                  <a:gd name="connsiteY336" fmla="*/ 705326 h 1857375"/>
                  <a:gd name="connsiteX337" fmla="*/ 329089 w 1247775"/>
                  <a:gd name="connsiteY337" fmla="*/ 685324 h 1857375"/>
                  <a:gd name="connsiteX338" fmla="*/ 328136 w 1247775"/>
                  <a:gd name="connsiteY338" fmla="*/ 679609 h 1857375"/>
                  <a:gd name="connsiteX339" fmla="*/ 337661 w 1247775"/>
                  <a:gd name="connsiteY339" fmla="*/ 682466 h 1857375"/>
                  <a:gd name="connsiteX340" fmla="*/ 342424 w 1247775"/>
                  <a:gd name="connsiteY340" fmla="*/ 690086 h 1857375"/>
                  <a:gd name="connsiteX341" fmla="*/ 345281 w 1247775"/>
                  <a:gd name="connsiteY341" fmla="*/ 698659 h 1857375"/>
                  <a:gd name="connsiteX342" fmla="*/ 344329 w 1247775"/>
                  <a:gd name="connsiteY342" fmla="*/ 698659 h 1857375"/>
                  <a:gd name="connsiteX343" fmla="*/ 329089 w 1247775"/>
                  <a:gd name="connsiteY343" fmla="*/ 713899 h 1857375"/>
                  <a:gd name="connsiteX344" fmla="*/ 329089 w 1247775"/>
                  <a:gd name="connsiteY344" fmla="*/ 715804 h 1857375"/>
                  <a:gd name="connsiteX345" fmla="*/ 327184 w 1247775"/>
                  <a:gd name="connsiteY345" fmla="*/ 719614 h 1857375"/>
                  <a:gd name="connsiteX346" fmla="*/ 316706 w 1247775"/>
                  <a:gd name="connsiteY346" fmla="*/ 715804 h 1857375"/>
                  <a:gd name="connsiteX347" fmla="*/ 300514 w 1247775"/>
                  <a:gd name="connsiteY347" fmla="*/ 731996 h 1857375"/>
                  <a:gd name="connsiteX348" fmla="*/ 316706 w 1247775"/>
                  <a:gd name="connsiteY348" fmla="*/ 748189 h 1857375"/>
                  <a:gd name="connsiteX349" fmla="*/ 328136 w 1247775"/>
                  <a:gd name="connsiteY349" fmla="*/ 743426 h 1857375"/>
                  <a:gd name="connsiteX350" fmla="*/ 333851 w 1247775"/>
                  <a:gd name="connsiteY350" fmla="*/ 750094 h 1857375"/>
                  <a:gd name="connsiteX351" fmla="*/ 333851 w 1247775"/>
                  <a:gd name="connsiteY351" fmla="*/ 750094 h 1857375"/>
                  <a:gd name="connsiteX352" fmla="*/ 324326 w 1247775"/>
                  <a:gd name="connsiteY352" fmla="*/ 759619 h 1857375"/>
                  <a:gd name="connsiteX353" fmla="*/ 333851 w 1247775"/>
                  <a:gd name="connsiteY353" fmla="*/ 769144 h 1857375"/>
                  <a:gd name="connsiteX354" fmla="*/ 341471 w 1247775"/>
                  <a:gd name="connsiteY354" fmla="*/ 765334 h 1857375"/>
                  <a:gd name="connsiteX355" fmla="*/ 339566 w 1247775"/>
                  <a:gd name="connsiteY355" fmla="*/ 774859 h 1857375"/>
                  <a:gd name="connsiteX356" fmla="*/ 342424 w 1247775"/>
                  <a:gd name="connsiteY356" fmla="*/ 788194 h 1857375"/>
                  <a:gd name="connsiteX357" fmla="*/ 332899 w 1247775"/>
                  <a:gd name="connsiteY357" fmla="*/ 794861 h 1857375"/>
                  <a:gd name="connsiteX358" fmla="*/ 332899 w 1247775"/>
                  <a:gd name="connsiteY358" fmla="*/ 792956 h 1857375"/>
                  <a:gd name="connsiteX359" fmla="*/ 313849 w 1247775"/>
                  <a:gd name="connsiteY359" fmla="*/ 772954 h 1857375"/>
                  <a:gd name="connsiteX360" fmla="*/ 309086 w 1247775"/>
                  <a:gd name="connsiteY360" fmla="*/ 772001 h 1857375"/>
                  <a:gd name="connsiteX361" fmla="*/ 299561 w 1247775"/>
                  <a:gd name="connsiteY361" fmla="*/ 777716 h 1857375"/>
                  <a:gd name="connsiteX362" fmla="*/ 292894 w 1247775"/>
                  <a:gd name="connsiteY362" fmla="*/ 792956 h 1857375"/>
                  <a:gd name="connsiteX363" fmla="*/ 312896 w 1247775"/>
                  <a:gd name="connsiteY363" fmla="*/ 812959 h 1857375"/>
                  <a:gd name="connsiteX364" fmla="*/ 328136 w 1247775"/>
                  <a:gd name="connsiteY364" fmla="*/ 806291 h 1857375"/>
                  <a:gd name="connsiteX365" fmla="*/ 328136 w 1247775"/>
                  <a:gd name="connsiteY365" fmla="*/ 808196 h 1857375"/>
                  <a:gd name="connsiteX366" fmla="*/ 331946 w 1247775"/>
                  <a:gd name="connsiteY366" fmla="*/ 820579 h 1857375"/>
                  <a:gd name="connsiteX367" fmla="*/ 314801 w 1247775"/>
                  <a:gd name="connsiteY367" fmla="*/ 844391 h 1857375"/>
                  <a:gd name="connsiteX368" fmla="*/ 340519 w 1247775"/>
                  <a:gd name="connsiteY368" fmla="*/ 870109 h 1857375"/>
                  <a:gd name="connsiteX369" fmla="*/ 351949 w 1247775"/>
                  <a:gd name="connsiteY369" fmla="*/ 867251 h 1857375"/>
                  <a:gd name="connsiteX370" fmla="*/ 353854 w 1247775"/>
                  <a:gd name="connsiteY370" fmla="*/ 867251 h 1857375"/>
                  <a:gd name="connsiteX371" fmla="*/ 352901 w 1247775"/>
                  <a:gd name="connsiteY371" fmla="*/ 871061 h 1857375"/>
                  <a:gd name="connsiteX372" fmla="*/ 367189 w 1247775"/>
                  <a:gd name="connsiteY372" fmla="*/ 885349 h 1857375"/>
                  <a:gd name="connsiteX373" fmla="*/ 368141 w 1247775"/>
                  <a:gd name="connsiteY373" fmla="*/ 885349 h 1857375"/>
                  <a:gd name="connsiteX374" fmla="*/ 371951 w 1247775"/>
                  <a:gd name="connsiteY374" fmla="*/ 890111 h 1857375"/>
                  <a:gd name="connsiteX375" fmla="*/ 372904 w 1247775"/>
                  <a:gd name="connsiteY375" fmla="*/ 892016 h 1857375"/>
                  <a:gd name="connsiteX376" fmla="*/ 367189 w 1247775"/>
                  <a:gd name="connsiteY376" fmla="*/ 890111 h 1857375"/>
                  <a:gd name="connsiteX377" fmla="*/ 358616 w 1247775"/>
                  <a:gd name="connsiteY377" fmla="*/ 898684 h 1857375"/>
                  <a:gd name="connsiteX378" fmla="*/ 367189 w 1247775"/>
                  <a:gd name="connsiteY378" fmla="*/ 907256 h 1857375"/>
                  <a:gd name="connsiteX379" fmla="*/ 375761 w 1247775"/>
                  <a:gd name="connsiteY379" fmla="*/ 898684 h 1857375"/>
                  <a:gd name="connsiteX380" fmla="*/ 373856 w 1247775"/>
                  <a:gd name="connsiteY380" fmla="*/ 892969 h 1857375"/>
                  <a:gd name="connsiteX381" fmla="*/ 386239 w 1247775"/>
                  <a:gd name="connsiteY381" fmla="*/ 899636 h 1857375"/>
                  <a:gd name="connsiteX382" fmla="*/ 386239 w 1247775"/>
                  <a:gd name="connsiteY382" fmla="*/ 899636 h 1857375"/>
                  <a:gd name="connsiteX383" fmla="*/ 417671 w 1247775"/>
                  <a:gd name="connsiteY383" fmla="*/ 920591 h 1857375"/>
                  <a:gd name="connsiteX384" fmla="*/ 417671 w 1247775"/>
                  <a:gd name="connsiteY384" fmla="*/ 920591 h 1857375"/>
                  <a:gd name="connsiteX385" fmla="*/ 425291 w 1247775"/>
                  <a:gd name="connsiteY385" fmla="*/ 926306 h 1857375"/>
                  <a:gd name="connsiteX386" fmla="*/ 431006 w 1247775"/>
                  <a:gd name="connsiteY386" fmla="*/ 923449 h 1857375"/>
                  <a:gd name="connsiteX387" fmla="*/ 435769 w 1247775"/>
                  <a:gd name="connsiteY387" fmla="*/ 924401 h 1857375"/>
                  <a:gd name="connsiteX388" fmla="*/ 447199 w 1247775"/>
                  <a:gd name="connsiteY388" fmla="*/ 916781 h 1857375"/>
                  <a:gd name="connsiteX389" fmla="*/ 450056 w 1247775"/>
                  <a:gd name="connsiteY389" fmla="*/ 917734 h 1857375"/>
                  <a:gd name="connsiteX390" fmla="*/ 449104 w 1247775"/>
                  <a:gd name="connsiteY390" fmla="*/ 922496 h 1857375"/>
                  <a:gd name="connsiteX391" fmla="*/ 454819 w 1247775"/>
                  <a:gd name="connsiteY391" fmla="*/ 935831 h 1857375"/>
                  <a:gd name="connsiteX392" fmla="*/ 454819 w 1247775"/>
                  <a:gd name="connsiteY392" fmla="*/ 935831 h 1857375"/>
                  <a:gd name="connsiteX393" fmla="*/ 449104 w 1247775"/>
                  <a:gd name="connsiteY393" fmla="*/ 936784 h 1857375"/>
                  <a:gd name="connsiteX394" fmla="*/ 438626 w 1247775"/>
                  <a:gd name="connsiteY394" fmla="*/ 934879 h 1857375"/>
                  <a:gd name="connsiteX395" fmla="*/ 415766 w 1247775"/>
                  <a:gd name="connsiteY395" fmla="*/ 942499 h 1857375"/>
                  <a:gd name="connsiteX396" fmla="*/ 415766 w 1247775"/>
                  <a:gd name="connsiteY396" fmla="*/ 939641 h 1857375"/>
                  <a:gd name="connsiteX397" fmla="*/ 401479 w 1247775"/>
                  <a:gd name="connsiteY397" fmla="*/ 925354 h 1857375"/>
                  <a:gd name="connsiteX398" fmla="*/ 387191 w 1247775"/>
                  <a:gd name="connsiteY398" fmla="*/ 939641 h 1857375"/>
                  <a:gd name="connsiteX399" fmla="*/ 401479 w 1247775"/>
                  <a:gd name="connsiteY399" fmla="*/ 953929 h 1857375"/>
                  <a:gd name="connsiteX400" fmla="*/ 405289 w 1247775"/>
                  <a:gd name="connsiteY400" fmla="*/ 953929 h 1857375"/>
                  <a:gd name="connsiteX401" fmla="*/ 399574 w 1247775"/>
                  <a:gd name="connsiteY401" fmla="*/ 973931 h 1857375"/>
                  <a:gd name="connsiteX402" fmla="*/ 392906 w 1247775"/>
                  <a:gd name="connsiteY402" fmla="*/ 972979 h 1857375"/>
                  <a:gd name="connsiteX403" fmla="*/ 359569 w 1247775"/>
                  <a:gd name="connsiteY403" fmla="*/ 1006316 h 1857375"/>
                  <a:gd name="connsiteX404" fmla="*/ 392906 w 1247775"/>
                  <a:gd name="connsiteY404" fmla="*/ 1039654 h 1857375"/>
                  <a:gd name="connsiteX405" fmla="*/ 404336 w 1247775"/>
                  <a:gd name="connsiteY405" fmla="*/ 1037749 h 1857375"/>
                  <a:gd name="connsiteX406" fmla="*/ 409099 w 1247775"/>
                  <a:gd name="connsiteY406" fmla="*/ 1038701 h 1857375"/>
                  <a:gd name="connsiteX407" fmla="*/ 418624 w 1247775"/>
                  <a:gd name="connsiteY407" fmla="*/ 1029176 h 1857375"/>
                  <a:gd name="connsiteX408" fmla="*/ 418624 w 1247775"/>
                  <a:gd name="connsiteY408" fmla="*/ 1028224 h 1857375"/>
                  <a:gd name="connsiteX409" fmla="*/ 421481 w 1247775"/>
                  <a:gd name="connsiteY409" fmla="*/ 1024414 h 1857375"/>
                  <a:gd name="connsiteX410" fmla="*/ 424339 w 1247775"/>
                  <a:gd name="connsiteY410" fmla="*/ 1026319 h 1857375"/>
                  <a:gd name="connsiteX411" fmla="*/ 432911 w 1247775"/>
                  <a:gd name="connsiteY411" fmla="*/ 1035844 h 1857375"/>
                  <a:gd name="connsiteX412" fmla="*/ 429101 w 1247775"/>
                  <a:gd name="connsiteY412" fmla="*/ 1042511 h 1857375"/>
                  <a:gd name="connsiteX413" fmla="*/ 436721 w 1247775"/>
                  <a:gd name="connsiteY413" fmla="*/ 1050131 h 1857375"/>
                  <a:gd name="connsiteX414" fmla="*/ 444341 w 1247775"/>
                  <a:gd name="connsiteY414" fmla="*/ 1042511 h 1857375"/>
                  <a:gd name="connsiteX415" fmla="*/ 442436 w 1247775"/>
                  <a:gd name="connsiteY415" fmla="*/ 1037749 h 1857375"/>
                  <a:gd name="connsiteX416" fmla="*/ 447199 w 1247775"/>
                  <a:gd name="connsiteY416" fmla="*/ 1036796 h 1857375"/>
                  <a:gd name="connsiteX417" fmla="*/ 452914 w 1247775"/>
                  <a:gd name="connsiteY417" fmla="*/ 1042511 h 1857375"/>
                  <a:gd name="connsiteX418" fmla="*/ 447199 w 1247775"/>
                  <a:gd name="connsiteY418" fmla="*/ 1048226 h 1857375"/>
                  <a:gd name="connsiteX419" fmla="*/ 447199 w 1247775"/>
                  <a:gd name="connsiteY419" fmla="*/ 1048226 h 1857375"/>
                  <a:gd name="connsiteX420" fmla="*/ 424339 w 1247775"/>
                  <a:gd name="connsiteY420" fmla="*/ 1071086 h 1857375"/>
                  <a:gd name="connsiteX421" fmla="*/ 425291 w 1247775"/>
                  <a:gd name="connsiteY421" fmla="*/ 1076801 h 1857375"/>
                  <a:gd name="connsiteX422" fmla="*/ 412909 w 1247775"/>
                  <a:gd name="connsiteY422" fmla="*/ 1072991 h 1857375"/>
                  <a:gd name="connsiteX423" fmla="*/ 389096 w 1247775"/>
                  <a:gd name="connsiteY423" fmla="*/ 1096804 h 1857375"/>
                  <a:gd name="connsiteX424" fmla="*/ 389096 w 1247775"/>
                  <a:gd name="connsiteY424" fmla="*/ 1098709 h 1857375"/>
                  <a:gd name="connsiteX425" fmla="*/ 389096 w 1247775"/>
                  <a:gd name="connsiteY425" fmla="*/ 1098709 h 1857375"/>
                  <a:gd name="connsiteX426" fmla="*/ 377666 w 1247775"/>
                  <a:gd name="connsiteY426" fmla="*/ 1091089 h 1857375"/>
                  <a:gd name="connsiteX427" fmla="*/ 371951 w 1247775"/>
                  <a:gd name="connsiteY427" fmla="*/ 1092994 h 1857375"/>
                  <a:gd name="connsiteX428" fmla="*/ 374809 w 1247775"/>
                  <a:gd name="connsiteY428" fmla="*/ 1082516 h 1857375"/>
                  <a:gd name="connsiteX429" fmla="*/ 371951 w 1247775"/>
                  <a:gd name="connsiteY429" fmla="*/ 1072039 h 1857375"/>
                  <a:gd name="connsiteX430" fmla="*/ 375761 w 1247775"/>
                  <a:gd name="connsiteY430" fmla="*/ 1072991 h 1857375"/>
                  <a:gd name="connsiteX431" fmla="*/ 388144 w 1247775"/>
                  <a:gd name="connsiteY431" fmla="*/ 1060609 h 1857375"/>
                  <a:gd name="connsiteX432" fmla="*/ 388144 w 1247775"/>
                  <a:gd name="connsiteY432" fmla="*/ 1060609 h 1857375"/>
                  <a:gd name="connsiteX433" fmla="*/ 390049 w 1247775"/>
                  <a:gd name="connsiteY433" fmla="*/ 1054894 h 1857375"/>
                  <a:gd name="connsiteX434" fmla="*/ 381476 w 1247775"/>
                  <a:gd name="connsiteY434" fmla="*/ 1046321 h 1857375"/>
                  <a:gd name="connsiteX435" fmla="*/ 375761 w 1247775"/>
                  <a:gd name="connsiteY435" fmla="*/ 1048226 h 1857375"/>
                  <a:gd name="connsiteX436" fmla="*/ 374809 w 1247775"/>
                  <a:gd name="connsiteY436" fmla="*/ 1048226 h 1857375"/>
                  <a:gd name="connsiteX437" fmla="*/ 362426 w 1247775"/>
                  <a:gd name="connsiteY437" fmla="*/ 1060609 h 1857375"/>
                  <a:gd name="connsiteX438" fmla="*/ 363379 w 1247775"/>
                  <a:gd name="connsiteY438" fmla="*/ 1065371 h 1857375"/>
                  <a:gd name="connsiteX439" fmla="*/ 353854 w 1247775"/>
                  <a:gd name="connsiteY439" fmla="*/ 1062514 h 1857375"/>
                  <a:gd name="connsiteX440" fmla="*/ 333851 w 1247775"/>
                  <a:gd name="connsiteY440" fmla="*/ 1082516 h 1857375"/>
                  <a:gd name="connsiteX441" fmla="*/ 338614 w 1247775"/>
                  <a:gd name="connsiteY441" fmla="*/ 1094899 h 1857375"/>
                  <a:gd name="connsiteX442" fmla="*/ 336709 w 1247775"/>
                  <a:gd name="connsiteY442" fmla="*/ 1094899 h 1857375"/>
                  <a:gd name="connsiteX443" fmla="*/ 327184 w 1247775"/>
                  <a:gd name="connsiteY443" fmla="*/ 1104424 h 1857375"/>
                  <a:gd name="connsiteX444" fmla="*/ 328136 w 1247775"/>
                  <a:gd name="connsiteY444" fmla="*/ 1107281 h 1857375"/>
                  <a:gd name="connsiteX445" fmla="*/ 324326 w 1247775"/>
                  <a:gd name="connsiteY445" fmla="*/ 1108234 h 1857375"/>
                  <a:gd name="connsiteX446" fmla="*/ 324326 w 1247775"/>
                  <a:gd name="connsiteY446" fmla="*/ 1108234 h 1857375"/>
                  <a:gd name="connsiteX447" fmla="*/ 323374 w 1247775"/>
                  <a:gd name="connsiteY447" fmla="*/ 1108234 h 1857375"/>
                  <a:gd name="connsiteX448" fmla="*/ 326231 w 1247775"/>
                  <a:gd name="connsiteY448" fmla="*/ 1100614 h 1857375"/>
                  <a:gd name="connsiteX449" fmla="*/ 311944 w 1247775"/>
                  <a:gd name="connsiteY449" fmla="*/ 1086326 h 1857375"/>
                  <a:gd name="connsiteX450" fmla="*/ 307181 w 1247775"/>
                  <a:gd name="connsiteY450" fmla="*/ 1087279 h 1857375"/>
                  <a:gd name="connsiteX451" fmla="*/ 310991 w 1247775"/>
                  <a:gd name="connsiteY451" fmla="*/ 1080611 h 1857375"/>
                  <a:gd name="connsiteX452" fmla="*/ 312896 w 1247775"/>
                  <a:gd name="connsiteY452" fmla="*/ 1080611 h 1857375"/>
                  <a:gd name="connsiteX453" fmla="*/ 343376 w 1247775"/>
                  <a:gd name="connsiteY453" fmla="*/ 1050131 h 1857375"/>
                  <a:gd name="connsiteX454" fmla="*/ 342424 w 1247775"/>
                  <a:gd name="connsiteY454" fmla="*/ 1044416 h 1857375"/>
                  <a:gd name="connsiteX455" fmla="*/ 350996 w 1247775"/>
                  <a:gd name="connsiteY455" fmla="*/ 1032034 h 1857375"/>
                  <a:gd name="connsiteX456" fmla="*/ 337661 w 1247775"/>
                  <a:gd name="connsiteY456" fmla="*/ 1018699 h 1857375"/>
                  <a:gd name="connsiteX457" fmla="*/ 327184 w 1247775"/>
                  <a:gd name="connsiteY457" fmla="*/ 1023461 h 1857375"/>
                  <a:gd name="connsiteX458" fmla="*/ 322421 w 1247775"/>
                  <a:gd name="connsiteY458" fmla="*/ 1021556 h 1857375"/>
                  <a:gd name="connsiteX459" fmla="*/ 322421 w 1247775"/>
                  <a:gd name="connsiteY459" fmla="*/ 1020604 h 1857375"/>
                  <a:gd name="connsiteX460" fmla="*/ 330041 w 1247775"/>
                  <a:gd name="connsiteY460" fmla="*/ 1005364 h 1857375"/>
                  <a:gd name="connsiteX461" fmla="*/ 312896 w 1247775"/>
                  <a:gd name="connsiteY461" fmla="*/ 987266 h 1857375"/>
                  <a:gd name="connsiteX462" fmla="*/ 317659 w 1247775"/>
                  <a:gd name="connsiteY462" fmla="*/ 978694 h 1857375"/>
                  <a:gd name="connsiteX463" fmla="*/ 328136 w 1247775"/>
                  <a:gd name="connsiteY463" fmla="*/ 971074 h 1857375"/>
                  <a:gd name="connsiteX464" fmla="*/ 345281 w 1247775"/>
                  <a:gd name="connsiteY464" fmla="*/ 976789 h 1857375"/>
                  <a:gd name="connsiteX465" fmla="*/ 374809 w 1247775"/>
                  <a:gd name="connsiteY465" fmla="*/ 947261 h 1857375"/>
                  <a:gd name="connsiteX466" fmla="*/ 350996 w 1247775"/>
                  <a:gd name="connsiteY466" fmla="*/ 918686 h 1857375"/>
                  <a:gd name="connsiteX467" fmla="*/ 350044 w 1247775"/>
                  <a:gd name="connsiteY467" fmla="*/ 915829 h 1857375"/>
                  <a:gd name="connsiteX468" fmla="*/ 357664 w 1247775"/>
                  <a:gd name="connsiteY468" fmla="*/ 903446 h 1857375"/>
                  <a:gd name="connsiteX469" fmla="*/ 344329 w 1247775"/>
                  <a:gd name="connsiteY469" fmla="*/ 890111 h 1857375"/>
                  <a:gd name="connsiteX470" fmla="*/ 330994 w 1247775"/>
                  <a:gd name="connsiteY470" fmla="*/ 903446 h 1857375"/>
                  <a:gd name="connsiteX471" fmla="*/ 331946 w 1247775"/>
                  <a:gd name="connsiteY471" fmla="*/ 908209 h 1857375"/>
                  <a:gd name="connsiteX472" fmla="*/ 323374 w 1247775"/>
                  <a:gd name="connsiteY472" fmla="*/ 918686 h 1857375"/>
                  <a:gd name="connsiteX473" fmla="*/ 304324 w 1247775"/>
                  <a:gd name="connsiteY473" fmla="*/ 912971 h 1857375"/>
                  <a:gd name="connsiteX474" fmla="*/ 281464 w 1247775"/>
                  <a:gd name="connsiteY474" fmla="*/ 921544 h 1857375"/>
                  <a:gd name="connsiteX475" fmla="*/ 281464 w 1247775"/>
                  <a:gd name="connsiteY475" fmla="*/ 920591 h 1857375"/>
                  <a:gd name="connsiteX476" fmla="*/ 256699 w 1247775"/>
                  <a:gd name="connsiteY476" fmla="*/ 895826 h 1857375"/>
                  <a:gd name="connsiteX477" fmla="*/ 251936 w 1247775"/>
                  <a:gd name="connsiteY477" fmla="*/ 896779 h 1857375"/>
                  <a:gd name="connsiteX478" fmla="*/ 234791 w 1247775"/>
                  <a:gd name="connsiteY478" fmla="*/ 872966 h 1857375"/>
                  <a:gd name="connsiteX479" fmla="*/ 234791 w 1247775"/>
                  <a:gd name="connsiteY479" fmla="*/ 872966 h 1857375"/>
                  <a:gd name="connsiteX480" fmla="*/ 250984 w 1247775"/>
                  <a:gd name="connsiteY480" fmla="*/ 856774 h 1857375"/>
                  <a:gd name="connsiteX481" fmla="*/ 234791 w 1247775"/>
                  <a:gd name="connsiteY481" fmla="*/ 840581 h 1857375"/>
                  <a:gd name="connsiteX482" fmla="*/ 218599 w 1247775"/>
                  <a:gd name="connsiteY482" fmla="*/ 856774 h 1857375"/>
                  <a:gd name="connsiteX483" fmla="*/ 227171 w 1247775"/>
                  <a:gd name="connsiteY483" fmla="*/ 871061 h 1857375"/>
                  <a:gd name="connsiteX484" fmla="*/ 223361 w 1247775"/>
                  <a:gd name="connsiteY484" fmla="*/ 871061 h 1857375"/>
                  <a:gd name="connsiteX485" fmla="*/ 216694 w 1247775"/>
                  <a:gd name="connsiteY485" fmla="*/ 872014 h 1857375"/>
                  <a:gd name="connsiteX486" fmla="*/ 213836 w 1247775"/>
                  <a:gd name="connsiteY486" fmla="*/ 870109 h 1857375"/>
                  <a:gd name="connsiteX487" fmla="*/ 200501 w 1247775"/>
                  <a:gd name="connsiteY487" fmla="*/ 859631 h 1857375"/>
                  <a:gd name="connsiteX488" fmla="*/ 196691 w 1247775"/>
                  <a:gd name="connsiteY488" fmla="*/ 860584 h 1857375"/>
                  <a:gd name="connsiteX489" fmla="*/ 196691 w 1247775"/>
                  <a:gd name="connsiteY489" fmla="*/ 860584 h 1857375"/>
                  <a:gd name="connsiteX490" fmla="*/ 194786 w 1247775"/>
                  <a:gd name="connsiteY490" fmla="*/ 849154 h 1857375"/>
                  <a:gd name="connsiteX491" fmla="*/ 198596 w 1247775"/>
                  <a:gd name="connsiteY491" fmla="*/ 842486 h 1857375"/>
                  <a:gd name="connsiteX492" fmla="*/ 203359 w 1247775"/>
                  <a:gd name="connsiteY492" fmla="*/ 827246 h 1857375"/>
                  <a:gd name="connsiteX493" fmla="*/ 200501 w 1247775"/>
                  <a:gd name="connsiteY493" fmla="*/ 815816 h 1857375"/>
                  <a:gd name="connsiteX494" fmla="*/ 205264 w 1247775"/>
                  <a:gd name="connsiteY494" fmla="*/ 816769 h 1857375"/>
                  <a:gd name="connsiteX495" fmla="*/ 226219 w 1247775"/>
                  <a:gd name="connsiteY495" fmla="*/ 795814 h 1857375"/>
                  <a:gd name="connsiteX496" fmla="*/ 205264 w 1247775"/>
                  <a:gd name="connsiteY496" fmla="*/ 774859 h 1857375"/>
                  <a:gd name="connsiteX497" fmla="*/ 184309 w 1247775"/>
                  <a:gd name="connsiteY497" fmla="*/ 795814 h 1857375"/>
                  <a:gd name="connsiteX498" fmla="*/ 186214 w 1247775"/>
                  <a:gd name="connsiteY498" fmla="*/ 803434 h 1857375"/>
                  <a:gd name="connsiteX499" fmla="*/ 177641 w 1247775"/>
                  <a:gd name="connsiteY499" fmla="*/ 802481 h 1857375"/>
                  <a:gd name="connsiteX500" fmla="*/ 157639 w 1247775"/>
                  <a:gd name="connsiteY500" fmla="*/ 812006 h 1857375"/>
                  <a:gd name="connsiteX501" fmla="*/ 140494 w 1247775"/>
                  <a:gd name="connsiteY501" fmla="*/ 802481 h 1857375"/>
                  <a:gd name="connsiteX502" fmla="*/ 130969 w 1247775"/>
                  <a:gd name="connsiteY502" fmla="*/ 804386 h 1857375"/>
                  <a:gd name="connsiteX503" fmla="*/ 120491 w 1247775"/>
                  <a:gd name="connsiteY503" fmla="*/ 794861 h 1857375"/>
                  <a:gd name="connsiteX504" fmla="*/ 110966 w 1247775"/>
                  <a:gd name="connsiteY504" fmla="*/ 800576 h 1857375"/>
                  <a:gd name="connsiteX505" fmla="*/ 98584 w 1247775"/>
                  <a:gd name="connsiteY505" fmla="*/ 818674 h 1857375"/>
                  <a:gd name="connsiteX506" fmla="*/ 118586 w 1247775"/>
                  <a:gd name="connsiteY506" fmla="*/ 838676 h 1857375"/>
                  <a:gd name="connsiteX507" fmla="*/ 126206 w 1247775"/>
                  <a:gd name="connsiteY507" fmla="*/ 836771 h 1857375"/>
                  <a:gd name="connsiteX508" fmla="*/ 140494 w 1247775"/>
                  <a:gd name="connsiteY508" fmla="*/ 842486 h 1857375"/>
                  <a:gd name="connsiteX509" fmla="*/ 148114 w 1247775"/>
                  <a:gd name="connsiteY509" fmla="*/ 840581 h 1857375"/>
                  <a:gd name="connsiteX510" fmla="*/ 141446 w 1247775"/>
                  <a:gd name="connsiteY510" fmla="*/ 858679 h 1857375"/>
                  <a:gd name="connsiteX511" fmla="*/ 161449 w 1247775"/>
                  <a:gd name="connsiteY511" fmla="*/ 885349 h 1857375"/>
                  <a:gd name="connsiteX512" fmla="*/ 153829 w 1247775"/>
                  <a:gd name="connsiteY512" fmla="*/ 911066 h 1857375"/>
                  <a:gd name="connsiteX513" fmla="*/ 165259 w 1247775"/>
                  <a:gd name="connsiteY513" fmla="*/ 940594 h 1857375"/>
                  <a:gd name="connsiteX514" fmla="*/ 154781 w 1247775"/>
                  <a:gd name="connsiteY514" fmla="*/ 955834 h 1857375"/>
                  <a:gd name="connsiteX515" fmla="*/ 170974 w 1247775"/>
                  <a:gd name="connsiteY515" fmla="*/ 972026 h 1857375"/>
                  <a:gd name="connsiteX516" fmla="*/ 187166 w 1247775"/>
                  <a:gd name="connsiteY516" fmla="*/ 957739 h 1857375"/>
                  <a:gd name="connsiteX517" fmla="*/ 188119 w 1247775"/>
                  <a:gd name="connsiteY517" fmla="*/ 957739 h 1857375"/>
                  <a:gd name="connsiteX518" fmla="*/ 192881 w 1247775"/>
                  <a:gd name="connsiteY518" fmla="*/ 955834 h 1857375"/>
                  <a:gd name="connsiteX519" fmla="*/ 199549 w 1247775"/>
                  <a:gd name="connsiteY519" fmla="*/ 956786 h 1857375"/>
                  <a:gd name="connsiteX520" fmla="*/ 211931 w 1247775"/>
                  <a:gd name="connsiteY520" fmla="*/ 954881 h 1857375"/>
                  <a:gd name="connsiteX521" fmla="*/ 211931 w 1247775"/>
                  <a:gd name="connsiteY521" fmla="*/ 954881 h 1857375"/>
                  <a:gd name="connsiteX522" fmla="*/ 228124 w 1247775"/>
                  <a:gd name="connsiteY522" fmla="*/ 948214 h 1857375"/>
                  <a:gd name="connsiteX523" fmla="*/ 237649 w 1247775"/>
                  <a:gd name="connsiteY523" fmla="*/ 954881 h 1857375"/>
                  <a:gd name="connsiteX524" fmla="*/ 241459 w 1247775"/>
                  <a:gd name="connsiteY524" fmla="*/ 953929 h 1857375"/>
                  <a:gd name="connsiteX525" fmla="*/ 254794 w 1247775"/>
                  <a:gd name="connsiteY525" fmla="*/ 957739 h 1857375"/>
                  <a:gd name="connsiteX526" fmla="*/ 267176 w 1247775"/>
                  <a:gd name="connsiteY526" fmla="*/ 953929 h 1857375"/>
                  <a:gd name="connsiteX527" fmla="*/ 269081 w 1247775"/>
                  <a:gd name="connsiteY527" fmla="*/ 953929 h 1857375"/>
                  <a:gd name="connsiteX528" fmla="*/ 272891 w 1247775"/>
                  <a:gd name="connsiteY528" fmla="*/ 952976 h 1857375"/>
                  <a:gd name="connsiteX529" fmla="*/ 281464 w 1247775"/>
                  <a:gd name="connsiteY529" fmla="*/ 970121 h 1857375"/>
                  <a:gd name="connsiteX530" fmla="*/ 277654 w 1247775"/>
                  <a:gd name="connsiteY530" fmla="*/ 970121 h 1857375"/>
                  <a:gd name="connsiteX531" fmla="*/ 275749 w 1247775"/>
                  <a:gd name="connsiteY531" fmla="*/ 970121 h 1857375"/>
                  <a:gd name="connsiteX532" fmla="*/ 265271 w 1247775"/>
                  <a:gd name="connsiteY532" fmla="*/ 959644 h 1857375"/>
                  <a:gd name="connsiteX533" fmla="*/ 254794 w 1247775"/>
                  <a:gd name="connsiteY533" fmla="*/ 970121 h 1857375"/>
                  <a:gd name="connsiteX534" fmla="*/ 260509 w 1247775"/>
                  <a:gd name="connsiteY534" fmla="*/ 979646 h 1857375"/>
                  <a:gd name="connsiteX535" fmla="*/ 257651 w 1247775"/>
                  <a:gd name="connsiteY535" fmla="*/ 986314 h 1857375"/>
                  <a:gd name="connsiteX536" fmla="*/ 247174 w 1247775"/>
                  <a:gd name="connsiteY536" fmla="*/ 982504 h 1857375"/>
                  <a:gd name="connsiteX537" fmla="*/ 230029 w 1247775"/>
                  <a:gd name="connsiteY537" fmla="*/ 966311 h 1857375"/>
                  <a:gd name="connsiteX538" fmla="*/ 212884 w 1247775"/>
                  <a:gd name="connsiteY538" fmla="*/ 983456 h 1857375"/>
                  <a:gd name="connsiteX539" fmla="*/ 215741 w 1247775"/>
                  <a:gd name="connsiteY539" fmla="*/ 992029 h 1857375"/>
                  <a:gd name="connsiteX540" fmla="*/ 206216 w 1247775"/>
                  <a:gd name="connsiteY540" fmla="*/ 1014889 h 1857375"/>
                  <a:gd name="connsiteX541" fmla="*/ 207169 w 1247775"/>
                  <a:gd name="connsiteY541" fmla="*/ 1022509 h 1857375"/>
                  <a:gd name="connsiteX542" fmla="*/ 200501 w 1247775"/>
                  <a:gd name="connsiteY542" fmla="*/ 1021556 h 1857375"/>
                  <a:gd name="connsiteX543" fmla="*/ 195739 w 1247775"/>
                  <a:gd name="connsiteY543" fmla="*/ 1022509 h 1857375"/>
                  <a:gd name="connsiteX544" fmla="*/ 182404 w 1247775"/>
                  <a:gd name="connsiteY544" fmla="*/ 1015841 h 1857375"/>
                  <a:gd name="connsiteX545" fmla="*/ 165259 w 1247775"/>
                  <a:gd name="connsiteY545" fmla="*/ 1032986 h 1857375"/>
                  <a:gd name="connsiteX546" fmla="*/ 170974 w 1247775"/>
                  <a:gd name="connsiteY546" fmla="*/ 1045369 h 1857375"/>
                  <a:gd name="connsiteX547" fmla="*/ 170021 w 1247775"/>
                  <a:gd name="connsiteY547" fmla="*/ 1051084 h 1857375"/>
                  <a:gd name="connsiteX548" fmla="*/ 170974 w 1247775"/>
                  <a:gd name="connsiteY548" fmla="*/ 1057751 h 1857375"/>
                  <a:gd name="connsiteX549" fmla="*/ 164306 w 1247775"/>
                  <a:gd name="connsiteY549" fmla="*/ 1073944 h 1857375"/>
                  <a:gd name="connsiteX550" fmla="*/ 166211 w 1247775"/>
                  <a:gd name="connsiteY550" fmla="*/ 1081564 h 1857375"/>
                  <a:gd name="connsiteX551" fmla="*/ 162401 w 1247775"/>
                  <a:gd name="connsiteY551" fmla="*/ 1081564 h 1857375"/>
                  <a:gd name="connsiteX552" fmla="*/ 162401 w 1247775"/>
                  <a:gd name="connsiteY552" fmla="*/ 1080611 h 1857375"/>
                  <a:gd name="connsiteX553" fmla="*/ 161449 w 1247775"/>
                  <a:gd name="connsiteY553" fmla="*/ 1074896 h 1857375"/>
                  <a:gd name="connsiteX554" fmla="*/ 162401 w 1247775"/>
                  <a:gd name="connsiteY554" fmla="*/ 1070134 h 1857375"/>
                  <a:gd name="connsiteX555" fmla="*/ 147161 w 1247775"/>
                  <a:gd name="connsiteY555" fmla="*/ 1054894 h 1857375"/>
                  <a:gd name="connsiteX556" fmla="*/ 137636 w 1247775"/>
                  <a:gd name="connsiteY556" fmla="*/ 1057751 h 1857375"/>
                  <a:gd name="connsiteX557" fmla="*/ 116681 w 1247775"/>
                  <a:gd name="connsiteY557" fmla="*/ 1080611 h 1857375"/>
                  <a:gd name="connsiteX558" fmla="*/ 135731 w 1247775"/>
                  <a:gd name="connsiteY558" fmla="*/ 1103471 h 1857375"/>
                  <a:gd name="connsiteX559" fmla="*/ 132874 w 1247775"/>
                  <a:gd name="connsiteY559" fmla="*/ 1115854 h 1857375"/>
                  <a:gd name="connsiteX560" fmla="*/ 157639 w 1247775"/>
                  <a:gd name="connsiteY560" fmla="*/ 1149191 h 1857375"/>
                  <a:gd name="connsiteX561" fmla="*/ 151924 w 1247775"/>
                  <a:gd name="connsiteY561" fmla="*/ 1148239 h 1857375"/>
                  <a:gd name="connsiteX562" fmla="*/ 123349 w 1247775"/>
                  <a:gd name="connsiteY562" fmla="*/ 1166336 h 1857375"/>
                  <a:gd name="connsiteX563" fmla="*/ 102394 w 1247775"/>
                  <a:gd name="connsiteY563" fmla="*/ 1157764 h 1857375"/>
                  <a:gd name="connsiteX564" fmla="*/ 73819 w 1247775"/>
                  <a:gd name="connsiteY564" fmla="*/ 1186339 h 1857375"/>
                  <a:gd name="connsiteX565" fmla="*/ 85249 w 1247775"/>
                  <a:gd name="connsiteY565" fmla="*/ 1209199 h 1857375"/>
                  <a:gd name="connsiteX566" fmla="*/ 85249 w 1247775"/>
                  <a:gd name="connsiteY566" fmla="*/ 1210151 h 1857375"/>
                  <a:gd name="connsiteX567" fmla="*/ 96679 w 1247775"/>
                  <a:gd name="connsiteY567" fmla="*/ 1222534 h 1857375"/>
                  <a:gd name="connsiteX568" fmla="*/ 84296 w 1247775"/>
                  <a:gd name="connsiteY568" fmla="*/ 1237774 h 1857375"/>
                  <a:gd name="connsiteX569" fmla="*/ 100489 w 1247775"/>
                  <a:gd name="connsiteY569" fmla="*/ 1253966 h 1857375"/>
                  <a:gd name="connsiteX570" fmla="*/ 115729 w 1247775"/>
                  <a:gd name="connsiteY570" fmla="*/ 1241584 h 1857375"/>
                  <a:gd name="connsiteX571" fmla="*/ 139541 w 1247775"/>
                  <a:gd name="connsiteY571" fmla="*/ 1256824 h 1857375"/>
                  <a:gd name="connsiteX572" fmla="*/ 140494 w 1247775"/>
                  <a:gd name="connsiteY572" fmla="*/ 1256824 h 1857375"/>
                  <a:gd name="connsiteX573" fmla="*/ 140494 w 1247775"/>
                  <a:gd name="connsiteY573" fmla="*/ 1257776 h 1857375"/>
                  <a:gd name="connsiteX574" fmla="*/ 130016 w 1247775"/>
                  <a:gd name="connsiteY574" fmla="*/ 1272064 h 1857375"/>
                  <a:gd name="connsiteX575" fmla="*/ 110966 w 1247775"/>
                  <a:gd name="connsiteY575" fmla="*/ 1267301 h 1857375"/>
                  <a:gd name="connsiteX576" fmla="*/ 85249 w 1247775"/>
                  <a:gd name="connsiteY576" fmla="*/ 1276826 h 1857375"/>
                  <a:gd name="connsiteX577" fmla="*/ 77629 w 1247775"/>
                  <a:gd name="connsiteY577" fmla="*/ 1273969 h 1857375"/>
                  <a:gd name="connsiteX578" fmla="*/ 64294 w 1247775"/>
                  <a:gd name="connsiteY578" fmla="*/ 1287304 h 1857375"/>
                  <a:gd name="connsiteX579" fmla="*/ 64294 w 1247775"/>
                  <a:gd name="connsiteY579" fmla="*/ 1290161 h 1857375"/>
                  <a:gd name="connsiteX580" fmla="*/ 64294 w 1247775"/>
                  <a:gd name="connsiteY580" fmla="*/ 1291114 h 1857375"/>
                  <a:gd name="connsiteX581" fmla="*/ 59531 w 1247775"/>
                  <a:gd name="connsiteY581" fmla="*/ 1290161 h 1857375"/>
                  <a:gd name="connsiteX582" fmla="*/ 40481 w 1247775"/>
                  <a:gd name="connsiteY582" fmla="*/ 1309211 h 1857375"/>
                  <a:gd name="connsiteX583" fmla="*/ 59531 w 1247775"/>
                  <a:gd name="connsiteY583" fmla="*/ 1328261 h 1857375"/>
                  <a:gd name="connsiteX584" fmla="*/ 73819 w 1247775"/>
                  <a:gd name="connsiteY584" fmla="*/ 1322546 h 1857375"/>
                  <a:gd name="connsiteX585" fmla="*/ 111919 w 1247775"/>
                  <a:gd name="connsiteY585" fmla="*/ 1348264 h 1857375"/>
                  <a:gd name="connsiteX586" fmla="*/ 139541 w 1247775"/>
                  <a:gd name="connsiteY586" fmla="*/ 1337786 h 1857375"/>
                  <a:gd name="connsiteX587" fmla="*/ 136684 w 1247775"/>
                  <a:gd name="connsiteY587" fmla="*/ 1345406 h 1857375"/>
                  <a:gd name="connsiteX588" fmla="*/ 136684 w 1247775"/>
                  <a:gd name="connsiteY588" fmla="*/ 1345406 h 1857375"/>
                  <a:gd name="connsiteX589" fmla="*/ 116681 w 1247775"/>
                  <a:gd name="connsiteY589" fmla="*/ 1373981 h 1857375"/>
                  <a:gd name="connsiteX590" fmla="*/ 123349 w 1247775"/>
                  <a:gd name="connsiteY590" fmla="*/ 1393031 h 1857375"/>
                  <a:gd name="connsiteX591" fmla="*/ 113824 w 1247775"/>
                  <a:gd name="connsiteY591" fmla="*/ 1390174 h 1857375"/>
                  <a:gd name="connsiteX592" fmla="*/ 99536 w 1247775"/>
                  <a:gd name="connsiteY592" fmla="*/ 1398746 h 1857375"/>
                  <a:gd name="connsiteX593" fmla="*/ 98584 w 1247775"/>
                  <a:gd name="connsiteY593" fmla="*/ 1398746 h 1857375"/>
                  <a:gd name="connsiteX594" fmla="*/ 90964 w 1247775"/>
                  <a:gd name="connsiteY594" fmla="*/ 1400651 h 1857375"/>
                  <a:gd name="connsiteX595" fmla="*/ 59531 w 1247775"/>
                  <a:gd name="connsiteY595" fmla="*/ 1384459 h 1857375"/>
                  <a:gd name="connsiteX596" fmla="*/ 33814 w 1247775"/>
                  <a:gd name="connsiteY596" fmla="*/ 1393984 h 1857375"/>
                  <a:gd name="connsiteX597" fmla="*/ 32861 w 1247775"/>
                  <a:gd name="connsiteY597" fmla="*/ 1393984 h 1857375"/>
                  <a:gd name="connsiteX598" fmla="*/ 27146 w 1247775"/>
                  <a:gd name="connsiteY598" fmla="*/ 1399699 h 1857375"/>
                  <a:gd name="connsiteX599" fmla="*/ 27146 w 1247775"/>
                  <a:gd name="connsiteY599" fmla="*/ 1400651 h 1857375"/>
                  <a:gd name="connsiteX600" fmla="*/ 19526 w 1247775"/>
                  <a:gd name="connsiteY600" fmla="*/ 1420654 h 1857375"/>
                  <a:gd name="connsiteX601" fmla="*/ 7144 w 1247775"/>
                  <a:gd name="connsiteY601" fmla="*/ 1437799 h 1857375"/>
                  <a:gd name="connsiteX602" fmla="*/ 26194 w 1247775"/>
                  <a:gd name="connsiteY602" fmla="*/ 1456849 h 1857375"/>
                  <a:gd name="connsiteX603" fmla="*/ 34766 w 1247775"/>
                  <a:gd name="connsiteY603" fmla="*/ 1454944 h 1857375"/>
                  <a:gd name="connsiteX604" fmla="*/ 59531 w 1247775"/>
                  <a:gd name="connsiteY604" fmla="*/ 1463516 h 1857375"/>
                  <a:gd name="connsiteX605" fmla="*/ 98584 w 1247775"/>
                  <a:gd name="connsiteY605" fmla="*/ 1429226 h 1857375"/>
                  <a:gd name="connsiteX606" fmla="*/ 98584 w 1247775"/>
                  <a:gd name="connsiteY606" fmla="*/ 1429226 h 1857375"/>
                  <a:gd name="connsiteX607" fmla="*/ 110966 w 1247775"/>
                  <a:gd name="connsiteY607" fmla="*/ 1422559 h 1857375"/>
                  <a:gd name="connsiteX608" fmla="*/ 112871 w 1247775"/>
                  <a:gd name="connsiteY608" fmla="*/ 1422559 h 1857375"/>
                  <a:gd name="connsiteX609" fmla="*/ 129064 w 1247775"/>
                  <a:gd name="connsiteY609" fmla="*/ 1406366 h 1857375"/>
                  <a:gd name="connsiteX610" fmla="*/ 126206 w 1247775"/>
                  <a:gd name="connsiteY610" fmla="*/ 1397794 h 1857375"/>
                  <a:gd name="connsiteX611" fmla="*/ 146209 w 1247775"/>
                  <a:gd name="connsiteY611" fmla="*/ 1405414 h 1857375"/>
                  <a:gd name="connsiteX612" fmla="*/ 173831 w 1247775"/>
                  <a:gd name="connsiteY612" fmla="*/ 1388269 h 1857375"/>
                  <a:gd name="connsiteX613" fmla="*/ 176689 w 1247775"/>
                  <a:gd name="connsiteY613" fmla="*/ 1388269 h 1857375"/>
                  <a:gd name="connsiteX614" fmla="*/ 177641 w 1247775"/>
                  <a:gd name="connsiteY614" fmla="*/ 1388269 h 1857375"/>
                  <a:gd name="connsiteX615" fmla="*/ 212884 w 1247775"/>
                  <a:gd name="connsiteY615" fmla="*/ 1410176 h 1857375"/>
                  <a:gd name="connsiteX616" fmla="*/ 246221 w 1247775"/>
                  <a:gd name="connsiteY616" fmla="*/ 1391126 h 1857375"/>
                  <a:gd name="connsiteX617" fmla="*/ 247174 w 1247775"/>
                  <a:gd name="connsiteY617" fmla="*/ 1391126 h 1857375"/>
                  <a:gd name="connsiteX618" fmla="*/ 253841 w 1247775"/>
                  <a:gd name="connsiteY618" fmla="*/ 1383506 h 1857375"/>
                  <a:gd name="connsiteX619" fmla="*/ 250984 w 1247775"/>
                  <a:gd name="connsiteY619" fmla="*/ 1377791 h 1857375"/>
                  <a:gd name="connsiteX620" fmla="*/ 251936 w 1247775"/>
                  <a:gd name="connsiteY620" fmla="*/ 1370171 h 1857375"/>
                  <a:gd name="connsiteX621" fmla="*/ 212884 w 1247775"/>
                  <a:gd name="connsiteY621" fmla="*/ 1331119 h 1857375"/>
                  <a:gd name="connsiteX622" fmla="*/ 206216 w 1247775"/>
                  <a:gd name="connsiteY622" fmla="*/ 1332071 h 1857375"/>
                  <a:gd name="connsiteX623" fmla="*/ 199549 w 1247775"/>
                  <a:gd name="connsiteY623" fmla="*/ 1331119 h 1857375"/>
                  <a:gd name="connsiteX624" fmla="*/ 188119 w 1247775"/>
                  <a:gd name="connsiteY624" fmla="*/ 1320641 h 1857375"/>
                  <a:gd name="connsiteX625" fmla="*/ 176689 w 1247775"/>
                  <a:gd name="connsiteY625" fmla="*/ 1332071 h 1857375"/>
                  <a:gd name="connsiteX626" fmla="*/ 176689 w 1247775"/>
                  <a:gd name="connsiteY626" fmla="*/ 1333024 h 1857375"/>
                  <a:gd name="connsiteX627" fmla="*/ 165259 w 1247775"/>
                  <a:gd name="connsiteY627" fmla="*/ 1329214 h 1857375"/>
                  <a:gd name="connsiteX628" fmla="*/ 150019 w 1247775"/>
                  <a:gd name="connsiteY628" fmla="*/ 1334929 h 1857375"/>
                  <a:gd name="connsiteX629" fmla="*/ 147161 w 1247775"/>
                  <a:gd name="connsiteY629" fmla="*/ 1333976 h 1857375"/>
                  <a:gd name="connsiteX630" fmla="*/ 139541 w 1247775"/>
                  <a:gd name="connsiteY630" fmla="*/ 1336834 h 1857375"/>
                  <a:gd name="connsiteX631" fmla="*/ 150971 w 1247775"/>
                  <a:gd name="connsiteY631" fmla="*/ 1308259 h 1857375"/>
                  <a:gd name="connsiteX632" fmla="*/ 150019 w 1247775"/>
                  <a:gd name="connsiteY632" fmla="*/ 1303496 h 1857375"/>
                  <a:gd name="connsiteX633" fmla="*/ 151924 w 1247775"/>
                  <a:gd name="connsiteY633" fmla="*/ 1303496 h 1857375"/>
                  <a:gd name="connsiteX634" fmla="*/ 176689 w 1247775"/>
                  <a:gd name="connsiteY634" fmla="*/ 1278731 h 1857375"/>
                  <a:gd name="connsiteX635" fmla="*/ 153829 w 1247775"/>
                  <a:gd name="connsiteY635" fmla="*/ 1254919 h 1857375"/>
                  <a:gd name="connsiteX636" fmla="*/ 152876 w 1247775"/>
                  <a:gd name="connsiteY636" fmla="*/ 1253014 h 1857375"/>
                  <a:gd name="connsiteX637" fmla="*/ 156686 w 1247775"/>
                  <a:gd name="connsiteY637" fmla="*/ 1249204 h 1857375"/>
                  <a:gd name="connsiteX638" fmla="*/ 170021 w 1247775"/>
                  <a:gd name="connsiteY638" fmla="*/ 1233011 h 1857375"/>
                  <a:gd name="connsiteX639" fmla="*/ 168116 w 1247775"/>
                  <a:gd name="connsiteY639" fmla="*/ 1224439 h 1857375"/>
                  <a:gd name="connsiteX640" fmla="*/ 176689 w 1247775"/>
                  <a:gd name="connsiteY640" fmla="*/ 1213961 h 1857375"/>
                  <a:gd name="connsiteX641" fmla="*/ 170021 w 1247775"/>
                  <a:gd name="connsiteY641" fmla="*/ 1204436 h 1857375"/>
                  <a:gd name="connsiteX642" fmla="*/ 180499 w 1247775"/>
                  <a:gd name="connsiteY642" fmla="*/ 1181576 h 1857375"/>
                  <a:gd name="connsiteX643" fmla="*/ 158591 w 1247775"/>
                  <a:gd name="connsiteY643" fmla="*/ 1152049 h 1857375"/>
                  <a:gd name="connsiteX644" fmla="*/ 165259 w 1247775"/>
                  <a:gd name="connsiteY644" fmla="*/ 1153001 h 1857375"/>
                  <a:gd name="connsiteX645" fmla="*/ 169069 w 1247775"/>
                  <a:gd name="connsiteY645" fmla="*/ 1153001 h 1857375"/>
                  <a:gd name="connsiteX646" fmla="*/ 169069 w 1247775"/>
                  <a:gd name="connsiteY646" fmla="*/ 1153001 h 1857375"/>
                  <a:gd name="connsiteX647" fmla="*/ 177641 w 1247775"/>
                  <a:gd name="connsiteY647" fmla="*/ 1161574 h 1857375"/>
                  <a:gd name="connsiteX648" fmla="*/ 178594 w 1247775"/>
                  <a:gd name="connsiteY648" fmla="*/ 1161574 h 1857375"/>
                  <a:gd name="connsiteX649" fmla="*/ 178594 w 1247775"/>
                  <a:gd name="connsiteY649" fmla="*/ 1162526 h 1857375"/>
                  <a:gd name="connsiteX650" fmla="*/ 188119 w 1247775"/>
                  <a:gd name="connsiteY650" fmla="*/ 1180624 h 1857375"/>
                  <a:gd name="connsiteX651" fmla="*/ 185261 w 1247775"/>
                  <a:gd name="connsiteY651" fmla="*/ 1193006 h 1857375"/>
                  <a:gd name="connsiteX652" fmla="*/ 210026 w 1247775"/>
                  <a:gd name="connsiteY652" fmla="*/ 1221581 h 1857375"/>
                  <a:gd name="connsiteX653" fmla="*/ 205264 w 1247775"/>
                  <a:gd name="connsiteY653" fmla="*/ 1229201 h 1857375"/>
                  <a:gd name="connsiteX654" fmla="*/ 213836 w 1247775"/>
                  <a:gd name="connsiteY654" fmla="*/ 1237774 h 1857375"/>
                  <a:gd name="connsiteX655" fmla="*/ 222409 w 1247775"/>
                  <a:gd name="connsiteY655" fmla="*/ 1229201 h 1857375"/>
                  <a:gd name="connsiteX656" fmla="*/ 217646 w 1247775"/>
                  <a:gd name="connsiteY656" fmla="*/ 1221581 h 1857375"/>
                  <a:gd name="connsiteX657" fmla="*/ 219551 w 1247775"/>
                  <a:gd name="connsiteY657" fmla="*/ 1221581 h 1857375"/>
                  <a:gd name="connsiteX658" fmla="*/ 226219 w 1247775"/>
                  <a:gd name="connsiteY658" fmla="*/ 1223486 h 1857375"/>
                  <a:gd name="connsiteX659" fmla="*/ 239554 w 1247775"/>
                  <a:gd name="connsiteY659" fmla="*/ 1210151 h 1857375"/>
                  <a:gd name="connsiteX660" fmla="*/ 239554 w 1247775"/>
                  <a:gd name="connsiteY660" fmla="*/ 1209199 h 1857375"/>
                  <a:gd name="connsiteX661" fmla="*/ 244316 w 1247775"/>
                  <a:gd name="connsiteY661" fmla="*/ 1196816 h 1857375"/>
                  <a:gd name="connsiteX662" fmla="*/ 246221 w 1247775"/>
                  <a:gd name="connsiteY662" fmla="*/ 1196816 h 1857375"/>
                  <a:gd name="connsiteX663" fmla="*/ 254794 w 1247775"/>
                  <a:gd name="connsiteY663" fmla="*/ 1188244 h 1857375"/>
                  <a:gd name="connsiteX664" fmla="*/ 250984 w 1247775"/>
                  <a:gd name="connsiteY664" fmla="*/ 1181576 h 1857375"/>
                  <a:gd name="connsiteX665" fmla="*/ 259556 w 1247775"/>
                  <a:gd name="connsiteY665" fmla="*/ 1172051 h 1857375"/>
                  <a:gd name="connsiteX666" fmla="*/ 252889 w 1247775"/>
                  <a:gd name="connsiteY666" fmla="*/ 1162526 h 1857375"/>
                  <a:gd name="connsiteX667" fmla="*/ 255746 w 1247775"/>
                  <a:gd name="connsiteY667" fmla="*/ 1153001 h 1857375"/>
                  <a:gd name="connsiteX668" fmla="*/ 239554 w 1247775"/>
                  <a:gd name="connsiteY668" fmla="*/ 1136809 h 1857375"/>
                  <a:gd name="connsiteX669" fmla="*/ 223361 w 1247775"/>
                  <a:gd name="connsiteY669" fmla="*/ 1153001 h 1857375"/>
                  <a:gd name="connsiteX670" fmla="*/ 239554 w 1247775"/>
                  <a:gd name="connsiteY670" fmla="*/ 1169194 h 1857375"/>
                  <a:gd name="connsiteX671" fmla="*/ 240506 w 1247775"/>
                  <a:gd name="connsiteY671" fmla="*/ 1169194 h 1857375"/>
                  <a:gd name="connsiteX672" fmla="*/ 239554 w 1247775"/>
                  <a:gd name="connsiteY672" fmla="*/ 1172051 h 1857375"/>
                  <a:gd name="connsiteX673" fmla="*/ 244316 w 1247775"/>
                  <a:gd name="connsiteY673" fmla="*/ 1180624 h 1857375"/>
                  <a:gd name="connsiteX674" fmla="*/ 241459 w 1247775"/>
                  <a:gd name="connsiteY674" fmla="*/ 1181576 h 1857375"/>
                  <a:gd name="connsiteX675" fmla="*/ 223361 w 1247775"/>
                  <a:gd name="connsiteY675" fmla="*/ 1165384 h 1857375"/>
                  <a:gd name="connsiteX676" fmla="*/ 223361 w 1247775"/>
                  <a:gd name="connsiteY676" fmla="*/ 1162526 h 1857375"/>
                  <a:gd name="connsiteX677" fmla="*/ 201454 w 1247775"/>
                  <a:gd name="connsiteY677" fmla="*/ 1140619 h 1857375"/>
                  <a:gd name="connsiteX678" fmla="*/ 190976 w 1247775"/>
                  <a:gd name="connsiteY678" fmla="*/ 1143476 h 1857375"/>
                  <a:gd name="connsiteX679" fmla="*/ 201454 w 1247775"/>
                  <a:gd name="connsiteY679" fmla="*/ 1118711 h 1857375"/>
                  <a:gd name="connsiteX680" fmla="*/ 200501 w 1247775"/>
                  <a:gd name="connsiteY680" fmla="*/ 1111091 h 1857375"/>
                  <a:gd name="connsiteX681" fmla="*/ 205264 w 1247775"/>
                  <a:gd name="connsiteY681" fmla="*/ 1105376 h 1857375"/>
                  <a:gd name="connsiteX682" fmla="*/ 199549 w 1247775"/>
                  <a:gd name="connsiteY682" fmla="*/ 1099661 h 1857375"/>
                  <a:gd name="connsiteX683" fmla="*/ 196691 w 1247775"/>
                  <a:gd name="connsiteY683" fmla="*/ 1100614 h 1857375"/>
                  <a:gd name="connsiteX684" fmla="*/ 193834 w 1247775"/>
                  <a:gd name="connsiteY684" fmla="*/ 1096804 h 1857375"/>
                  <a:gd name="connsiteX685" fmla="*/ 207169 w 1247775"/>
                  <a:gd name="connsiteY685" fmla="*/ 1081564 h 1857375"/>
                  <a:gd name="connsiteX686" fmla="*/ 228124 w 1247775"/>
                  <a:gd name="connsiteY686" fmla="*/ 1052989 h 1857375"/>
                  <a:gd name="connsiteX687" fmla="*/ 227171 w 1247775"/>
                  <a:gd name="connsiteY687" fmla="*/ 1048226 h 1857375"/>
                  <a:gd name="connsiteX688" fmla="*/ 236696 w 1247775"/>
                  <a:gd name="connsiteY688" fmla="*/ 1050131 h 1857375"/>
                  <a:gd name="connsiteX689" fmla="*/ 257651 w 1247775"/>
                  <a:gd name="connsiteY689" fmla="*/ 1042511 h 1857375"/>
                  <a:gd name="connsiteX690" fmla="*/ 263366 w 1247775"/>
                  <a:gd name="connsiteY690" fmla="*/ 1043464 h 1857375"/>
                  <a:gd name="connsiteX691" fmla="*/ 282416 w 1247775"/>
                  <a:gd name="connsiteY691" fmla="*/ 1024414 h 1857375"/>
                  <a:gd name="connsiteX692" fmla="*/ 279559 w 1247775"/>
                  <a:gd name="connsiteY692" fmla="*/ 1013936 h 1857375"/>
                  <a:gd name="connsiteX693" fmla="*/ 295751 w 1247775"/>
                  <a:gd name="connsiteY693" fmla="*/ 1000601 h 1857375"/>
                  <a:gd name="connsiteX694" fmla="*/ 294799 w 1247775"/>
                  <a:gd name="connsiteY694" fmla="*/ 1006316 h 1857375"/>
                  <a:gd name="connsiteX695" fmla="*/ 294799 w 1247775"/>
                  <a:gd name="connsiteY695" fmla="*/ 1009174 h 1857375"/>
                  <a:gd name="connsiteX696" fmla="*/ 293846 w 1247775"/>
                  <a:gd name="connsiteY696" fmla="*/ 1015841 h 1857375"/>
                  <a:gd name="connsiteX697" fmla="*/ 297656 w 1247775"/>
                  <a:gd name="connsiteY697" fmla="*/ 1026319 h 1857375"/>
                  <a:gd name="connsiteX698" fmla="*/ 284321 w 1247775"/>
                  <a:gd name="connsiteY698" fmla="*/ 1051084 h 1857375"/>
                  <a:gd name="connsiteX699" fmla="*/ 284321 w 1247775"/>
                  <a:gd name="connsiteY699" fmla="*/ 1052989 h 1857375"/>
                  <a:gd name="connsiteX700" fmla="*/ 280511 w 1247775"/>
                  <a:gd name="connsiteY700" fmla="*/ 1052036 h 1857375"/>
                  <a:gd name="connsiteX701" fmla="*/ 268129 w 1247775"/>
                  <a:gd name="connsiteY701" fmla="*/ 1064419 h 1857375"/>
                  <a:gd name="connsiteX702" fmla="*/ 277654 w 1247775"/>
                  <a:gd name="connsiteY702" fmla="*/ 1075849 h 1857375"/>
                  <a:gd name="connsiteX703" fmla="*/ 277654 w 1247775"/>
                  <a:gd name="connsiteY703" fmla="*/ 1076801 h 1857375"/>
                  <a:gd name="connsiteX704" fmla="*/ 295751 w 1247775"/>
                  <a:gd name="connsiteY704" fmla="*/ 1094899 h 1857375"/>
                  <a:gd name="connsiteX705" fmla="*/ 303371 w 1247775"/>
                  <a:gd name="connsiteY705" fmla="*/ 1092994 h 1857375"/>
                  <a:gd name="connsiteX706" fmla="*/ 300514 w 1247775"/>
                  <a:gd name="connsiteY706" fmla="*/ 1100614 h 1857375"/>
                  <a:gd name="connsiteX707" fmla="*/ 304324 w 1247775"/>
                  <a:gd name="connsiteY707" fmla="*/ 1110139 h 1857375"/>
                  <a:gd name="connsiteX708" fmla="*/ 303371 w 1247775"/>
                  <a:gd name="connsiteY708" fmla="*/ 1110139 h 1857375"/>
                  <a:gd name="connsiteX709" fmla="*/ 270986 w 1247775"/>
                  <a:gd name="connsiteY709" fmla="*/ 1142524 h 1857375"/>
                  <a:gd name="connsiteX710" fmla="*/ 285274 w 1247775"/>
                  <a:gd name="connsiteY710" fmla="*/ 1169194 h 1857375"/>
                  <a:gd name="connsiteX711" fmla="*/ 288131 w 1247775"/>
                  <a:gd name="connsiteY711" fmla="*/ 1174909 h 1857375"/>
                  <a:gd name="connsiteX712" fmla="*/ 280511 w 1247775"/>
                  <a:gd name="connsiteY712" fmla="*/ 1193959 h 1857375"/>
                  <a:gd name="connsiteX713" fmla="*/ 266224 w 1247775"/>
                  <a:gd name="connsiteY713" fmla="*/ 1210151 h 1857375"/>
                  <a:gd name="connsiteX714" fmla="*/ 269081 w 1247775"/>
                  <a:gd name="connsiteY714" fmla="*/ 1218724 h 1857375"/>
                  <a:gd name="connsiteX715" fmla="*/ 258604 w 1247775"/>
                  <a:gd name="connsiteY715" fmla="*/ 1216819 h 1857375"/>
                  <a:gd name="connsiteX716" fmla="*/ 227171 w 1247775"/>
                  <a:gd name="connsiteY716" fmla="*/ 1248251 h 1857375"/>
                  <a:gd name="connsiteX717" fmla="*/ 258604 w 1247775"/>
                  <a:gd name="connsiteY717" fmla="*/ 1279684 h 1857375"/>
                  <a:gd name="connsiteX718" fmla="*/ 285274 w 1247775"/>
                  <a:gd name="connsiteY718" fmla="*/ 1264444 h 1857375"/>
                  <a:gd name="connsiteX719" fmla="*/ 293846 w 1247775"/>
                  <a:gd name="connsiteY719" fmla="*/ 1266349 h 1857375"/>
                  <a:gd name="connsiteX720" fmla="*/ 316706 w 1247775"/>
                  <a:gd name="connsiteY720" fmla="*/ 1253966 h 1857375"/>
                  <a:gd name="connsiteX721" fmla="*/ 321469 w 1247775"/>
                  <a:gd name="connsiteY721" fmla="*/ 1249204 h 1857375"/>
                  <a:gd name="connsiteX722" fmla="*/ 326231 w 1247775"/>
                  <a:gd name="connsiteY722" fmla="*/ 1263491 h 1857375"/>
                  <a:gd name="connsiteX723" fmla="*/ 326231 w 1247775"/>
                  <a:gd name="connsiteY723" fmla="*/ 1264444 h 1857375"/>
                  <a:gd name="connsiteX724" fmla="*/ 328136 w 1247775"/>
                  <a:gd name="connsiteY724" fmla="*/ 1275874 h 1857375"/>
                  <a:gd name="connsiteX725" fmla="*/ 322421 w 1247775"/>
                  <a:gd name="connsiteY725" fmla="*/ 1285399 h 1857375"/>
                  <a:gd name="connsiteX726" fmla="*/ 310991 w 1247775"/>
                  <a:gd name="connsiteY726" fmla="*/ 1279684 h 1857375"/>
                  <a:gd name="connsiteX727" fmla="*/ 304324 w 1247775"/>
                  <a:gd name="connsiteY727" fmla="*/ 1273016 h 1857375"/>
                  <a:gd name="connsiteX728" fmla="*/ 297656 w 1247775"/>
                  <a:gd name="connsiteY728" fmla="*/ 1279684 h 1857375"/>
                  <a:gd name="connsiteX729" fmla="*/ 299561 w 1247775"/>
                  <a:gd name="connsiteY729" fmla="*/ 1284446 h 1857375"/>
                  <a:gd name="connsiteX730" fmla="*/ 294799 w 1247775"/>
                  <a:gd name="connsiteY730" fmla="*/ 1296829 h 1857375"/>
                  <a:gd name="connsiteX731" fmla="*/ 298609 w 1247775"/>
                  <a:gd name="connsiteY731" fmla="*/ 1307306 h 1857375"/>
                  <a:gd name="connsiteX732" fmla="*/ 298609 w 1247775"/>
                  <a:gd name="connsiteY732" fmla="*/ 1307306 h 1857375"/>
                  <a:gd name="connsiteX733" fmla="*/ 308134 w 1247775"/>
                  <a:gd name="connsiteY733" fmla="*/ 1316831 h 1857375"/>
                  <a:gd name="connsiteX734" fmla="*/ 314801 w 1247775"/>
                  <a:gd name="connsiteY734" fmla="*/ 1313974 h 1857375"/>
                  <a:gd name="connsiteX735" fmla="*/ 328136 w 1247775"/>
                  <a:gd name="connsiteY735" fmla="*/ 1302544 h 1857375"/>
                  <a:gd name="connsiteX736" fmla="*/ 343376 w 1247775"/>
                  <a:gd name="connsiteY736" fmla="*/ 1310164 h 1857375"/>
                  <a:gd name="connsiteX737" fmla="*/ 353854 w 1247775"/>
                  <a:gd name="connsiteY737" fmla="*/ 1306354 h 1857375"/>
                  <a:gd name="connsiteX738" fmla="*/ 353854 w 1247775"/>
                  <a:gd name="connsiteY738" fmla="*/ 1307306 h 1857375"/>
                  <a:gd name="connsiteX739" fmla="*/ 369094 w 1247775"/>
                  <a:gd name="connsiteY739" fmla="*/ 1322546 h 1857375"/>
                  <a:gd name="connsiteX740" fmla="*/ 376714 w 1247775"/>
                  <a:gd name="connsiteY740" fmla="*/ 1320641 h 1857375"/>
                  <a:gd name="connsiteX741" fmla="*/ 384334 w 1247775"/>
                  <a:gd name="connsiteY741" fmla="*/ 1323499 h 1857375"/>
                  <a:gd name="connsiteX742" fmla="*/ 396716 w 1247775"/>
                  <a:gd name="connsiteY742" fmla="*/ 1311116 h 1857375"/>
                  <a:gd name="connsiteX743" fmla="*/ 396716 w 1247775"/>
                  <a:gd name="connsiteY743" fmla="*/ 1309211 h 1857375"/>
                  <a:gd name="connsiteX744" fmla="*/ 406241 w 1247775"/>
                  <a:gd name="connsiteY744" fmla="*/ 1293971 h 1857375"/>
                  <a:gd name="connsiteX745" fmla="*/ 397669 w 1247775"/>
                  <a:gd name="connsiteY745" fmla="*/ 1278731 h 1857375"/>
                  <a:gd name="connsiteX746" fmla="*/ 397669 w 1247775"/>
                  <a:gd name="connsiteY746" fmla="*/ 1278731 h 1857375"/>
                  <a:gd name="connsiteX747" fmla="*/ 404336 w 1247775"/>
                  <a:gd name="connsiteY747" fmla="*/ 1280636 h 1857375"/>
                  <a:gd name="connsiteX748" fmla="*/ 408146 w 1247775"/>
                  <a:gd name="connsiteY748" fmla="*/ 1279684 h 1857375"/>
                  <a:gd name="connsiteX749" fmla="*/ 421481 w 1247775"/>
                  <a:gd name="connsiteY749" fmla="*/ 1288256 h 1857375"/>
                  <a:gd name="connsiteX750" fmla="*/ 437674 w 1247775"/>
                  <a:gd name="connsiteY750" fmla="*/ 1296829 h 1857375"/>
                  <a:gd name="connsiteX751" fmla="*/ 456724 w 1247775"/>
                  <a:gd name="connsiteY751" fmla="*/ 1277779 h 1857375"/>
                  <a:gd name="connsiteX752" fmla="*/ 456724 w 1247775"/>
                  <a:gd name="connsiteY752" fmla="*/ 1276826 h 1857375"/>
                  <a:gd name="connsiteX753" fmla="*/ 471011 w 1247775"/>
                  <a:gd name="connsiteY753" fmla="*/ 1284446 h 1857375"/>
                  <a:gd name="connsiteX754" fmla="*/ 485299 w 1247775"/>
                  <a:gd name="connsiteY754" fmla="*/ 1291114 h 1857375"/>
                  <a:gd name="connsiteX755" fmla="*/ 499586 w 1247775"/>
                  <a:gd name="connsiteY755" fmla="*/ 1283494 h 1857375"/>
                  <a:gd name="connsiteX756" fmla="*/ 500539 w 1247775"/>
                  <a:gd name="connsiteY756" fmla="*/ 1284446 h 1857375"/>
                  <a:gd name="connsiteX757" fmla="*/ 498634 w 1247775"/>
                  <a:gd name="connsiteY757" fmla="*/ 1286351 h 1857375"/>
                  <a:gd name="connsiteX758" fmla="*/ 491014 w 1247775"/>
                  <a:gd name="connsiteY758" fmla="*/ 1297781 h 1857375"/>
                  <a:gd name="connsiteX759" fmla="*/ 483394 w 1247775"/>
                  <a:gd name="connsiteY759" fmla="*/ 1313974 h 1857375"/>
                  <a:gd name="connsiteX760" fmla="*/ 477679 w 1247775"/>
                  <a:gd name="connsiteY760" fmla="*/ 1317784 h 1857375"/>
                  <a:gd name="connsiteX761" fmla="*/ 471011 w 1247775"/>
                  <a:gd name="connsiteY761" fmla="*/ 1315879 h 1857375"/>
                  <a:gd name="connsiteX762" fmla="*/ 457676 w 1247775"/>
                  <a:gd name="connsiteY762" fmla="*/ 1329214 h 1857375"/>
                  <a:gd name="connsiteX763" fmla="*/ 471011 w 1247775"/>
                  <a:gd name="connsiteY763" fmla="*/ 1342549 h 1857375"/>
                  <a:gd name="connsiteX764" fmla="*/ 475774 w 1247775"/>
                  <a:gd name="connsiteY764" fmla="*/ 1341596 h 1857375"/>
                  <a:gd name="connsiteX765" fmla="*/ 475774 w 1247775"/>
                  <a:gd name="connsiteY765" fmla="*/ 1341596 h 1857375"/>
                  <a:gd name="connsiteX766" fmla="*/ 451961 w 1247775"/>
                  <a:gd name="connsiteY766" fmla="*/ 1361599 h 1857375"/>
                  <a:gd name="connsiteX767" fmla="*/ 444341 w 1247775"/>
                  <a:gd name="connsiteY767" fmla="*/ 1356836 h 1857375"/>
                  <a:gd name="connsiteX768" fmla="*/ 446246 w 1247775"/>
                  <a:gd name="connsiteY768" fmla="*/ 1349216 h 1857375"/>
                  <a:gd name="connsiteX769" fmla="*/ 430054 w 1247775"/>
                  <a:gd name="connsiteY769" fmla="*/ 1333024 h 1857375"/>
                  <a:gd name="connsiteX770" fmla="*/ 417671 w 1247775"/>
                  <a:gd name="connsiteY770" fmla="*/ 1337786 h 1857375"/>
                  <a:gd name="connsiteX771" fmla="*/ 408146 w 1247775"/>
                  <a:gd name="connsiteY771" fmla="*/ 1333024 h 1857375"/>
                  <a:gd name="connsiteX772" fmla="*/ 395764 w 1247775"/>
                  <a:gd name="connsiteY772" fmla="*/ 1345406 h 1857375"/>
                  <a:gd name="connsiteX773" fmla="*/ 401479 w 1247775"/>
                  <a:gd name="connsiteY773" fmla="*/ 1355884 h 1857375"/>
                  <a:gd name="connsiteX774" fmla="*/ 386239 w 1247775"/>
                  <a:gd name="connsiteY774" fmla="*/ 1375886 h 1857375"/>
                  <a:gd name="connsiteX775" fmla="*/ 386239 w 1247775"/>
                  <a:gd name="connsiteY775" fmla="*/ 1379696 h 1857375"/>
                  <a:gd name="connsiteX776" fmla="*/ 384334 w 1247775"/>
                  <a:gd name="connsiteY776" fmla="*/ 1387316 h 1857375"/>
                  <a:gd name="connsiteX777" fmla="*/ 379571 w 1247775"/>
                  <a:gd name="connsiteY777" fmla="*/ 1394936 h 1857375"/>
                  <a:gd name="connsiteX778" fmla="*/ 378619 w 1247775"/>
                  <a:gd name="connsiteY778" fmla="*/ 1394936 h 1857375"/>
                  <a:gd name="connsiteX779" fmla="*/ 378619 w 1247775"/>
                  <a:gd name="connsiteY779" fmla="*/ 1394936 h 1857375"/>
                  <a:gd name="connsiteX780" fmla="*/ 379571 w 1247775"/>
                  <a:gd name="connsiteY780" fmla="*/ 1389221 h 1857375"/>
                  <a:gd name="connsiteX781" fmla="*/ 379571 w 1247775"/>
                  <a:gd name="connsiteY781" fmla="*/ 1386364 h 1857375"/>
                  <a:gd name="connsiteX782" fmla="*/ 386239 w 1247775"/>
                  <a:gd name="connsiteY782" fmla="*/ 1373981 h 1857375"/>
                  <a:gd name="connsiteX783" fmla="*/ 371951 w 1247775"/>
                  <a:gd name="connsiteY783" fmla="*/ 1359694 h 1857375"/>
                  <a:gd name="connsiteX784" fmla="*/ 360521 w 1247775"/>
                  <a:gd name="connsiteY784" fmla="*/ 1365409 h 1857375"/>
                  <a:gd name="connsiteX785" fmla="*/ 354806 w 1247775"/>
                  <a:gd name="connsiteY785" fmla="*/ 1364456 h 1857375"/>
                  <a:gd name="connsiteX786" fmla="*/ 339566 w 1247775"/>
                  <a:gd name="connsiteY786" fmla="*/ 1370171 h 1857375"/>
                  <a:gd name="connsiteX787" fmla="*/ 330041 w 1247775"/>
                  <a:gd name="connsiteY787" fmla="*/ 1365409 h 1857375"/>
                  <a:gd name="connsiteX788" fmla="*/ 318611 w 1247775"/>
                  <a:gd name="connsiteY788" fmla="*/ 1373981 h 1857375"/>
                  <a:gd name="connsiteX789" fmla="*/ 313849 w 1247775"/>
                  <a:gd name="connsiteY789" fmla="*/ 1377791 h 1857375"/>
                  <a:gd name="connsiteX790" fmla="*/ 308134 w 1247775"/>
                  <a:gd name="connsiteY790" fmla="*/ 1376839 h 1857375"/>
                  <a:gd name="connsiteX791" fmla="*/ 295751 w 1247775"/>
                  <a:gd name="connsiteY791" fmla="*/ 1389221 h 1857375"/>
                  <a:gd name="connsiteX792" fmla="*/ 308134 w 1247775"/>
                  <a:gd name="connsiteY792" fmla="*/ 1401604 h 1857375"/>
                  <a:gd name="connsiteX793" fmla="*/ 320516 w 1247775"/>
                  <a:gd name="connsiteY793" fmla="*/ 1390174 h 1857375"/>
                  <a:gd name="connsiteX794" fmla="*/ 320516 w 1247775"/>
                  <a:gd name="connsiteY794" fmla="*/ 1390174 h 1857375"/>
                  <a:gd name="connsiteX795" fmla="*/ 325279 w 1247775"/>
                  <a:gd name="connsiteY795" fmla="*/ 1388269 h 1857375"/>
                  <a:gd name="connsiteX796" fmla="*/ 329089 w 1247775"/>
                  <a:gd name="connsiteY796" fmla="*/ 1389221 h 1857375"/>
                  <a:gd name="connsiteX797" fmla="*/ 329089 w 1247775"/>
                  <a:gd name="connsiteY797" fmla="*/ 1390174 h 1857375"/>
                  <a:gd name="connsiteX798" fmla="*/ 347186 w 1247775"/>
                  <a:gd name="connsiteY798" fmla="*/ 1413986 h 1857375"/>
                  <a:gd name="connsiteX799" fmla="*/ 346234 w 1247775"/>
                  <a:gd name="connsiteY799" fmla="*/ 1417796 h 1857375"/>
                  <a:gd name="connsiteX800" fmla="*/ 347186 w 1247775"/>
                  <a:gd name="connsiteY800" fmla="*/ 1420654 h 1857375"/>
                  <a:gd name="connsiteX801" fmla="*/ 343376 w 1247775"/>
                  <a:gd name="connsiteY801" fmla="*/ 1433036 h 1857375"/>
                  <a:gd name="connsiteX802" fmla="*/ 347186 w 1247775"/>
                  <a:gd name="connsiteY802" fmla="*/ 1446371 h 1857375"/>
                  <a:gd name="connsiteX803" fmla="*/ 334804 w 1247775"/>
                  <a:gd name="connsiteY803" fmla="*/ 1461611 h 1857375"/>
                  <a:gd name="connsiteX804" fmla="*/ 350044 w 1247775"/>
                  <a:gd name="connsiteY804" fmla="*/ 1476851 h 1857375"/>
                  <a:gd name="connsiteX805" fmla="*/ 359569 w 1247775"/>
                  <a:gd name="connsiteY805" fmla="*/ 1473994 h 1857375"/>
                  <a:gd name="connsiteX806" fmla="*/ 377666 w 1247775"/>
                  <a:gd name="connsiteY806" fmla="*/ 1486376 h 1857375"/>
                  <a:gd name="connsiteX807" fmla="*/ 388144 w 1247775"/>
                  <a:gd name="connsiteY807" fmla="*/ 1492091 h 1857375"/>
                  <a:gd name="connsiteX808" fmla="*/ 400526 w 1247775"/>
                  <a:gd name="connsiteY808" fmla="*/ 1479709 h 1857375"/>
                  <a:gd name="connsiteX809" fmla="*/ 400526 w 1247775"/>
                  <a:gd name="connsiteY809" fmla="*/ 1478756 h 1857375"/>
                  <a:gd name="connsiteX810" fmla="*/ 408146 w 1247775"/>
                  <a:gd name="connsiteY810" fmla="*/ 1460659 h 1857375"/>
                  <a:gd name="connsiteX811" fmla="*/ 396716 w 1247775"/>
                  <a:gd name="connsiteY811" fmla="*/ 1438751 h 1857375"/>
                  <a:gd name="connsiteX812" fmla="*/ 397669 w 1247775"/>
                  <a:gd name="connsiteY812" fmla="*/ 1433989 h 1857375"/>
                  <a:gd name="connsiteX813" fmla="*/ 395764 w 1247775"/>
                  <a:gd name="connsiteY813" fmla="*/ 1425416 h 1857375"/>
                  <a:gd name="connsiteX814" fmla="*/ 396716 w 1247775"/>
                  <a:gd name="connsiteY814" fmla="*/ 1420654 h 1857375"/>
                  <a:gd name="connsiteX815" fmla="*/ 396716 w 1247775"/>
                  <a:gd name="connsiteY815" fmla="*/ 1420654 h 1857375"/>
                  <a:gd name="connsiteX816" fmla="*/ 399574 w 1247775"/>
                  <a:gd name="connsiteY816" fmla="*/ 1423511 h 1857375"/>
                  <a:gd name="connsiteX817" fmla="*/ 395764 w 1247775"/>
                  <a:gd name="connsiteY817" fmla="*/ 1431131 h 1857375"/>
                  <a:gd name="connsiteX818" fmla="*/ 406241 w 1247775"/>
                  <a:gd name="connsiteY818" fmla="*/ 1441609 h 1857375"/>
                  <a:gd name="connsiteX819" fmla="*/ 416719 w 1247775"/>
                  <a:gd name="connsiteY819" fmla="*/ 1432084 h 1857375"/>
                  <a:gd name="connsiteX820" fmla="*/ 422434 w 1247775"/>
                  <a:gd name="connsiteY820" fmla="*/ 1433036 h 1857375"/>
                  <a:gd name="connsiteX821" fmla="*/ 420529 w 1247775"/>
                  <a:gd name="connsiteY821" fmla="*/ 1440656 h 1857375"/>
                  <a:gd name="connsiteX822" fmla="*/ 427196 w 1247775"/>
                  <a:gd name="connsiteY822" fmla="*/ 1454944 h 1857375"/>
                  <a:gd name="connsiteX823" fmla="*/ 417671 w 1247775"/>
                  <a:gd name="connsiteY823" fmla="*/ 1471136 h 1857375"/>
                  <a:gd name="connsiteX824" fmla="*/ 419576 w 1247775"/>
                  <a:gd name="connsiteY824" fmla="*/ 1478756 h 1857375"/>
                  <a:gd name="connsiteX825" fmla="*/ 408146 w 1247775"/>
                  <a:gd name="connsiteY825" fmla="*/ 1490186 h 1857375"/>
                  <a:gd name="connsiteX826" fmla="*/ 411956 w 1247775"/>
                  <a:gd name="connsiteY826" fmla="*/ 1498759 h 1857375"/>
                  <a:gd name="connsiteX827" fmla="*/ 411004 w 1247775"/>
                  <a:gd name="connsiteY827" fmla="*/ 1502569 h 1857375"/>
                  <a:gd name="connsiteX828" fmla="*/ 404336 w 1247775"/>
                  <a:gd name="connsiteY828" fmla="*/ 1500664 h 1857375"/>
                  <a:gd name="connsiteX829" fmla="*/ 393859 w 1247775"/>
                  <a:gd name="connsiteY829" fmla="*/ 1511141 h 1857375"/>
                  <a:gd name="connsiteX830" fmla="*/ 399574 w 1247775"/>
                  <a:gd name="connsiteY830" fmla="*/ 1519714 h 1857375"/>
                  <a:gd name="connsiteX831" fmla="*/ 387191 w 1247775"/>
                  <a:gd name="connsiteY831" fmla="*/ 1535906 h 1857375"/>
                  <a:gd name="connsiteX832" fmla="*/ 389096 w 1247775"/>
                  <a:gd name="connsiteY832" fmla="*/ 1544479 h 1857375"/>
                  <a:gd name="connsiteX833" fmla="*/ 384334 w 1247775"/>
                  <a:gd name="connsiteY833" fmla="*/ 1545431 h 1857375"/>
                  <a:gd name="connsiteX834" fmla="*/ 367189 w 1247775"/>
                  <a:gd name="connsiteY834" fmla="*/ 1530191 h 1857375"/>
                  <a:gd name="connsiteX835" fmla="*/ 350044 w 1247775"/>
                  <a:gd name="connsiteY835" fmla="*/ 1547336 h 1857375"/>
                  <a:gd name="connsiteX836" fmla="*/ 361474 w 1247775"/>
                  <a:gd name="connsiteY836" fmla="*/ 1563529 h 1857375"/>
                  <a:gd name="connsiteX837" fmla="*/ 359569 w 1247775"/>
                  <a:gd name="connsiteY837" fmla="*/ 1568291 h 1857375"/>
                  <a:gd name="connsiteX838" fmla="*/ 352901 w 1247775"/>
                  <a:gd name="connsiteY838" fmla="*/ 1565434 h 1857375"/>
                  <a:gd name="connsiteX839" fmla="*/ 344329 w 1247775"/>
                  <a:gd name="connsiteY839" fmla="*/ 1574006 h 1857375"/>
                  <a:gd name="connsiteX840" fmla="*/ 346234 w 1247775"/>
                  <a:gd name="connsiteY840" fmla="*/ 1578769 h 1857375"/>
                  <a:gd name="connsiteX841" fmla="*/ 338614 w 1247775"/>
                  <a:gd name="connsiteY841" fmla="*/ 1594961 h 1857375"/>
                  <a:gd name="connsiteX842" fmla="*/ 357664 w 1247775"/>
                  <a:gd name="connsiteY842" fmla="*/ 1615916 h 1857375"/>
                  <a:gd name="connsiteX843" fmla="*/ 361474 w 1247775"/>
                  <a:gd name="connsiteY843" fmla="*/ 1620679 h 1857375"/>
                  <a:gd name="connsiteX844" fmla="*/ 375761 w 1247775"/>
                  <a:gd name="connsiteY844" fmla="*/ 1637824 h 1857375"/>
                  <a:gd name="connsiteX845" fmla="*/ 376714 w 1247775"/>
                  <a:gd name="connsiteY845" fmla="*/ 1640681 h 1857375"/>
                  <a:gd name="connsiteX846" fmla="*/ 355759 w 1247775"/>
                  <a:gd name="connsiteY846" fmla="*/ 1662589 h 1857375"/>
                  <a:gd name="connsiteX847" fmla="*/ 347186 w 1247775"/>
                  <a:gd name="connsiteY847" fmla="*/ 1657826 h 1857375"/>
                  <a:gd name="connsiteX848" fmla="*/ 358616 w 1247775"/>
                  <a:gd name="connsiteY848" fmla="*/ 1637824 h 1857375"/>
                  <a:gd name="connsiteX849" fmla="*/ 341471 w 1247775"/>
                  <a:gd name="connsiteY849" fmla="*/ 1614964 h 1857375"/>
                  <a:gd name="connsiteX850" fmla="*/ 324326 w 1247775"/>
                  <a:gd name="connsiteY850" fmla="*/ 1589246 h 1857375"/>
                  <a:gd name="connsiteX851" fmla="*/ 321469 w 1247775"/>
                  <a:gd name="connsiteY851" fmla="*/ 1579721 h 1857375"/>
                  <a:gd name="connsiteX852" fmla="*/ 322421 w 1247775"/>
                  <a:gd name="connsiteY852" fmla="*/ 1575911 h 1857375"/>
                  <a:gd name="connsiteX853" fmla="*/ 309086 w 1247775"/>
                  <a:gd name="connsiteY853" fmla="*/ 1562576 h 1857375"/>
                  <a:gd name="connsiteX854" fmla="*/ 306229 w 1247775"/>
                  <a:gd name="connsiteY854" fmla="*/ 1562576 h 1857375"/>
                  <a:gd name="connsiteX855" fmla="*/ 306229 w 1247775"/>
                  <a:gd name="connsiteY855" fmla="*/ 1558766 h 1857375"/>
                  <a:gd name="connsiteX856" fmla="*/ 305276 w 1247775"/>
                  <a:gd name="connsiteY856" fmla="*/ 1552099 h 1857375"/>
                  <a:gd name="connsiteX857" fmla="*/ 308134 w 1247775"/>
                  <a:gd name="connsiteY857" fmla="*/ 1550194 h 1857375"/>
                  <a:gd name="connsiteX858" fmla="*/ 316706 w 1247775"/>
                  <a:gd name="connsiteY858" fmla="*/ 1554956 h 1857375"/>
                  <a:gd name="connsiteX859" fmla="*/ 317659 w 1247775"/>
                  <a:gd name="connsiteY859" fmla="*/ 1554956 h 1857375"/>
                  <a:gd name="connsiteX860" fmla="*/ 316706 w 1247775"/>
                  <a:gd name="connsiteY860" fmla="*/ 1558766 h 1857375"/>
                  <a:gd name="connsiteX861" fmla="*/ 327184 w 1247775"/>
                  <a:gd name="connsiteY861" fmla="*/ 1569244 h 1857375"/>
                  <a:gd name="connsiteX862" fmla="*/ 337661 w 1247775"/>
                  <a:gd name="connsiteY862" fmla="*/ 1558766 h 1857375"/>
                  <a:gd name="connsiteX863" fmla="*/ 327184 w 1247775"/>
                  <a:gd name="connsiteY863" fmla="*/ 1548289 h 1857375"/>
                  <a:gd name="connsiteX864" fmla="*/ 326231 w 1247775"/>
                  <a:gd name="connsiteY864" fmla="*/ 1548289 h 1857375"/>
                  <a:gd name="connsiteX865" fmla="*/ 327184 w 1247775"/>
                  <a:gd name="connsiteY865" fmla="*/ 1544479 h 1857375"/>
                  <a:gd name="connsiteX866" fmla="*/ 316706 w 1247775"/>
                  <a:gd name="connsiteY866" fmla="*/ 1534001 h 1857375"/>
                  <a:gd name="connsiteX867" fmla="*/ 313849 w 1247775"/>
                  <a:gd name="connsiteY867" fmla="*/ 1534954 h 1857375"/>
                  <a:gd name="connsiteX868" fmla="*/ 312896 w 1247775"/>
                  <a:gd name="connsiteY868" fmla="*/ 1533049 h 1857375"/>
                  <a:gd name="connsiteX869" fmla="*/ 335756 w 1247775"/>
                  <a:gd name="connsiteY869" fmla="*/ 1505426 h 1857375"/>
                  <a:gd name="connsiteX870" fmla="*/ 331946 w 1247775"/>
                  <a:gd name="connsiteY870" fmla="*/ 1492091 h 1857375"/>
                  <a:gd name="connsiteX871" fmla="*/ 332899 w 1247775"/>
                  <a:gd name="connsiteY871" fmla="*/ 1488281 h 1857375"/>
                  <a:gd name="connsiteX872" fmla="*/ 324326 w 1247775"/>
                  <a:gd name="connsiteY872" fmla="*/ 1479709 h 1857375"/>
                  <a:gd name="connsiteX873" fmla="*/ 320516 w 1247775"/>
                  <a:gd name="connsiteY873" fmla="*/ 1480661 h 1857375"/>
                  <a:gd name="connsiteX874" fmla="*/ 308134 w 1247775"/>
                  <a:gd name="connsiteY874" fmla="*/ 1477804 h 1857375"/>
                  <a:gd name="connsiteX875" fmla="*/ 283369 w 1247775"/>
                  <a:gd name="connsiteY875" fmla="*/ 1492091 h 1857375"/>
                  <a:gd name="connsiteX876" fmla="*/ 279559 w 1247775"/>
                  <a:gd name="connsiteY876" fmla="*/ 1491139 h 1857375"/>
                  <a:gd name="connsiteX877" fmla="*/ 265271 w 1247775"/>
                  <a:gd name="connsiteY877" fmla="*/ 1500664 h 1857375"/>
                  <a:gd name="connsiteX878" fmla="*/ 258604 w 1247775"/>
                  <a:gd name="connsiteY878" fmla="*/ 1508284 h 1857375"/>
                  <a:gd name="connsiteX879" fmla="*/ 250031 w 1247775"/>
                  <a:gd name="connsiteY879" fmla="*/ 1506379 h 1857375"/>
                  <a:gd name="connsiteX880" fmla="*/ 231934 w 1247775"/>
                  <a:gd name="connsiteY880" fmla="*/ 1524476 h 1857375"/>
                  <a:gd name="connsiteX881" fmla="*/ 243364 w 1247775"/>
                  <a:gd name="connsiteY881" fmla="*/ 1541621 h 1857375"/>
                  <a:gd name="connsiteX882" fmla="*/ 242411 w 1247775"/>
                  <a:gd name="connsiteY882" fmla="*/ 1543526 h 1857375"/>
                  <a:gd name="connsiteX883" fmla="*/ 239554 w 1247775"/>
                  <a:gd name="connsiteY883" fmla="*/ 1543526 h 1857375"/>
                  <a:gd name="connsiteX884" fmla="*/ 225266 w 1247775"/>
                  <a:gd name="connsiteY884" fmla="*/ 1548289 h 1857375"/>
                  <a:gd name="connsiteX885" fmla="*/ 210026 w 1247775"/>
                  <a:gd name="connsiteY885" fmla="*/ 1544479 h 1857375"/>
                  <a:gd name="connsiteX886" fmla="*/ 189071 w 1247775"/>
                  <a:gd name="connsiteY886" fmla="*/ 1553051 h 1857375"/>
                  <a:gd name="connsiteX887" fmla="*/ 170974 w 1247775"/>
                  <a:gd name="connsiteY887" fmla="*/ 1543526 h 1857375"/>
                  <a:gd name="connsiteX888" fmla="*/ 162401 w 1247775"/>
                  <a:gd name="connsiteY888" fmla="*/ 1545431 h 1857375"/>
                  <a:gd name="connsiteX889" fmla="*/ 152876 w 1247775"/>
                  <a:gd name="connsiteY889" fmla="*/ 1537811 h 1857375"/>
                  <a:gd name="connsiteX890" fmla="*/ 143351 w 1247775"/>
                  <a:gd name="connsiteY890" fmla="*/ 1547336 h 1857375"/>
                  <a:gd name="connsiteX891" fmla="*/ 150971 w 1247775"/>
                  <a:gd name="connsiteY891" fmla="*/ 1556861 h 1857375"/>
                  <a:gd name="connsiteX892" fmla="*/ 149066 w 1247775"/>
                  <a:gd name="connsiteY892" fmla="*/ 1566386 h 1857375"/>
                  <a:gd name="connsiteX893" fmla="*/ 153829 w 1247775"/>
                  <a:gd name="connsiteY893" fmla="*/ 1580674 h 1857375"/>
                  <a:gd name="connsiteX894" fmla="*/ 143351 w 1247775"/>
                  <a:gd name="connsiteY894" fmla="*/ 1593056 h 1857375"/>
                  <a:gd name="connsiteX895" fmla="*/ 155734 w 1247775"/>
                  <a:gd name="connsiteY895" fmla="*/ 1605439 h 1857375"/>
                  <a:gd name="connsiteX896" fmla="*/ 168116 w 1247775"/>
                  <a:gd name="connsiteY896" fmla="*/ 1593056 h 1857375"/>
                  <a:gd name="connsiteX897" fmla="*/ 167164 w 1247775"/>
                  <a:gd name="connsiteY897" fmla="*/ 1589246 h 1857375"/>
                  <a:gd name="connsiteX898" fmla="*/ 170974 w 1247775"/>
                  <a:gd name="connsiteY898" fmla="*/ 1589246 h 1857375"/>
                  <a:gd name="connsiteX899" fmla="*/ 182404 w 1247775"/>
                  <a:gd name="connsiteY899" fmla="*/ 1586389 h 1857375"/>
                  <a:gd name="connsiteX900" fmla="*/ 184309 w 1247775"/>
                  <a:gd name="connsiteY900" fmla="*/ 1589246 h 1857375"/>
                  <a:gd name="connsiteX901" fmla="*/ 183356 w 1247775"/>
                  <a:gd name="connsiteY901" fmla="*/ 1597819 h 1857375"/>
                  <a:gd name="connsiteX902" fmla="*/ 195739 w 1247775"/>
                  <a:gd name="connsiteY902" fmla="*/ 1620679 h 1857375"/>
                  <a:gd name="connsiteX903" fmla="*/ 195739 w 1247775"/>
                  <a:gd name="connsiteY903" fmla="*/ 1620679 h 1857375"/>
                  <a:gd name="connsiteX904" fmla="*/ 201454 w 1247775"/>
                  <a:gd name="connsiteY904" fmla="*/ 1626394 h 1857375"/>
                  <a:gd name="connsiteX905" fmla="*/ 206216 w 1247775"/>
                  <a:gd name="connsiteY905" fmla="*/ 1624489 h 1857375"/>
                  <a:gd name="connsiteX906" fmla="*/ 210026 w 1247775"/>
                  <a:gd name="connsiteY906" fmla="*/ 1624489 h 1857375"/>
                  <a:gd name="connsiteX907" fmla="*/ 236696 w 1247775"/>
                  <a:gd name="connsiteY907" fmla="*/ 1600676 h 1857375"/>
                  <a:gd name="connsiteX908" fmla="*/ 249079 w 1247775"/>
                  <a:gd name="connsiteY908" fmla="*/ 1604486 h 1857375"/>
                  <a:gd name="connsiteX909" fmla="*/ 247174 w 1247775"/>
                  <a:gd name="connsiteY909" fmla="*/ 1614011 h 1857375"/>
                  <a:gd name="connsiteX910" fmla="*/ 248126 w 1247775"/>
                  <a:gd name="connsiteY910" fmla="*/ 1619726 h 1857375"/>
                  <a:gd name="connsiteX911" fmla="*/ 247174 w 1247775"/>
                  <a:gd name="connsiteY911" fmla="*/ 1619726 h 1857375"/>
                  <a:gd name="connsiteX912" fmla="*/ 233839 w 1247775"/>
                  <a:gd name="connsiteY912" fmla="*/ 1633061 h 1857375"/>
                  <a:gd name="connsiteX913" fmla="*/ 246221 w 1247775"/>
                  <a:gd name="connsiteY913" fmla="*/ 1646396 h 1857375"/>
                  <a:gd name="connsiteX914" fmla="*/ 258604 w 1247775"/>
                  <a:gd name="connsiteY914" fmla="*/ 1657826 h 1857375"/>
                  <a:gd name="connsiteX915" fmla="*/ 270986 w 1247775"/>
                  <a:gd name="connsiteY915" fmla="*/ 1645444 h 1857375"/>
                  <a:gd name="connsiteX916" fmla="*/ 268129 w 1247775"/>
                  <a:gd name="connsiteY916" fmla="*/ 1637824 h 1857375"/>
                  <a:gd name="connsiteX917" fmla="*/ 270034 w 1247775"/>
                  <a:gd name="connsiteY917" fmla="*/ 1637824 h 1857375"/>
                  <a:gd name="connsiteX918" fmla="*/ 281464 w 1247775"/>
                  <a:gd name="connsiteY918" fmla="*/ 1634966 h 1857375"/>
                  <a:gd name="connsiteX919" fmla="*/ 291941 w 1247775"/>
                  <a:gd name="connsiteY919" fmla="*/ 1644491 h 1857375"/>
                  <a:gd name="connsiteX920" fmla="*/ 290036 w 1247775"/>
                  <a:gd name="connsiteY920" fmla="*/ 1651159 h 1857375"/>
                  <a:gd name="connsiteX921" fmla="*/ 303371 w 1247775"/>
                  <a:gd name="connsiteY921" fmla="*/ 1664494 h 1857375"/>
                  <a:gd name="connsiteX922" fmla="*/ 312896 w 1247775"/>
                  <a:gd name="connsiteY922" fmla="*/ 1660684 h 1857375"/>
                  <a:gd name="connsiteX923" fmla="*/ 311944 w 1247775"/>
                  <a:gd name="connsiteY923" fmla="*/ 1664494 h 1857375"/>
                  <a:gd name="connsiteX924" fmla="*/ 324326 w 1247775"/>
                  <a:gd name="connsiteY924" fmla="*/ 1676876 h 1857375"/>
                  <a:gd name="connsiteX925" fmla="*/ 330041 w 1247775"/>
                  <a:gd name="connsiteY925" fmla="*/ 1675924 h 1857375"/>
                  <a:gd name="connsiteX926" fmla="*/ 342424 w 1247775"/>
                  <a:gd name="connsiteY926" fmla="*/ 1683544 h 1857375"/>
                  <a:gd name="connsiteX927" fmla="*/ 351949 w 1247775"/>
                  <a:gd name="connsiteY927" fmla="*/ 1679734 h 1857375"/>
                  <a:gd name="connsiteX928" fmla="*/ 360521 w 1247775"/>
                  <a:gd name="connsiteY928" fmla="*/ 1694974 h 1857375"/>
                  <a:gd name="connsiteX929" fmla="*/ 358616 w 1247775"/>
                  <a:gd name="connsiteY929" fmla="*/ 1694974 h 1857375"/>
                  <a:gd name="connsiteX930" fmla="*/ 348139 w 1247775"/>
                  <a:gd name="connsiteY930" fmla="*/ 1705451 h 1857375"/>
                  <a:gd name="connsiteX931" fmla="*/ 354806 w 1247775"/>
                  <a:gd name="connsiteY931" fmla="*/ 1714976 h 1857375"/>
                  <a:gd name="connsiteX932" fmla="*/ 345281 w 1247775"/>
                  <a:gd name="connsiteY932" fmla="*/ 1729264 h 1857375"/>
                  <a:gd name="connsiteX933" fmla="*/ 360521 w 1247775"/>
                  <a:gd name="connsiteY933" fmla="*/ 1744504 h 1857375"/>
                  <a:gd name="connsiteX934" fmla="*/ 375761 w 1247775"/>
                  <a:gd name="connsiteY934" fmla="*/ 1729264 h 1857375"/>
                  <a:gd name="connsiteX935" fmla="*/ 363379 w 1247775"/>
                  <a:gd name="connsiteY935" fmla="*/ 1714024 h 1857375"/>
                  <a:gd name="connsiteX936" fmla="*/ 368141 w 1247775"/>
                  <a:gd name="connsiteY936" fmla="*/ 1705451 h 1857375"/>
                  <a:gd name="connsiteX937" fmla="*/ 367189 w 1247775"/>
                  <a:gd name="connsiteY937" fmla="*/ 1701641 h 1857375"/>
                  <a:gd name="connsiteX938" fmla="*/ 374809 w 1247775"/>
                  <a:gd name="connsiteY938" fmla="*/ 1704499 h 1857375"/>
                  <a:gd name="connsiteX939" fmla="*/ 381476 w 1247775"/>
                  <a:gd name="connsiteY939" fmla="*/ 1707356 h 1857375"/>
                  <a:gd name="connsiteX940" fmla="*/ 385286 w 1247775"/>
                  <a:gd name="connsiteY940" fmla="*/ 1706404 h 1857375"/>
                  <a:gd name="connsiteX941" fmla="*/ 386239 w 1247775"/>
                  <a:gd name="connsiteY941" fmla="*/ 1706404 h 1857375"/>
                  <a:gd name="connsiteX942" fmla="*/ 416719 w 1247775"/>
                  <a:gd name="connsiteY942" fmla="*/ 1688306 h 1857375"/>
                  <a:gd name="connsiteX943" fmla="*/ 421481 w 1247775"/>
                  <a:gd name="connsiteY943" fmla="*/ 1681639 h 1857375"/>
                  <a:gd name="connsiteX944" fmla="*/ 420529 w 1247775"/>
                  <a:gd name="connsiteY944" fmla="*/ 1678781 h 1857375"/>
                  <a:gd name="connsiteX945" fmla="*/ 420529 w 1247775"/>
                  <a:gd name="connsiteY945" fmla="*/ 1675924 h 1857375"/>
                  <a:gd name="connsiteX946" fmla="*/ 433864 w 1247775"/>
                  <a:gd name="connsiteY946" fmla="*/ 1679734 h 1857375"/>
                  <a:gd name="connsiteX947" fmla="*/ 436721 w 1247775"/>
                  <a:gd name="connsiteY947" fmla="*/ 1686401 h 1857375"/>
                  <a:gd name="connsiteX948" fmla="*/ 415766 w 1247775"/>
                  <a:gd name="connsiteY948" fmla="*/ 1702594 h 1857375"/>
                  <a:gd name="connsiteX949" fmla="*/ 414814 w 1247775"/>
                  <a:gd name="connsiteY949" fmla="*/ 1702594 h 1857375"/>
                  <a:gd name="connsiteX950" fmla="*/ 409099 w 1247775"/>
                  <a:gd name="connsiteY950" fmla="*/ 1708309 h 1857375"/>
                  <a:gd name="connsiteX951" fmla="*/ 409099 w 1247775"/>
                  <a:gd name="connsiteY951" fmla="*/ 1710214 h 1857375"/>
                  <a:gd name="connsiteX952" fmla="*/ 407194 w 1247775"/>
                  <a:gd name="connsiteY952" fmla="*/ 1711166 h 1857375"/>
                  <a:gd name="connsiteX953" fmla="*/ 399574 w 1247775"/>
                  <a:gd name="connsiteY953" fmla="*/ 1705451 h 1857375"/>
                  <a:gd name="connsiteX954" fmla="*/ 391954 w 1247775"/>
                  <a:gd name="connsiteY954" fmla="*/ 1713071 h 1857375"/>
                  <a:gd name="connsiteX955" fmla="*/ 399574 w 1247775"/>
                  <a:gd name="connsiteY955" fmla="*/ 1720691 h 1857375"/>
                  <a:gd name="connsiteX956" fmla="*/ 400526 w 1247775"/>
                  <a:gd name="connsiteY956" fmla="*/ 1720691 h 1857375"/>
                  <a:gd name="connsiteX957" fmla="*/ 400526 w 1247775"/>
                  <a:gd name="connsiteY957" fmla="*/ 1724501 h 1857375"/>
                  <a:gd name="connsiteX958" fmla="*/ 401479 w 1247775"/>
                  <a:gd name="connsiteY958" fmla="*/ 1729264 h 1857375"/>
                  <a:gd name="connsiteX959" fmla="*/ 392906 w 1247775"/>
                  <a:gd name="connsiteY959" fmla="*/ 1743551 h 1857375"/>
                  <a:gd name="connsiteX960" fmla="*/ 394811 w 1247775"/>
                  <a:gd name="connsiteY960" fmla="*/ 1752124 h 1857375"/>
                  <a:gd name="connsiteX961" fmla="*/ 380524 w 1247775"/>
                  <a:gd name="connsiteY961" fmla="*/ 1756886 h 1857375"/>
                  <a:gd name="connsiteX962" fmla="*/ 367189 w 1247775"/>
                  <a:gd name="connsiteY962" fmla="*/ 1751171 h 1857375"/>
                  <a:gd name="connsiteX963" fmla="*/ 348139 w 1247775"/>
                  <a:gd name="connsiteY963" fmla="*/ 1766411 h 1857375"/>
                  <a:gd name="connsiteX964" fmla="*/ 347186 w 1247775"/>
                  <a:gd name="connsiteY964" fmla="*/ 1767364 h 1857375"/>
                  <a:gd name="connsiteX965" fmla="*/ 348139 w 1247775"/>
                  <a:gd name="connsiteY965" fmla="*/ 1761649 h 1857375"/>
                  <a:gd name="connsiteX966" fmla="*/ 333851 w 1247775"/>
                  <a:gd name="connsiteY966" fmla="*/ 1747361 h 1857375"/>
                  <a:gd name="connsiteX967" fmla="*/ 324326 w 1247775"/>
                  <a:gd name="connsiteY967" fmla="*/ 1751171 h 1857375"/>
                  <a:gd name="connsiteX968" fmla="*/ 298609 w 1247775"/>
                  <a:gd name="connsiteY968" fmla="*/ 1736884 h 1857375"/>
                  <a:gd name="connsiteX969" fmla="*/ 268129 w 1247775"/>
                  <a:gd name="connsiteY969" fmla="*/ 1766411 h 1857375"/>
                  <a:gd name="connsiteX970" fmla="*/ 263366 w 1247775"/>
                  <a:gd name="connsiteY970" fmla="*/ 1767364 h 1857375"/>
                  <a:gd name="connsiteX971" fmla="*/ 265271 w 1247775"/>
                  <a:gd name="connsiteY971" fmla="*/ 1758791 h 1857375"/>
                  <a:gd name="connsiteX972" fmla="*/ 238601 w 1247775"/>
                  <a:gd name="connsiteY972" fmla="*/ 1732121 h 1857375"/>
                  <a:gd name="connsiteX973" fmla="*/ 211931 w 1247775"/>
                  <a:gd name="connsiteY973" fmla="*/ 1758791 h 1857375"/>
                  <a:gd name="connsiteX974" fmla="*/ 212884 w 1247775"/>
                  <a:gd name="connsiteY974" fmla="*/ 1764506 h 1857375"/>
                  <a:gd name="connsiteX975" fmla="*/ 212884 w 1247775"/>
                  <a:gd name="connsiteY975" fmla="*/ 1765459 h 1857375"/>
                  <a:gd name="connsiteX976" fmla="*/ 214789 w 1247775"/>
                  <a:gd name="connsiteY976" fmla="*/ 1773079 h 1857375"/>
                  <a:gd name="connsiteX977" fmla="*/ 207169 w 1247775"/>
                  <a:gd name="connsiteY977" fmla="*/ 1781651 h 1857375"/>
                  <a:gd name="connsiteX978" fmla="*/ 208121 w 1247775"/>
                  <a:gd name="connsiteY978" fmla="*/ 1784509 h 1857375"/>
                  <a:gd name="connsiteX979" fmla="*/ 195739 w 1247775"/>
                  <a:gd name="connsiteY979" fmla="*/ 1810226 h 1857375"/>
                  <a:gd name="connsiteX980" fmla="*/ 230029 w 1247775"/>
                  <a:gd name="connsiteY980" fmla="*/ 1847374 h 1857375"/>
                  <a:gd name="connsiteX981" fmla="*/ 260509 w 1247775"/>
                  <a:gd name="connsiteY981" fmla="*/ 1832134 h 1857375"/>
                  <a:gd name="connsiteX982" fmla="*/ 260509 w 1247775"/>
                  <a:gd name="connsiteY982" fmla="*/ 1834991 h 1857375"/>
                  <a:gd name="connsiteX983" fmla="*/ 261461 w 1247775"/>
                  <a:gd name="connsiteY983" fmla="*/ 1839754 h 1857375"/>
                  <a:gd name="connsiteX984" fmla="*/ 257651 w 1247775"/>
                  <a:gd name="connsiteY984" fmla="*/ 1844516 h 1857375"/>
                  <a:gd name="connsiteX985" fmla="*/ 263366 w 1247775"/>
                  <a:gd name="connsiteY985" fmla="*/ 1850231 h 1857375"/>
                  <a:gd name="connsiteX986" fmla="*/ 267176 w 1247775"/>
                  <a:gd name="connsiteY986" fmla="*/ 1848326 h 1857375"/>
                  <a:gd name="connsiteX987" fmla="*/ 270986 w 1247775"/>
                  <a:gd name="connsiteY987" fmla="*/ 1850231 h 1857375"/>
                  <a:gd name="connsiteX988" fmla="*/ 279559 w 1247775"/>
                  <a:gd name="connsiteY988" fmla="*/ 1855946 h 1857375"/>
                  <a:gd name="connsiteX989" fmla="*/ 288131 w 1247775"/>
                  <a:gd name="connsiteY989" fmla="*/ 1850231 h 1857375"/>
                  <a:gd name="connsiteX990" fmla="*/ 300514 w 1247775"/>
                  <a:gd name="connsiteY990" fmla="*/ 1854041 h 1857375"/>
                  <a:gd name="connsiteX991" fmla="*/ 310039 w 1247775"/>
                  <a:gd name="connsiteY991" fmla="*/ 1852136 h 1857375"/>
                  <a:gd name="connsiteX992" fmla="*/ 329089 w 1247775"/>
                  <a:gd name="connsiteY992" fmla="*/ 1834039 h 1857375"/>
                  <a:gd name="connsiteX993" fmla="*/ 334804 w 1247775"/>
                  <a:gd name="connsiteY993" fmla="*/ 1828324 h 1857375"/>
                  <a:gd name="connsiteX994" fmla="*/ 337661 w 1247775"/>
                  <a:gd name="connsiteY994" fmla="*/ 1828324 h 1857375"/>
                  <a:gd name="connsiteX995" fmla="*/ 356711 w 1247775"/>
                  <a:gd name="connsiteY995" fmla="*/ 1817846 h 1857375"/>
                  <a:gd name="connsiteX996" fmla="*/ 368141 w 1247775"/>
                  <a:gd name="connsiteY996" fmla="*/ 1819751 h 1857375"/>
                  <a:gd name="connsiteX997" fmla="*/ 380524 w 1247775"/>
                  <a:gd name="connsiteY997" fmla="*/ 1817846 h 1857375"/>
                  <a:gd name="connsiteX998" fmla="*/ 400526 w 1247775"/>
                  <a:gd name="connsiteY998" fmla="*/ 1823561 h 1857375"/>
                  <a:gd name="connsiteX999" fmla="*/ 437674 w 1247775"/>
                  <a:gd name="connsiteY999" fmla="*/ 1786414 h 1857375"/>
                  <a:gd name="connsiteX1000" fmla="*/ 437674 w 1247775"/>
                  <a:gd name="connsiteY1000" fmla="*/ 1786414 h 1857375"/>
                  <a:gd name="connsiteX1001" fmla="*/ 441484 w 1247775"/>
                  <a:gd name="connsiteY1001" fmla="*/ 1786414 h 1857375"/>
                  <a:gd name="connsiteX1002" fmla="*/ 454819 w 1247775"/>
                  <a:gd name="connsiteY1002" fmla="*/ 1782604 h 1857375"/>
                  <a:gd name="connsiteX1003" fmla="*/ 461486 w 1247775"/>
                  <a:gd name="connsiteY1003" fmla="*/ 1784509 h 1857375"/>
                  <a:gd name="connsiteX1004" fmla="*/ 475774 w 1247775"/>
                  <a:gd name="connsiteY1004" fmla="*/ 1770221 h 1857375"/>
                  <a:gd name="connsiteX1005" fmla="*/ 472916 w 1247775"/>
                  <a:gd name="connsiteY1005" fmla="*/ 1762601 h 1857375"/>
                  <a:gd name="connsiteX1006" fmla="*/ 488156 w 1247775"/>
                  <a:gd name="connsiteY1006" fmla="*/ 1753076 h 1857375"/>
                  <a:gd name="connsiteX1007" fmla="*/ 493871 w 1247775"/>
                  <a:gd name="connsiteY1007" fmla="*/ 1750219 h 1857375"/>
                  <a:gd name="connsiteX1008" fmla="*/ 493871 w 1247775"/>
                  <a:gd name="connsiteY1008" fmla="*/ 1751171 h 1857375"/>
                  <a:gd name="connsiteX1009" fmla="*/ 525304 w 1247775"/>
                  <a:gd name="connsiteY1009" fmla="*/ 1782604 h 1857375"/>
                  <a:gd name="connsiteX1010" fmla="*/ 533876 w 1247775"/>
                  <a:gd name="connsiteY1010" fmla="*/ 1780699 h 1857375"/>
                  <a:gd name="connsiteX1011" fmla="*/ 550069 w 1247775"/>
                  <a:gd name="connsiteY1011" fmla="*/ 1785461 h 1857375"/>
                  <a:gd name="connsiteX1012" fmla="*/ 567214 w 1247775"/>
                  <a:gd name="connsiteY1012" fmla="*/ 1779746 h 1857375"/>
                  <a:gd name="connsiteX1013" fmla="*/ 575786 w 1247775"/>
                  <a:gd name="connsiteY1013" fmla="*/ 1780699 h 1857375"/>
                  <a:gd name="connsiteX1014" fmla="*/ 601504 w 1247775"/>
                  <a:gd name="connsiteY1014" fmla="*/ 1769269 h 1857375"/>
                  <a:gd name="connsiteX1015" fmla="*/ 604361 w 1247775"/>
                  <a:gd name="connsiteY1015" fmla="*/ 1769269 h 1857375"/>
                  <a:gd name="connsiteX1016" fmla="*/ 615791 w 1247775"/>
                  <a:gd name="connsiteY1016" fmla="*/ 1767364 h 1857375"/>
                  <a:gd name="connsiteX1017" fmla="*/ 651034 w 1247775"/>
                  <a:gd name="connsiteY1017" fmla="*/ 1791176 h 1857375"/>
                  <a:gd name="connsiteX1018" fmla="*/ 655796 w 1247775"/>
                  <a:gd name="connsiteY1018" fmla="*/ 1791176 h 1857375"/>
                  <a:gd name="connsiteX1019" fmla="*/ 705326 w 1247775"/>
                  <a:gd name="connsiteY1019" fmla="*/ 1800701 h 1857375"/>
                  <a:gd name="connsiteX1020" fmla="*/ 1004411 w 1247775"/>
                  <a:gd name="connsiteY1020" fmla="*/ 1796891 h 1857375"/>
                  <a:gd name="connsiteX1021" fmla="*/ 1087279 w 1247775"/>
                  <a:gd name="connsiteY1021" fmla="*/ 1637824 h 1857375"/>
                  <a:gd name="connsiteX1022" fmla="*/ 1076801 w 1247775"/>
                  <a:gd name="connsiteY1022" fmla="*/ 1550194 h 1857375"/>
                  <a:gd name="connsiteX1023" fmla="*/ 1153001 w 1247775"/>
                  <a:gd name="connsiteY1023" fmla="*/ 1512094 h 1857375"/>
                  <a:gd name="connsiteX1024" fmla="*/ 1149191 w 1247775"/>
                  <a:gd name="connsiteY1024" fmla="*/ 1437799 h 1857375"/>
                  <a:gd name="connsiteX1025" fmla="*/ 1078706 w 1247775"/>
                  <a:gd name="connsiteY1025" fmla="*/ 1408271 h 1857375"/>
                  <a:gd name="connsiteX1026" fmla="*/ 1161574 w 1247775"/>
                  <a:gd name="connsiteY1026" fmla="*/ 1366361 h 1857375"/>
                  <a:gd name="connsiteX1027" fmla="*/ 1186339 w 1247775"/>
                  <a:gd name="connsiteY1027" fmla="*/ 1283494 h 1857375"/>
                  <a:gd name="connsiteX1028" fmla="*/ 1138714 w 1247775"/>
                  <a:gd name="connsiteY1028" fmla="*/ 1235869 h 1857375"/>
                  <a:gd name="connsiteX1029" fmla="*/ 1159669 w 1247775"/>
                  <a:gd name="connsiteY1029" fmla="*/ 1165384 h 1857375"/>
                  <a:gd name="connsiteX1030" fmla="*/ 1240631 w 1247775"/>
                  <a:gd name="connsiteY1030" fmla="*/ 1103471 h 1857375"/>
                  <a:gd name="connsiteX1031" fmla="*/ 1172051 w 1247775"/>
                  <a:gd name="connsiteY1031" fmla="*/ 974884 h 1857375"/>
                  <a:gd name="connsiteX1032" fmla="*/ 584359 w 1247775"/>
                  <a:gd name="connsiteY1032" fmla="*/ 250984 h 1857375"/>
                  <a:gd name="connsiteX1033" fmla="*/ 581501 w 1247775"/>
                  <a:gd name="connsiteY1033" fmla="*/ 252889 h 1857375"/>
                  <a:gd name="connsiteX1034" fmla="*/ 572929 w 1247775"/>
                  <a:gd name="connsiteY1034" fmla="*/ 250031 h 1857375"/>
                  <a:gd name="connsiteX1035" fmla="*/ 571976 w 1247775"/>
                  <a:gd name="connsiteY1035" fmla="*/ 250031 h 1857375"/>
                  <a:gd name="connsiteX1036" fmla="*/ 570071 w 1247775"/>
                  <a:gd name="connsiteY1036" fmla="*/ 249079 h 1857375"/>
                  <a:gd name="connsiteX1037" fmla="*/ 570071 w 1247775"/>
                  <a:gd name="connsiteY1037" fmla="*/ 246221 h 1857375"/>
                  <a:gd name="connsiteX1038" fmla="*/ 570071 w 1247775"/>
                  <a:gd name="connsiteY1038" fmla="*/ 243364 h 1857375"/>
                  <a:gd name="connsiteX1039" fmla="*/ 585311 w 1247775"/>
                  <a:gd name="connsiteY1039" fmla="*/ 234791 h 1857375"/>
                  <a:gd name="connsiteX1040" fmla="*/ 595789 w 1247775"/>
                  <a:gd name="connsiteY1040" fmla="*/ 244316 h 1857375"/>
                  <a:gd name="connsiteX1041" fmla="*/ 584359 w 1247775"/>
                  <a:gd name="connsiteY1041" fmla="*/ 250984 h 1857375"/>
                  <a:gd name="connsiteX1042" fmla="*/ 596741 w 1247775"/>
                  <a:gd name="connsiteY1042" fmla="*/ 201454 h 1857375"/>
                  <a:gd name="connsiteX1043" fmla="*/ 596741 w 1247775"/>
                  <a:gd name="connsiteY1043" fmla="*/ 198596 h 1857375"/>
                  <a:gd name="connsiteX1044" fmla="*/ 598646 w 1247775"/>
                  <a:gd name="connsiteY1044" fmla="*/ 199549 h 1857375"/>
                  <a:gd name="connsiteX1045" fmla="*/ 596741 w 1247775"/>
                  <a:gd name="connsiteY1045" fmla="*/ 201454 h 1857375"/>
                  <a:gd name="connsiteX1046" fmla="*/ 606266 w 1247775"/>
                  <a:gd name="connsiteY1046" fmla="*/ 250031 h 1857375"/>
                  <a:gd name="connsiteX1047" fmla="*/ 602456 w 1247775"/>
                  <a:gd name="connsiteY1047" fmla="*/ 245269 h 1857375"/>
                  <a:gd name="connsiteX1048" fmla="*/ 605314 w 1247775"/>
                  <a:gd name="connsiteY1048" fmla="*/ 245269 h 1857375"/>
                  <a:gd name="connsiteX1049" fmla="*/ 609124 w 1247775"/>
                  <a:gd name="connsiteY1049" fmla="*/ 245269 h 1857375"/>
                  <a:gd name="connsiteX1050" fmla="*/ 606266 w 1247775"/>
                  <a:gd name="connsiteY1050" fmla="*/ 250031 h 1857375"/>
                  <a:gd name="connsiteX1051" fmla="*/ 557689 w 1247775"/>
                  <a:gd name="connsiteY1051" fmla="*/ 407194 h 1857375"/>
                  <a:gd name="connsiteX1052" fmla="*/ 555784 w 1247775"/>
                  <a:gd name="connsiteY1052" fmla="*/ 407194 h 1857375"/>
                  <a:gd name="connsiteX1053" fmla="*/ 555784 w 1247775"/>
                  <a:gd name="connsiteY1053" fmla="*/ 405289 h 1857375"/>
                  <a:gd name="connsiteX1054" fmla="*/ 554831 w 1247775"/>
                  <a:gd name="connsiteY1054" fmla="*/ 400526 h 1857375"/>
                  <a:gd name="connsiteX1055" fmla="*/ 559594 w 1247775"/>
                  <a:gd name="connsiteY1055" fmla="*/ 407194 h 1857375"/>
                  <a:gd name="connsiteX1056" fmla="*/ 557689 w 1247775"/>
                  <a:gd name="connsiteY1056" fmla="*/ 407194 h 1857375"/>
                  <a:gd name="connsiteX1057" fmla="*/ 637699 w 1247775"/>
                  <a:gd name="connsiteY1057" fmla="*/ 305276 h 1857375"/>
                  <a:gd name="connsiteX1058" fmla="*/ 641509 w 1247775"/>
                  <a:gd name="connsiteY1058" fmla="*/ 309086 h 1857375"/>
                  <a:gd name="connsiteX1059" fmla="*/ 638651 w 1247775"/>
                  <a:gd name="connsiteY1059" fmla="*/ 310039 h 1857375"/>
                  <a:gd name="connsiteX1060" fmla="*/ 636746 w 1247775"/>
                  <a:gd name="connsiteY1060" fmla="*/ 306229 h 1857375"/>
                  <a:gd name="connsiteX1061" fmla="*/ 637699 w 1247775"/>
                  <a:gd name="connsiteY1061" fmla="*/ 305276 h 1857375"/>
                  <a:gd name="connsiteX1062" fmla="*/ 591979 w 1247775"/>
                  <a:gd name="connsiteY1062" fmla="*/ 417671 h 1857375"/>
                  <a:gd name="connsiteX1063" fmla="*/ 609124 w 1247775"/>
                  <a:gd name="connsiteY1063" fmla="*/ 409099 h 1857375"/>
                  <a:gd name="connsiteX1064" fmla="*/ 606266 w 1247775"/>
                  <a:gd name="connsiteY1064" fmla="*/ 418624 h 1857375"/>
                  <a:gd name="connsiteX1065" fmla="*/ 606266 w 1247775"/>
                  <a:gd name="connsiteY1065" fmla="*/ 418624 h 1857375"/>
                  <a:gd name="connsiteX1066" fmla="*/ 598646 w 1247775"/>
                  <a:gd name="connsiteY1066" fmla="*/ 426244 h 1857375"/>
                  <a:gd name="connsiteX1067" fmla="*/ 591026 w 1247775"/>
                  <a:gd name="connsiteY1067" fmla="*/ 420529 h 1857375"/>
                  <a:gd name="connsiteX1068" fmla="*/ 591979 w 1247775"/>
                  <a:gd name="connsiteY1068" fmla="*/ 417671 h 1857375"/>
                  <a:gd name="connsiteX1069" fmla="*/ 594836 w 1247775"/>
                  <a:gd name="connsiteY1069" fmla="*/ 511016 h 1857375"/>
                  <a:gd name="connsiteX1070" fmla="*/ 591979 w 1247775"/>
                  <a:gd name="connsiteY1070" fmla="*/ 510064 h 1857375"/>
                  <a:gd name="connsiteX1071" fmla="*/ 590074 w 1247775"/>
                  <a:gd name="connsiteY1071" fmla="*/ 510064 h 1857375"/>
                  <a:gd name="connsiteX1072" fmla="*/ 587216 w 1247775"/>
                  <a:gd name="connsiteY1072" fmla="*/ 508159 h 1857375"/>
                  <a:gd name="connsiteX1073" fmla="*/ 597694 w 1247775"/>
                  <a:gd name="connsiteY1073" fmla="*/ 503396 h 1857375"/>
                  <a:gd name="connsiteX1074" fmla="*/ 598646 w 1247775"/>
                  <a:gd name="connsiteY1074" fmla="*/ 505301 h 1857375"/>
                  <a:gd name="connsiteX1075" fmla="*/ 594836 w 1247775"/>
                  <a:gd name="connsiteY1075" fmla="*/ 511016 h 1857375"/>
                  <a:gd name="connsiteX1076" fmla="*/ 633889 w 1247775"/>
                  <a:gd name="connsiteY1076" fmla="*/ 447199 h 1857375"/>
                  <a:gd name="connsiteX1077" fmla="*/ 627221 w 1247775"/>
                  <a:gd name="connsiteY1077" fmla="*/ 461486 h 1857375"/>
                  <a:gd name="connsiteX1078" fmla="*/ 626269 w 1247775"/>
                  <a:gd name="connsiteY1078" fmla="*/ 461486 h 1857375"/>
                  <a:gd name="connsiteX1079" fmla="*/ 608171 w 1247775"/>
                  <a:gd name="connsiteY1079" fmla="*/ 479584 h 1857375"/>
                  <a:gd name="connsiteX1080" fmla="*/ 609124 w 1247775"/>
                  <a:gd name="connsiteY1080" fmla="*/ 484346 h 1857375"/>
                  <a:gd name="connsiteX1081" fmla="*/ 608171 w 1247775"/>
                  <a:gd name="connsiteY1081" fmla="*/ 485299 h 1857375"/>
                  <a:gd name="connsiteX1082" fmla="*/ 608171 w 1247775"/>
                  <a:gd name="connsiteY1082" fmla="*/ 483394 h 1857375"/>
                  <a:gd name="connsiteX1083" fmla="*/ 593884 w 1247775"/>
                  <a:gd name="connsiteY1083" fmla="*/ 459581 h 1857375"/>
                  <a:gd name="connsiteX1084" fmla="*/ 606266 w 1247775"/>
                  <a:gd name="connsiteY1084" fmla="*/ 444341 h 1857375"/>
                  <a:gd name="connsiteX1085" fmla="*/ 614839 w 1247775"/>
                  <a:gd name="connsiteY1085" fmla="*/ 447199 h 1857375"/>
                  <a:gd name="connsiteX1086" fmla="*/ 626269 w 1247775"/>
                  <a:gd name="connsiteY1086" fmla="*/ 440531 h 1857375"/>
                  <a:gd name="connsiteX1087" fmla="*/ 630079 w 1247775"/>
                  <a:gd name="connsiteY1087" fmla="*/ 440531 h 1857375"/>
                  <a:gd name="connsiteX1088" fmla="*/ 631984 w 1247775"/>
                  <a:gd name="connsiteY1088" fmla="*/ 440531 h 1857375"/>
                  <a:gd name="connsiteX1089" fmla="*/ 636746 w 1247775"/>
                  <a:gd name="connsiteY1089" fmla="*/ 444341 h 1857375"/>
                  <a:gd name="connsiteX1090" fmla="*/ 633889 w 1247775"/>
                  <a:gd name="connsiteY1090" fmla="*/ 447199 h 1857375"/>
                  <a:gd name="connsiteX1091" fmla="*/ 633889 w 1247775"/>
                  <a:gd name="connsiteY1091" fmla="*/ 447199 h 1857375"/>
                  <a:gd name="connsiteX1092" fmla="*/ 639604 w 1247775"/>
                  <a:gd name="connsiteY1092" fmla="*/ 402431 h 1857375"/>
                  <a:gd name="connsiteX1093" fmla="*/ 631031 w 1247775"/>
                  <a:gd name="connsiteY1093" fmla="*/ 399574 h 1857375"/>
                  <a:gd name="connsiteX1094" fmla="*/ 625316 w 1247775"/>
                  <a:gd name="connsiteY1094" fmla="*/ 391001 h 1857375"/>
                  <a:gd name="connsiteX1095" fmla="*/ 626269 w 1247775"/>
                  <a:gd name="connsiteY1095" fmla="*/ 388144 h 1857375"/>
                  <a:gd name="connsiteX1096" fmla="*/ 620554 w 1247775"/>
                  <a:gd name="connsiteY1096" fmla="*/ 382429 h 1857375"/>
                  <a:gd name="connsiteX1097" fmla="*/ 619601 w 1247775"/>
                  <a:gd name="connsiteY1097" fmla="*/ 374809 h 1857375"/>
                  <a:gd name="connsiteX1098" fmla="*/ 625316 w 1247775"/>
                  <a:gd name="connsiteY1098" fmla="*/ 375761 h 1857375"/>
                  <a:gd name="connsiteX1099" fmla="*/ 631031 w 1247775"/>
                  <a:gd name="connsiteY1099" fmla="*/ 373856 h 1857375"/>
                  <a:gd name="connsiteX1100" fmla="*/ 642461 w 1247775"/>
                  <a:gd name="connsiteY1100" fmla="*/ 380524 h 1857375"/>
                  <a:gd name="connsiteX1101" fmla="*/ 647224 w 1247775"/>
                  <a:gd name="connsiteY1101" fmla="*/ 394811 h 1857375"/>
                  <a:gd name="connsiteX1102" fmla="*/ 639604 w 1247775"/>
                  <a:gd name="connsiteY1102" fmla="*/ 402431 h 1857375"/>
                  <a:gd name="connsiteX1103" fmla="*/ 343376 w 1247775"/>
                  <a:gd name="connsiteY1103" fmla="*/ 758666 h 1857375"/>
                  <a:gd name="connsiteX1104" fmla="*/ 343376 w 1247775"/>
                  <a:gd name="connsiteY1104" fmla="*/ 758666 h 1857375"/>
                  <a:gd name="connsiteX1105" fmla="*/ 341471 w 1247775"/>
                  <a:gd name="connsiteY1105" fmla="*/ 751999 h 1857375"/>
                  <a:gd name="connsiteX1106" fmla="*/ 346234 w 1247775"/>
                  <a:gd name="connsiteY1106" fmla="*/ 752951 h 1857375"/>
                  <a:gd name="connsiteX1107" fmla="*/ 343376 w 1247775"/>
                  <a:gd name="connsiteY1107" fmla="*/ 758666 h 1857375"/>
                  <a:gd name="connsiteX1108" fmla="*/ 109061 w 1247775"/>
                  <a:gd name="connsiteY1108" fmla="*/ 1225391 h 1857375"/>
                  <a:gd name="connsiteX1109" fmla="*/ 95726 w 1247775"/>
                  <a:gd name="connsiteY1109" fmla="*/ 1217771 h 1857375"/>
                  <a:gd name="connsiteX1110" fmla="*/ 104299 w 1247775"/>
                  <a:gd name="connsiteY1110" fmla="*/ 1210151 h 1857375"/>
                  <a:gd name="connsiteX1111" fmla="*/ 122396 w 1247775"/>
                  <a:gd name="connsiteY1111" fmla="*/ 1195864 h 1857375"/>
                  <a:gd name="connsiteX1112" fmla="*/ 129064 w 1247775"/>
                  <a:gd name="connsiteY1112" fmla="*/ 1201579 h 1857375"/>
                  <a:gd name="connsiteX1113" fmla="*/ 109061 w 1247775"/>
                  <a:gd name="connsiteY1113" fmla="*/ 1225391 h 1857375"/>
                  <a:gd name="connsiteX1114" fmla="*/ 151924 w 1247775"/>
                  <a:gd name="connsiteY1114" fmla="*/ 1208246 h 1857375"/>
                  <a:gd name="connsiteX1115" fmla="*/ 150019 w 1247775"/>
                  <a:gd name="connsiteY1115" fmla="*/ 1206341 h 1857375"/>
                  <a:gd name="connsiteX1116" fmla="*/ 151924 w 1247775"/>
                  <a:gd name="connsiteY1116" fmla="*/ 1206341 h 1857375"/>
                  <a:gd name="connsiteX1117" fmla="*/ 151924 w 1247775"/>
                  <a:gd name="connsiteY1117" fmla="*/ 1208246 h 1857375"/>
                  <a:gd name="connsiteX1118" fmla="*/ 290989 w 1247775"/>
                  <a:gd name="connsiteY1118" fmla="*/ 992981 h 1857375"/>
                  <a:gd name="connsiteX1119" fmla="*/ 291941 w 1247775"/>
                  <a:gd name="connsiteY1119" fmla="*/ 986314 h 1857375"/>
                  <a:gd name="connsiteX1120" fmla="*/ 291941 w 1247775"/>
                  <a:gd name="connsiteY1120" fmla="*/ 986314 h 1857375"/>
                  <a:gd name="connsiteX1121" fmla="*/ 294799 w 1247775"/>
                  <a:gd name="connsiteY1121" fmla="*/ 987266 h 1857375"/>
                  <a:gd name="connsiteX1122" fmla="*/ 290989 w 1247775"/>
                  <a:gd name="connsiteY1122" fmla="*/ 992981 h 1857375"/>
                  <a:gd name="connsiteX1123" fmla="*/ 309086 w 1247775"/>
                  <a:gd name="connsiteY1123" fmla="*/ 1652111 h 1857375"/>
                  <a:gd name="connsiteX1124" fmla="*/ 310039 w 1247775"/>
                  <a:gd name="connsiteY1124" fmla="*/ 1649254 h 1857375"/>
                  <a:gd name="connsiteX1125" fmla="*/ 310991 w 1247775"/>
                  <a:gd name="connsiteY1125" fmla="*/ 1650206 h 1857375"/>
                  <a:gd name="connsiteX1126" fmla="*/ 309086 w 1247775"/>
                  <a:gd name="connsiteY1126" fmla="*/ 1652111 h 1857375"/>
                  <a:gd name="connsiteX1127" fmla="*/ 259556 w 1247775"/>
                  <a:gd name="connsiteY1127" fmla="*/ 1822609 h 1857375"/>
                  <a:gd name="connsiteX1128" fmla="*/ 261461 w 1247775"/>
                  <a:gd name="connsiteY1128" fmla="*/ 1816894 h 1857375"/>
                  <a:gd name="connsiteX1129" fmla="*/ 265271 w 1247775"/>
                  <a:gd name="connsiteY1129" fmla="*/ 1816894 h 1857375"/>
                  <a:gd name="connsiteX1130" fmla="*/ 266224 w 1247775"/>
                  <a:gd name="connsiteY1130" fmla="*/ 1817846 h 1857375"/>
                  <a:gd name="connsiteX1131" fmla="*/ 259556 w 1247775"/>
                  <a:gd name="connsiteY1131" fmla="*/ 1822609 h 1857375"/>
                  <a:gd name="connsiteX1132" fmla="*/ 330994 w 1247775"/>
                  <a:gd name="connsiteY1132" fmla="*/ 1783556 h 1857375"/>
                  <a:gd name="connsiteX1133" fmla="*/ 329089 w 1247775"/>
                  <a:gd name="connsiteY1133" fmla="*/ 1783556 h 1857375"/>
                  <a:gd name="connsiteX1134" fmla="*/ 326231 w 1247775"/>
                  <a:gd name="connsiteY1134" fmla="*/ 1781651 h 1857375"/>
                  <a:gd name="connsiteX1135" fmla="*/ 321469 w 1247775"/>
                  <a:gd name="connsiteY1135" fmla="*/ 1777841 h 1857375"/>
                  <a:gd name="connsiteX1136" fmla="*/ 323374 w 1247775"/>
                  <a:gd name="connsiteY1136" fmla="*/ 1772126 h 1857375"/>
                  <a:gd name="connsiteX1137" fmla="*/ 329089 w 1247775"/>
                  <a:gd name="connsiteY1137" fmla="*/ 1773079 h 1857375"/>
                  <a:gd name="connsiteX1138" fmla="*/ 335756 w 1247775"/>
                  <a:gd name="connsiteY1138" fmla="*/ 1771174 h 1857375"/>
                  <a:gd name="connsiteX1139" fmla="*/ 330994 w 1247775"/>
                  <a:gd name="connsiteY1139" fmla="*/ 1783556 h 1857375"/>
                  <a:gd name="connsiteX1140" fmla="*/ 442436 w 1247775"/>
                  <a:gd name="connsiteY1140" fmla="*/ 1450181 h 1857375"/>
                  <a:gd name="connsiteX1141" fmla="*/ 451009 w 1247775"/>
                  <a:gd name="connsiteY1141" fmla="*/ 1458754 h 1857375"/>
                  <a:gd name="connsiteX1142" fmla="*/ 444341 w 1247775"/>
                  <a:gd name="connsiteY1142" fmla="*/ 1465421 h 1857375"/>
                  <a:gd name="connsiteX1143" fmla="*/ 437674 w 1247775"/>
                  <a:gd name="connsiteY1143" fmla="*/ 1454944 h 1857375"/>
                  <a:gd name="connsiteX1144" fmla="*/ 442436 w 1247775"/>
                  <a:gd name="connsiteY1144" fmla="*/ 1450181 h 1857375"/>
                  <a:gd name="connsiteX1145" fmla="*/ 426244 w 1247775"/>
                  <a:gd name="connsiteY1145" fmla="*/ 1592104 h 1857375"/>
                  <a:gd name="connsiteX1146" fmla="*/ 420529 w 1247775"/>
                  <a:gd name="connsiteY1146" fmla="*/ 1587341 h 1857375"/>
                  <a:gd name="connsiteX1147" fmla="*/ 419576 w 1247775"/>
                  <a:gd name="connsiteY1147" fmla="*/ 1587341 h 1857375"/>
                  <a:gd name="connsiteX1148" fmla="*/ 421481 w 1247775"/>
                  <a:gd name="connsiteY1148" fmla="*/ 1576864 h 1857375"/>
                  <a:gd name="connsiteX1149" fmla="*/ 421481 w 1247775"/>
                  <a:gd name="connsiteY1149" fmla="*/ 1574959 h 1857375"/>
                  <a:gd name="connsiteX1150" fmla="*/ 422434 w 1247775"/>
                  <a:gd name="connsiteY1150" fmla="*/ 1574959 h 1857375"/>
                  <a:gd name="connsiteX1151" fmla="*/ 426244 w 1247775"/>
                  <a:gd name="connsiteY1151" fmla="*/ 1577816 h 1857375"/>
                  <a:gd name="connsiteX1152" fmla="*/ 426244 w 1247775"/>
                  <a:gd name="connsiteY1152" fmla="*/ 1580674 h 1857375"/>
                  <a:gd name="connsiteX1153" fmla="*/ 430054 w 1247775"/>
                  <a:gd name="connsiteY1153" fmla="*/ 1593056 h 1857375"/>
                  <a:gd name="connsiteX1154" fmla="*/ 426244 w 1247775"/>
                  <a:gd name="connsiteY1154" fmla="*/ 1592104 h 1857375"/>
                  <a:gd name="connsiteX1155" fmla="*/ 431959 w 1247775"/>
                  <a:gd name="connsiteY1155" fmla="*/ 1518761 h 1857375"/>
                  <a:gd name="connsiteX1156" fmla="*/ 425291 w 1247775"/>
                  <a:gd name="connsiteY1156" fmla="*/ 1517809 h 1857375"/>
                  <a:gd name="connsiteX1157" fmla="*/ 415766 w 1247775"/>
                  <a:gd name="connsiteY1157" fmla="*/ 1519714 h 1857375"/>
                  <a:gd name="connsiteX1158" fmla="*/ 416719 w 1247775"/>
                  <a:gd name="connsiteY1158" fmla="*/ 1515904 h 1857375"/>
                  <a:gd name="connsiteX1159" fmla="*/ 413861 w 1247775"/>
                  <a:gd name="connsiteY1159" fmla="*/ 1508284 h 1857375"/>
                  <a:gd name="connsiteX1160" fmla="*/ 419576 w 1247775"/>
                  <a:gd name="connsiteY1160" fmla="*/ 1499711 h 1857375"/>
                  <a:gd name="connsiteX1161" fmla="*/ 418624 w 1247775"/>
                  <a:gd name="connsiteY1161" fmla="*/ 1494949 h 1857375"/>
                  <a:gd name="connsiteX1162" fmla="*/ 422434 w 1247775"/>
                  <a:gd name="connsiteY1162" fmla="*/ 1486376 h 1857375"/>
                  <a:gd name="connsiteX1163" fmla="*/ 422434 w 1247775"/>
                  <a:gd name="connsiteY1163" fmla="*/ 1484471 h 1857375"/>
                  <a:gd name="connsiteX1164" fmla="*/ 422434 w 1247775"/>
                  <a:gd name="connsiteY1164" fmla="*/ 1484471 h 1857375"/>
                  <a:gd name="connsiteX1165" fmla="*/ 431959 w 1247775"/>
                  <a:gd name="connsiteY1165" fmla="*/ 1491139 h 1857375"/>
                  <a:gd name="connsiteX1166" fmla="*/ 435769 w 1247775"/>
                  <a:gd name="connsiteY1166" fmla="*/ 1490186 h 1857375"/>
                  <a:gd name="connsiteX1167" fmla="*/ 436721 w 1247775"/>
                  <a:gd name="connsiteY1167" fmla="*/ 1493044 h 1857375"/>
                  <a:gd name="connsiteX1168" fmla="*/ 430054 w 1247775"/>
                  <a:gd name="connsiteY1168" fmla="*/ 1505426 h 1857375"/>
                  <a:gd name="connsiteX1169" fmla="*/ 434816 w 1247775"/>
                  <a:gd name="connsiteY1169" fmla="*/ 1515904 h 1857375"/>
                  <a:gd name="connsiteX1170" fmla="*/ 431959 w 1247775"/>
                  <a:gd name="connsiteY1170" fmla="*/ 1518761 h 1857375"/>
                  <a:gd name="connsiteX1171" fmla="*/ 445294 w 1247775"/>
                  <a:gd name="connsiteY1171" fmla="*/ 1609249 h 1857375"/>
                  <a:gd name="connsiteX1172" fmla="*/ 435769 w 1247775"/>
                  <a:gd name="connsiteY1172" fmla="*/ 1603534 h 1857375"/>
                  <a:gd name="connsiteX1173" fmla="*/ 435769 w 1247775"/>
                  <a:gd name="connsiteY1173" fmla="*/ 1603534 h 1857375"/>
                  <a:gd name="connsiteX1174" fmla="*/ 434816 w 1247775"/>
                  <a:gd name="connsiteY1174" fmla="*/ 1598771 h 1857375"/>
                  <a:gd name="connsiteX1175" fmla="*/ 449104 w 1247775"/>
                  <a:gd name="connsiteY1175" fmla="*/ 1603534 h 1857375"/>
                  <a:gd name="connsiteX1176" fmla="*/ 450056 w 1247775"/>
                  <a:gd name="connsiteY1176" fmla="*/ 1603534 h 1857375"/>
                  <a:gd name="connsiteX1177" fmla="*/ 451961 w 1247775"/>
                  <a:gd name="connsiteY1177" fmla="*/ 1606391 h 1857375"/>
                  <a:gd name="connsiteX1178" fmla="*/ 445294 w 1247775"/>
                  <a:gd name="connsiteY1178" fmla="*/ 1609249 h 1857375"/>
                  <a:gd name="connsiteX1179" fmla="*/ 452914 w 1247775"/>
                  <a:gd name="connsiteY1179" fmla="*/ 1518761 h 1857375"/>
                  <a:gd name="connsiteX1180" fmla="*/ 451961 w 1247775"/>
                  <a:gd name="connsiteY1180" fmla="*/ 1517809 h 1857375"/>
                  <a:gd name="connsiteX1181" fmla="*/ 452914 w 1247775"/>
                  <a:gd name="connsiteY1181" fmla="*/ 1516856 h 1857375"/>
                  <a:gd name="connsiteX1182" fmla="*/ 454819 w 1247775"/>
                  <a:gd name="connsiteY1182" fmla="*/ 1517809 h 1857375"/>
                  <a:gd name="connsiteX1183" fmla="*/ 452914 w 1247775"/>
                  <a:gd name="connsiteY1183" fmla="*/ 1518761 h 1857375"/>
                  <a:gd name="connsiteX1184" fmla="*/ 666274 w 1247775"/>
                  <a:gd name="connsiteY1184" fmla="*/ 511969 h 1857375"/>
                  <a:gd name="connsiteX1185" fmla="*/ 668179 w 1247775"/>
                  <a:gd name="connsiteY1185" fmla="*/ 509111 h 1857375"/>
                  <a:gd name="connsiteX1186" fmla="*/ 668179 w 1247775"/>
                  <a:gd name="connsiteY1186" fmla="*/ 511969 h 1857375"/>
                  <a:gd name="connsiteX1187" fmla="*/ 666274 w 1247775"/>
                  <a:gd name="connsiteY1187" fmla="*/ 511969 h 1857375"/>
                  <a:gd name="connsiteX1188" fmla="*/ 657701 w 1247775"/>
                  <a:gd name="connsiteY1188" fmla="*/ 574834 h 1857375"/>
                  <a:gd name="connsiteX1189" fmla="*/ 659606 w 1247775"/>
                  <a:gd name="connsiteY1189" fmla="*/ 572929 h 1857375"/>
                  <a:gd name="connsiteX1190" fmla="*/ 659606 w 1247775"/>
                  <a:gd name="connsiteY1190" fmla="*/ 575786 h 1857375"/>
                  <a:gd name="connsiteX1191" fmla="*/ 657701 w 1247775"/>
                  <a:gd name="connsiteY1191" fmla="*/ 574834 h 1857375"/>
                  <a:gd name="connsiteX1192" fmla="*/ 502444 w 1247775"/>
                  <a:gd name="connsiteY1192" fmla="*/ 1197769 h 1857375"/>
                  <a:gd name="connsiteX1193" fmla="*/ 507206 w 1247775"/>
                  <a:gd name="connsiteY1193" fmla="*/ 1198721 h 1857375"/>
                  <a:gd name="connsiteX1194" fmla="*/ 511969 w 1247775"/>
                  <a:gd name="connsiteY1194" fmla="*/ 1197769 h 1857375"/>
                  <a:gd name="connsiteX1195" fmla="*/ 529114 w 1247775"/>
                  <a:gd name="connsiteY1195" fmla="*/ 1227296 h 1857375"/>
                  <a:gd name="connsiteX1196" fmla="*/ 526256 w 1247775"/>
                  <a:gd name="connsiteY1196" fmla="*/ 1230154 h 1857375"/>
                  <a:gd name="connsiteX1197" fmla="*/ 524351 w 1247775"/>
                  <a:gd name="connsiteY1197" fmla="*/ 1230154 h 1857375"/>
                  <a:gd name="connsiteX1198" fmla="*/ 504349 w 1247775"/>
                  <a:gd name="connsiteY1198" fmla="*/ 1220629 h 1857375"/>
                  <a:gd name="connsiteX1199" fmla="*/ 503396 w 1247775"/>
                  <a:gd name="connsiteY1199" fmla="*/ 1220629 h 1857375"/>
                  <a:gd name="connsiteX1200" fmla="*/ 497681 w 1247775"/>
                  <a:gd name="connsiteY1200" fmla="*/ 1213961 h 1857375"/>
                  <a:gd name="connsiteX1201" fmla="*/ 504349 w 1247775"/>
                  <a:gd name="connsiteY1201" fmla="*/ 1203484 h 1857375"/>
                  <a:gd name="connsiteX1202" fmla="*/ 502444 w 1247775"/>
                  <a:gd name="connsiteY1202" fmla="*/ 1197769 h 1857375"/>
                  <a:gd name="connsiteX1203" fmla="*/ 574834 w 1247775"/>
                  <a:gd name="connsiteY1203" fmla="*/ 1231106 h 1857375"/>
                  <a:gd name="connsiteX1204" fmla="*/ 574834 w 1247775"/>
                  <a:gd name="connsiteY1204" fmla="*/ 1231106 h 1857375"/>
                  <a:gd name="connsiteX1205" fmla="*/ 579596 w 1247775"/>
                  <a:gd name="connsiteY1205" fmla="*/ 1226344 h 1857375"/>
                  <a:gd name="connsiteX1206" fmla="*/ 579596 w 1247775"/>
                  <a:gd name="connsiteY1206" fmla="*/ 1229201 h 1857375"/>
                  <a:gd name="connsiteX1207" fmla="*/ 574834 w 1247775"/>
                  <a:gd name="connsiteY1207" fmla="*/ 1231106 h 1857375"/>
                  <a:gd name="connsiteX1208" fmla="*/ 516731 w 1247775"/>
                  <a:gd name="connsiteY1208" fmla="*/ 1371124 h 1857375"/>
                  <a:gd name="connsiteX1209" fmla="*/ 518636 w 1247775"/>
                  <a:gd name="connsiteY1209" fmla="*/ 1371124 h 1857375"/>
                  <a:gd name="connsiteX1210" fmla="*/ 516731 w 1247775"/>
                  <a:gd name="connsiteY1210" fmla="*/ 1373029 h 1857375"/>
                  <a:gd name="connsiteX1211" fmla="*/ 516731 w 1247775"/>
                  <a:gd name="connsiteY1211" fmla="*/ 1371124 h 1857375"/>
                  <a:gd name="connsiteX1212" fmla="*/ 615791 w 1247775"/>
                  <a:gd name="connsiteY1212" fmla="*/ 838676 h 1857375"/>
                  <a:gd name="connsiteX1213" fmla="*/ 627221 w 1247775"/>
                  <a:gd name="connsiteY1213" fmla="*/ 845344 h 1857375"/>
                  <a:gd name="connsiteX1214" fmla="*/ 627221 w 1247775"/>
                  <a:gd name="connsiteY1214" fmla="*/ 847249 h 1857375"/>
                  <a:gd name="connsiteX1215" fmla="*/ 626269 w 1247775"/>
                  <a:gd name="connsiteY1215" fmla="*/ 849154 h 1857375"/>
                  <a:gd name="connsiteX1216" fmla="*/ 620554 w 1247775"/>
                  <a:gd name="connsiteY1216" fmla="*/ 848201 h 1857375"/>
                  <a:gd name="connsiteX1217" fmla="*/ 610076 w 1247775"/>
                  <a:gd name="connsiteY1217" fmla="*/ 849154 h 1857375"/>
                  <a:gd name="connsiteX1218" fmla="*/ 610076 w 1247775"/>
                  <a:gd name="connsiteY1218" fmla="*/ 847249 h 1857375"/>
                  <a:gd name="connsiteX1219" fmla="*/ 609124 w 1247775"/>
                  <a:gd name="connsiteY1219" fmla="*/ 842486 h 1857375"/>
                  <a:gd name="connsiteX1220" fmla="*/ 615791 w 1247775"/>
                  <a:gd name="connsiteY1220" fmla="*/ 838676 h 1857375"/>
                  <a:gd name="connsiteX1221" fmla="*/ 571024 w 1247775"/>
                  <a:gd name="connsiteY1221" fmla="*/ 938689 h 1857375"/>
                  <a:gd name="connsiteX1222" fmla="*/ 577691 w 1247775"/>
                  <a:gd name="connsiteY1222" fmla="*/ 943451 h 1857375"/>
                  <a:gd name="connsiteX1223" fmla="*/ 575786 w 1247775"/>
                  <a:gd name="connsiteY1223" fmla="*/ 946309 h 1857375"/>
                  <a:gd name="connsiteX1224" fmla="*/ 571024 w 1247775"/>
                  <a:gd name="connsiteY1224" fmla="*/ 938689 h 1857375"/>
                  <a:gd name="connsiteX1225" fmla="*/ 571024 w 1247775"/>
                  <a:gd name="connsiteY1225" fmla="*/ 938689 h 1857375"/>
                  <a:gd name="connsiteX1226" fmla="*/ 552926 w 1247775"/>
                  <a:gd name="connsiteY1226" fmla="*/ 718661 h 1857375"/>
                  <a:gd name="connsiteX1227" fmla="*/ 566261 w 1247775"/>
                  <a:gd name="connsiteY1227" fmla="*/ 710089 h 1857375"/>
                  <a:gd name="connsiteX1228" fmla="*/ 568166 w 1247775"/>
                  <a:gd name="connsiteY1228" fmla="*/ 711041 h 1857375"/>
                  <a:gd name="connsiteX1229" fmla="*/ 567214 w 1247775"/>
                  <a:gd name="connsiteY1229" fmla="*/ 719614 h 1857375"/>
                  <a:gd name="connsiteX1230" fmla="*/ 567214 w 1247775"/>
                  <a:gd name="connsiteY1230" fmla="*/ 723424 h 1857375"/>
                  <a:gd name="connsiteX1231" fmla="*/ 565309 w 1247775"/>
                  <a:gd name="connsiteY1231" fmla="*/ 724376 h 1857375"/>
                  <a:gd name="connsiteX1232" fmla="*/ 552926 w 1247775"/>
                  <a:gd name="connsiteY1232" fmla="*/ 720566 h 1857375"/>
                  <a:gd name="connsiteX1233" fmla="*/ 552926 w 1247775"/>
                  <a:gd name="connsiteY1233" fmla="*/ 718661 h 1857375"/>
                  <a:gd name="connsiteX1234" fmla="*/ 553879 w 1247775"/>
                  <a:gd name="connsiteY1234" fmla="*/ 816769 h 1857375"/>
                  <a:gd name="connsiteX1235" fmla="*/ 559594 w 1247775"/>
                  <a:gd name="connsiteY1235" fmla="*/ 804386 h 1857375"/>
                  <a:gd name="connsiteX1236" fmla="*/ 561499 w 1247775"/>
                  <a:gd name="connsiteY1236" fmla="*/ 804386 h 1857375"/>
                  <a:gd name="connsiteX1237" fmla="*/ 569119 w 1247775"/>
                  <a:gd name="connsiteY1237" fmla="*/ 808196 h 1857375"/>
                  <a:gd name="connsiteX1238" fmla="*/ 568166 w 1247775"/>
                  <a:gd name="connsiteY1238" fmla="*/ 813911 h 1857375"/>
                  <a:gd name="connsiteX1239" fmla="*/ 563404 w 1247775"/>
                  <a:gd name="connsiteY1239" fmla="*/ 822484 h 1857375"/>
                  <a:gd name="connsiteX1240" fmla="*/ 563404 w 1247775"/>
                  <a:gd name="connsiteY1240" fmla="*/ 824389 h 1857375"/>
                  <a:gd name="connsiteX1241" fmla="*/ 550069 w 1247775"/>
                  <a:gd name="connsiteY1241" fmla="*/ 828199 h 1857375"/>
                  <a:gd name="connsiteX1242" fmla="*/ 553879 w 1247775"/>
                  <a:gd name="connsiteY1242" fmla="*/ 816769 h 1857375"/>
                  <a:gd name="connsiteX1243" fmla="*/ 547211 w 1247775"/>
                  <a:gd name="connsiteY1243" fmla="*/ 968216 h 1857375"/>
                  <a:gd name="connsiteX1244" fmla="*/ 547211 w 1247775"/>
                  <a:gd name="connsiteY1244" fmla="*/ 970121 h 1857375"/>
                  <a:gd name="connsiteX1245" fmla="*/ 552926 w 1247775"/>
                  <a:gd name="connsiteY1245" fmla="*/ 975836 h 1857375"/>
                  <a:gd name="connsiteX1246" fmla="*/ 558641 w 1247775"/>
                  <a:gd name="connsiteY1246" fmla="*/ 972026 h 1857375"/>
                  <a:gd name="connsiteX1247" fmla="*/ 558641 w 1247775"/>
                  <a:gd name="connsiteY1247" fmla="*/ 972026 h 1857375"/>
                  <a:gd name="connsiteX1248" fmla="*/ 563404 w 1247775"/>
                  <a:gd name="connsiteY1248" fmla="*/ 971074 h 1857375"/>
                  <a:gd name="connsiteX1249" fmla="*/ 562451 w 1247775"/>
                  <a:gd name="connsiteY1249" fmla="*/ 973931 h 1857375"/>
                  <a:gd name="connsiteX1250" fmla="*/ 567214 w 1247775"/>
                  <a:gd name="connsiteY1250" fmla="*/ 980599 h 1857375"/>
                  <a:gd name="connsiteX1251" fmla="*/ 571024 w 1247775"/>
                  <a:gd name="connsiteY1251" fmla="*/ 991076 h 1857375"/>
                  <a:gd name="connsiteX1252" fmla="*/ 567214 w 1247775"/>
                  <a:gd name="connsiteY1252" fmla="*/ 992029 h 1857375"/>
                  <a:gd name="connsiteX1253" fmla="*/ 559594 w 1247775"/>
                  <a:gd name="connsiteY1253" fmla="*/ 989171 h 1857375"/>
                  <a:gd name="connsiteX1254" fmla="*/ 548164 w 1247775"/>
                  <a:gd name="connsiteY1254" fmla="*/ 996791 h 1857375"/>
                  <a:gd name="connsiteX1255" fmla="*/ 545306 w 1247775"/>
                  <a:gd name="connsiteY1255" fmla="*/ 1001554 h 1857375"/>
                  <a:gd name="connsiteX1256" fmla="*/ 536734 w 1247775"/>
                  <a:gd name="connsiteY1256" fmla="*/ 994886 h 1857375"/>
                  <a:gd name="connsiteX1257" fmla="*/ 537686 w 1247775"/>
                  <a:gd name="connsiteY1257" fmla="*/ 992029 h 1857375"/>
                  <a:gd name="connsiteX1258" fmla="*/ 531019 w 1247775"/>
                  <a:gd name="connsiteY1258" fmla="*/ 985361 h 1857375"/>
                  <a:gd name="connsiteX1259" fmla="*/ 524351 w 1247775"/>
                  <a:gd name="connsiteY1259" fmla="*/ 992029 h 1857375"/>
                  <a:gd name="connsiteX1260" fmla="*/ 524351 w 1247775"/>
                  <a:gd name="connsiteY1260" fmla="*/ 993934 h 1857375"/>
                  <a:gd name="connsiteX1261" fmla="*/ 511016 w 1247775"/>
                  <a:gd name="connsiteY1261" fmla="*/ 1004411 h 1857375"/>
                  <a:gd name="connsiteX1262" fmla="*/ 504349 w 1247775"/>
                  <a:gd name="connsiteY1262" fmla="*/ 1000601 h 1857375"/>
                  <a:gd name="connsiteX1263" fmla="*/ 503396 w 1247775"/>
                  <a:gd name="connsiteY1263" fmla="*/ 1000601 h 1857375"/>
                  <a:gd name="connsiteX1264" fmla="*/ 501491 w 1247775"/>
                  <a:gd name="connsiteY1264" fmla="*/ 995839 h 1857375"/>
                  <a:gd name="connsiteX1265" fmla="*/ 502444 w 1247775"/>
                  <a:gd name="connsiteY1265" fmla="*/ 995839 h 1857375"/>
                  <a:gd name="connsiteX1266" fmla="*/ 524351 w 1247775"/>
                  <a:gd name="connsiteY1266" fmla="*/ 973931 h 1857375"/>
                  <a:gd name="connsiteX1267" fmla="*/ 524351 w 1247775"/>
                  <a:gd name="connsiteY1267" fmla="*/ 972979 h 1857375"/>
                  <a:gd name="connsiteX1268" fmla="*/ 529114 w 1247775"/>
                  <a:gd name="connsiteY1268" fmla="*/ 973931 h 1857375"/>
                  <a:gd name="connsiteX1269" fmla="*/ 541496 w 1247775"/>
                  <a:gd name="connsiteY1269" fmla="*/ 961549 h 1857375"/>
                  <a:gd name="connsiteX1270" fmla="*/ 529114 w 1247775"/>
                  <a:gd name="connsiteY1270" fmla="*/ 949166 h 1857375"/>
                  <a:gd name="connsiteX1271" fmla="*/ 519589 w 1247775"/>
                  <a:gd name="connsiteY1271" fmla="*/ 954881 h 1857375"/>
                  <a:gd name="connsiteX1272" fmla="*/ 520541 w 1247775"/>
                  <a:gd name="connsiteY1272" fmla="*/ 951071 h 1857375"/>
                  <a:gd name="connsiteX1273" fmla="*/ 500539 w 1247775"/>
                  <a:gd name="connsiteY1273" fmla="*/ 931069 h 1857375"/>
                  <a:gd name="connsiteX1274" fmla="*/ 492919 w 1247775"/>
                  <a:gd name="connsiteY1274" fmla="*/ 932974 h 1857375"/>
                  <a:gd name="connsiteX1275" fmla="*/ 484346 w 1247775"/>
                  <a:gd name="connsiteY1275" fmla="*/ 925354 h 1857375"/>
                  <a:gd name="connsiteX1276" fmla="*/ 486251 w 1247775"/>
                  <a:gd name="connsiteY1276" fmla="*/ 917734 h 1857375"/>
                  <a:gd name="connsiteX1277" fmla="*/ 485299 w 1247775"/>
                  <a:gd name="connsiteY1277" fmla="*/ 912971 h 1857375"/>
                  <a:gd name="connsiteX1278" fmla="*/ 488156 w 1247775"/>
                  <a:gd name="connsiteY1278" fmla="*/ 906304 h 1857375"/>
                  <a:gd name="connsiteX1279" fmla="*/ 486251 w 1247775"/>
                  <a:gd name="connsiteY1279" fmla="*/ 901541 h 1857375"/>
                  <a:gd name="connsiteX1280" fmla="*/ 492919 w 1247775"/>
                  <a:gd name="connsiteY1280" fmla="*/ 893921 h 1857375"/>
                  <a:gd name="connsiteX1281" fmla="*/ 505301 w 1247775"/>
                  <a:gd name="connsiteY1281" fmla="*/ 907256 h 1857375"/>
                  <a:gd name="connsiteX1282" fmla="*/ 505301 w 1247775"/>
                  <a:gd name="connsiteY1282" fmla="*/ 907256 h 1857375"/>
                  <a:gd name="connsiteX1283" fmla="*/ 525304 w 1247775"/>
                  <a:gd name="connsiteY1283" fmla="*/ 941546 h 1857375"/>
                  <a:gd name="connsiteX1284" fmla="*/ 537686 w 1247775"/>
                  <a:gd name="connsiteY1284" fmla="*/ 947261 h 1857375"/>
                  <a:gd name="connsiteX1285" fmla="*/ 538639 w 1247775"/>
                  <a:gd name="connsiteY1285" fmla="*/ 947261 h 1857375"/>
                  <a:gd name="connsiteX1286" fmla="*/ 539591 w 1247775"/>
                  <a:gd name="connsiteY1286" fmla="*/ 948214 h 1857375"/>
                  <a:gd name="connsiteX1287" fmla="*/ 539591 w 1247775"/>
                  <a:gd name="connsiteY1287" fmla="*/ 952024 h 1857375"/>
                  <a:gd name="connsiteX1288" fmla="*/ 547211 w 1247775"/>
                  <a:gd name="connsiteY1288" fmla="*/ 968216 h 1857375"/>
                  <a:gd name="connsiteX1289" fmla="*/ 549116 w 1247775"/>
                  <a:gd name="connsiteY1289" fmla="*/ 1032986 h 1857375"/>
                  <a:gd name="connsiteX1290" fmla="*/ 536734 w 1247775"/>
                  <a:gd name="connsiteY1290" fmla="*/ 1048226 h 1857375"/>
                  <a:gd name="connsiteX1291" fmla="*/ 532924 w 1247775"/>
                  <a:gd name="connsiteY1291" fmla="*/ 1048226 h 1857375"/>
                  <a:gd name="connsiteX1292" fmla="*/ 531019 w 1247775"/>
                  <a:gd name="connsiteY1292" fmla="*/ 1048226 h 1857375"/>
                  <a:gd name="connsiteX1293" fmla="*/ 531019 w 1247775"/>
                  <a:gd name="connsiteY1293" fmla="*/ 1047274 h 1857375"/>
                  <a:gd name="connsiteX1294" fmla="*/ 535781 w 1247775"/>
                  <a:gd name="connsiteY1294" fmla="*/ 1036796 h 1857375"/>
                  <a:gd name="connsiteX1295" fmla="*/ 534829 w 1247775"/>
                  <a:gd name="connsiteY1295" fmla="*/ 1032986 h 1857375"/>
                  <a:gd name="connsiteX1296" fmla="*/ 547211 w 1247775"/>
                  <a:gd name="connsiteY1296" fmla="*/ 1018699 h 1857375"/>
                  <a:gd name="connsiteX1297" fmla="*/ 548164 w 1247775"/>
                  <a:gd name="connsiteY1297" fmla="*/ 1019651 h 1857375"/>
                  <a:gd name="connsiteX1298" fmla="*/ 547211 w 1247775"/>
                  <a:gd name="connsiteY1298" fmla="*/ 1026319 h 1857375"/>
                  <a:gd name="connsiteX1299" fmla="*/ 549116 w 1247775"/>
                  <a:gd name="connsiteY1299" fmla="*/ 1032986 h 1857375"/>
                  <a:gd name="connsiteX1300" fmla="*/ 506254 w 1247775"/>
                  <a:gd name="connsiteY1300" fmla="*/ 814864 h 1857375"/>
                  <a:gd name="connsiteX1301" fmla="*/ 497681 w 1247775"/>
                  <a:gd name="connsiteY1301" fmla="*/ 812959 h 1857375"/>
                  <a:gd name="connsiteX1302" fmla="*/ 497681 w 1247775"/>
                  <a:gd name="connsiteY1302" fmla="*/ 812959 h 1857375"/>
                  <a:gd name="connsiteX1303" fmla="*/ 507206 w 1247775"/>
                  <a:gd name="connsiteY1303" fmla="*/ 806291 h 1857375"/>
                  <a:gd name="connsiteX1304" fmla="*/ 509111 w 1247775"/>
                  <a:gd name="connsiteY1304" fmla="*/ 805339 h 1857375"/>
                  <a:gd name="connsiteX1305" fmla="*/ 509111 w 1247775"/>
                  <a:gd name="connsiteY1305" fmla="*/ 806291 h 1857375"/>
                  <a:gd name="connsiteX1306" fmla="*/ 506254 w 1247775"/>
                  <a:gd name="connsiteY1306" fmla="*/ 812959 h 1857375"/>
                  <a:gd name="connsiteX1307" fmla="*/ 506254 w 1247775"/>
                  <a:gd name="connsiteY1307" fmla="*/ 814864 h 1857375"/>
                  <a:gd name="connsiteX1308" fmla="*/ 521494 w 1247775"/>
                  <a:gd name="connsiteY1308" fmla="*/ 822484 h 1857375"/>
                  <a:gd name="connsiteX1309" fmla="*/ 536734 w 1247775"/>
                  <a:gd name="connsiteY1309" fmla="*/ 832961 h 1857375"/>
                  <a:gd name="connsiteX1310" fmla="*/ 543401 w 1247775"/>
                  <a:gd name="connsiteY1310" fmla="*/ 832009 h 1857375"/>
                  <a:gd name="connsiteX1311" fmla="*/ 536734 w 1247775"/>
                  <a:gd name="connsiteY1311" fmla="*/ 842486 h 1857375"/>
                  <a:gd name="connsiteX1312" fmla="*/ 533876 w 1247775"/>
                  <a:gd name="connsiteY1312" fmla="*/ 842486 h 1857375"/>
                  <a:gd name="connsiteX1313" fmla="*/ 517684 w 1247775"/>
                  <a:gd name="connsiteY1313" fmla="*/ 854869 h 1857375"/>
                  <a:gd name="connsiteX1314" fmla="*/ 517684 w 1247775"/>
                  <a:gd name="connsiteY1314" fmla="*/ 854869 h 1857375"/>
                  <a:gd name="connsiteX1315" fmla="*/ 515779 w 1247775"/>
                  <a:gd name="connsiteY1315" fmla="*/ 854869 h 1857375"/>
                  <a:gd name="connsiteX1316" fmla="*/ 522446 w 1247775"/>
                  <a:gd name="connsiteY1316" fmla="*/ 838676 h 1857375"/>
                  <a:gd name="connsiteX1317" fmla="*/ 514826 w 1247775"/>
                  <a:gd name="connsiteY1317" fmla="*/ 820579 h 1857375"/>
                  <a:gd name="connsiteX1318" fmla="*/ 516731 w 1247775"/>
                  <a:gd name="connsiteY1318" fmla="*/ 819626 h 1857375"/>
                  <a:gd name="connsiteX1319" fmla="*/ 521494 w 1247775"/>
                  <a:gd name="connsiteY1319" fmla="*/ 822484 h 1857375"/>
                  <a:gd name="connsiteX1320" fmla="*/ 487204 w 1247775"/>
                  <a:gd name="connsiteY1320" fmla="*/ 723424 h 1857375"/>
                  <a:gd name="connsiteX1321" fmla="*/ 490061 w 1247775"/>
                  <a:gd name="connsiteY1321" fmla="*/ 728186 h 1857375"/>
                  <a:gd name="connsiteX1322" fmla="*/ 486251 w 1247775"/>
                  <a:gd name="connsiteY1322" fmla="*/ 731996 h 1857375"/>
                  <a:gd name="connsiteX1323" fmla="*/ 487204 w 1247775"/>
                  <a:gd name="connsiteY1323" fmla="*/ 723424 h 1857375"/>
                  <a:gd name="connsiteX1324" fmla="*/ 487204 w 1247775"/>
                  <a:gd name="connsiteY1324" fmla="*/ 723424 h 1857375"/>
                  <a:gd name="connsiteX1325" fmla="*/ 362426 w 1247775"/>
                  <a:gd name="connsiteY1325" fmla="*/ 708184 h 1857375"/>
                  <a:gd name="connsiteX1326" fmla="*/ 380524 w 1247775"/>
                  <a:gd name="connsiteY1326" fmla="*/ 695801 h 1857375"/>
                  <a:gd name="connsiteX1327" fmla="*/ 383381 w 1247775"/>
                  <a:gd name="connsiteY1327" fmla="*/ 694849 h 1857375"/>
                  <a:gd name="connsiteX1328" fmla="*/ 392906 w 1247775"/>
                  <a:gd name="connsiteY1328" fmla="*/ 705326 h 1857375"/>
                  <a:gd name="connsiteX1329" fmla="*/ 371951 w 1247775"/>
                  <a:gd name="connsiteY1329" fmla="*/ 726281 h 1857375"/>
                  <a:gd name="connsiteX1330" fmla="*/ 360521 w 1247775"/>
                  <a:gd name="connsiteY1330" fmla="*/ 708184 h 1857375"/>
                  <a:gd name="connsiteX1331" fmla="*/ 362426 w 1247775"/>
                  <a:gd name="connsiteY1331" fmla="*/ 708184 h 1857375"/>
                  <a:gd name="connsiteX1332" fmla="*/ 453866 w 1247775"/>
                  <a:gd name="connsiteY1332" fmla="*/ 781526 h 1857375"/>
                  <a:gd name="connsiteX1333" fmla="*/ 443389 w 1247775"/>
                  <a:gd name="connsiteY1333" fmla="*/ 791051 h 1857375"/>
                  <a:gd name="connsiteX1334" fmla="*/ 450056 w 1247775"/>
                  <a:gd name="connsiteY1334" fmla="*/ 800576 h 1857375"/>
                  <a:gd name="connsiteX1335" fmla="*/ 438626 w 1247775"/>
                  <a:gd name="connsiteY1335" fmla="*/ 809149 h 1857375"/>
                  <a:gd name="connsiteX1336" fmla="*/ 419576 w 1247775"/>
                  <a:gd name="connsiteY1336" fmla="*/ 830104 h 1857375"/>
                  <a:gd name="connsiteX1337" fmla="*/ 425291 w 1247775"/>
                  <a:gd name="connsiteY1337" fmla="*/ 844391 h 1857375"/>
                  <a:gd name="connsiteX1338" fmla="*/ 423386 w 1247775"/>
                  <a:gd name="connsiteY1338" fmla="*/ 846296 h 1857375"/>
                  <a:gd name="connsiteX1339" fmla="*/ 404336 w 1247775"/>
                  <a:gd name="connsiteY1339" fmla="*/ 832009 h 1857375"/>
                  <a:gd name="connsiteX1340" fmla="*/ 394811 w 1247775"/>
                  <a:gd name="connsiteY1340" fmla="*/ 828199 h 1857375"/>
                  <a:gd name="connsiteX1341" fmla="*/ 386239 w 1247775"/>
                  <a:gd name="connsiteY1341" fmla="*/ 831056 h 1857375"/>
                  <a:gd name="connsiteX1342" fmla="*/ 368141 w 1247775"/>
                  <a:gd name="connsiteY1342" fmla="*/ 842486 h 1857375"/>
                  <a:gd name="connsiteX1343" fmla="*/ 363379 w 1247775"/>
                  <a:gd name="connsiteY1343" fmla="*/ 837724 h 1857375"/>
                  <a:gd name="connsiteX1344" fmla="*/ 357664 w 1247775"/>
                  <a:gd name="connsiteY1344" fmla="*/ 826294 h 1857375"/>
                  <a:gd name="connsiteX1345" fmla="*/ 370046 w 1247775"/>
                  <a:gd name="connsiteY1345" fmla="*/ 807244 h 1857375"/>
                  <a:gd name="connsiteX1346" fmla="*/ 372904 w 1247775"/>
                  <a:gd name="connsiteY1346" fmla="*/ 807244 h 1857375"/>
                  <a:gd name="connsiteX1347" fmla="*/ 388144 w 1247775"/>
                  <a:gd name="connsiteY1347" fmla="*/ 803434 h 1857375"/>
                  <a:gd name="connsiteX1348" fmla="*/ 385286 w 1247775"/>
                  <a:gd name="connsiteY1348" fmla="*/ 811054 h 1857375"/>
                  <a:gd name="connsiteX1349" fmla="*/ 397669 w 1247775"/>
                  <a:gd name="connsiteY1349" fmla="*/ 823436 h 1857375"/>
                  <a:gd name="connsiteX1350" fmla="*/ 410051 w 1247775"/>
                  <a:gd name="connsiteY1350" fmla="*/ 811054 h 1857375"/>
                  <a:gd name="connsiteX1351" fmla="*/ 397669 w 1247775"/>
                  <a:gd name="connsiteY1351" fmla="*/ 798671 h 1857375"/>
                  <a:gd name="connsiteX1352" fmla="*/ 394811 w 1247775"/>
                  <a:gd name="connsiteY1352" fmla="*/ 799624 h 1857375"/>
                  <a:gd name="connsiteX1353" fmla="*/ 398621 w 1247775"/>
                  <a:gd name="connsiteY1353" fmla="*/ 795814 h 1857375"/>
                  <a:gd name="connsiteX1354" fmla="*/ 416719 w 1247775"/>
                  <a:gd name="connsiteY1354" fmla="*/ 787241 h 1857375"/>
                  <a:gd name="connsiteX1355" fmla="*/ 424339 w 1247775"/>
                  <a:gd name="connsiteY1355" fmla="*/ 788194 h 1857375"/>
                  <a:gd name="connsiteX1356" fmla="*/ 456724 w 1247775"/>
                  <a:gd name="connsiteY1356" fmla="*/ 759619 h 1857375"/>
                  <a:gd name="connsiteX1357" fmla="*/ 460534 w 1247775"/>
                  <a:gd name="connsiteY1357" fmla="*/ 759619 h 1857375"/>
                  <a:gd name="connsiteX1358" fmla="*/ 482441 w 1247775"/>
                  <a:gd name="connsiteY1358" fmla="*/ 743426 h 1857375"/>
                  <a:gd name="connsiteX1359" fmla="*/ 498634 w 1247775"/>
                  <a:gd name="connsiteY1359" fmla="*/ 757714 h 1857375"/>
                  <a:gd name="connsiteX1360" fmla="*/ 514826 w 1247775"/>
                  <a:gd name="connsiteY1360" fmla="*/ 742474 h 1857375"/>
                  <a:gd name="connsiteX1361" fmla="*/ 515779 w 1247775"/>
                  <a:gd name="connsiteY1361" fmla="*/ 742474 h 1857375"/>
                  <a:gd name="connsiteX1362" fmla="*/ 513874 w 1247775"/>
                  <a:gd name="connsiteY1362" fmla="*/ 751999 h 1857375"/>
                  <a:gd name="connsiteX1363" fmla="*/ 513874 w 1247775"/>
                  <a:gd name="connsiteY1363" fmla="*/ 755809 h 1857375"/>
                  <a:gd name="connsiteX1364" fmla="*/ 509111 w 1247775"/>
                  <a:gd name="connsiteY1364" fmla="*/ 768191 h 1857375"/>
                  <a:gd name="connsiteX1365" fmla="*/ 514826 w 1247775"/>
                  <a:gd name="connsiteY1365" fmla="*/ 781526 h 1857375"/>
                  <a:gd name="connsiteX1366" fmla="*/ 510064 w 1247775"/>
                  <a:gd name="connsiteY1366" fmla="*/ 788194 h 1857375"/>
                  <a:gd name="connsiteX1367" fmla="*/ 501491 w 1247775"/>
                  <a:gd name="connsiteY1367" fmla="*/ 783431 h 1857375"/>
                  <a:gd name="connsiteX1368" fmla="*/ 491966 w 1247775"/>
                  <a:gd name="connsiteY1368" fmla="*/ 780574 h 1857375"/>
                  <a:gd name="connsiteX1369" fmla="*/ 490061 w 1247775"/>
                  <a:gd name="connsiteY1369" fmla="*/ 780574 h 1857375"/>
                  <a:gd name="connsiteX1370" fmla="*/ 490061 w 1247775"/>
                  <a:gd name="connsiteY1370" fmla="*/ 779621 h 1857375"/>
                  <a:gd name="connsiteX1371" fmla="*/ 477679 w 1247775"/>
                  <a:gd name="connsiteY1371" fmla="*/ 767239 h 1857375"/>
                  <a:gd name="connsiteX1372" fmla="*/ 465296 w 1247775"/>
                  <a:gd name="connsiteY1372" fmla="*/ 779621 h 1857375"/>
                  <a:gd name="connsiteX1373" fmla="*/ 471011 w 1247775"/>
                  <a:gd name="connsiteY1373" fmla="*/ 790099 h 1857375"/>
                  <a:gd name="connsiteX1374" fmla="*/ 458629 w 1247775"/>
                  <a:gd name="connsiteY1374" fmla="*/ 799624 h 1857375"/>
                  <a:gd name="connsiteX1375" fmla="*/ 457676 w 1247775"/>
                  <a:gd name="connsiteY1375" fmla="*/ 799624 h 1857375"/>
                  <a:gd name="connsiteX1376" fmla="*/ 462439 w 1247775"/>
                  <a:gd name="connsiteY1376" fmla="*/ 791051 h 1857375"/>
                  <a:gd name="connsiteX1377" fmla="*/ 453866 w 1247775"/>
                  <a:gd name="connsiteY1377" fmla="*/ 781526 h 1857375"/>
                  <a:gd name="connsiteX1378" fmla="*/ 481489 w 1247775"/>
                  <a:gd name="connsiteY1378" fmla="*/ 946309 h 1857375"/>
                  <a:gd name="connsiteX1379" fmla="*/ 480536 w 1247775"/>
                  <a:gd name="connsiteY1379" fmla="*/ 951071 h 1857375"/>
                  <a:gd name="connsiteX1380" fmla="*/ 470059 w 1247775"/>
                  <a:gd name="connsiteY1380" fmla="*/ 936784 h 1857375"/>
                  <a:gd name="connsiteX1381" fmla="*/ 473869 w 1247775"/>
                  <a:gd name="connsiteY1381" fmla="*/ 935831 h 1857375"/>
                  <a:gd name="connsiteX1382" fmla="*/ 473869 w 1247775"/>
                  <a:gd name="connsiteY1382" fmla="*/ 935831 h 1857375"/>
                  <a:gd name="connsiteX1383" fmla="*/ 481489 w 1247775"/>
                  <a:gd name="connsiteY1383" fmla="*/ 946309 h 1857375"/>
                  <a:gd name="connsiteX1384" fmla="*/ 345281 w 1247775"/>
                  <a:gd name="connsiteY1384" fmla="*/ 1095851 h 1857375"/>
                  <a:gd name="connsiteX1385" fmla="*/ 345281 w 1247775"/>
                  <a:gd name="connsiteY1385" fmla="*/ 1095851 h 1857375"/>
                  <a:gd name="connsiteX1386" fmla="*/ 345281 w 1247775"/>
                  <a:gd name="connsiteY1386" fmla="*/ 1095851 h 1857375"/>
                  <a:gd name="connsiteX1387" fmla="*/ 345281 w 1247775"/>
                  <a:gd name="connsiteY1387" fmla="*/ 1095851 h 1857375"/>
                  <a:gd name="connsiteX1388" fmla="*/ 423386 w 1247775"/>
                  <a:gd name="connsiteY1388" fmla="*/ 1187291 h 1857375"/>
                  <a:gd name="connsiteX1389" fmla="*/ 421481 w 1247775"/>
                  <a:gd name="connsiteY1389" fmla="*/ 1188244 h 1857375"/>
                  <a:gd name="connsiteX1390" fmla="*/ 423386 w 1247775"/>
                  <a:gd name="connsiteY1390" fmla="*/ 1181576 h 1857375"/>
                  <a:gd name="connsiteX1391" fmla="*/ 426244 w 1247775"/>
                  <a:gd name="connsiteY1391" fmla="*/ 1182529 h 1857375"/>
                  <a:gd name="connsiteX1392" fmla="*/ 430054 w 1247775"/>
                  <a:gd name="connsiteY1392" fmla="*/ 1185386 h 1857375"/>
                  <a:gd name="connsiteX1393" fmla="*/ 423386 w 1247775"/>
                  <a:gd name="connsiteY1393" fmla="*/ 1187291 h 1857375"/>
                  <a:gd name="connsiteX1394" fmla="*/ 432911 w 1247775"/>
                  <a:gd name="connsiteY1394" fmla="*/ 1183481 h 1857375"/>
                  <a:gd name="connsiteX1395" fmla="*/ 432911 w 1247775"/>
                  <a:gd name="connsiteY1395" fmla="*/ 1183481 h 1857375"/>
                  <a:gd name="connsiteX1396" fmla="*/ 432911 w 1247775"/>
                  <a:gd name="connsiteY1396" fmla="*/ 1183481 h 1857375"/>
                  <a:gd name="connsiteX1397" fmla="*/ 432911 w 1247775"/>
                  <a:gd name="connsiteY1397" fmla="*/ 1183481 h 1857375"/>
                  <a:gd name="connsiteX1398" fmla="*/ 455771 w 1247775"/>
                  <a:gd name="connsiteY1398" fmla="*/ 1106329 h 1857375"/>
                  <a:gd name="connsiteX1399" fmla="*/ 443389 w 1247775"/>
                  <a:gd name="connsiteY1399" fmla="*/ 1117759 h 1857375"/>
                  <a:gd name="connsiteX1400" fmla="*/ 433864 w 1247775"/>
                  <a:gd name="connsiteY1400" fmla="*/ 1115854 h 1857375"/>
                  <a:gd name="connsiteX1401" fmla="*/ 400526 w 1247775"/>
                  <a:gd name="connsiteY1401" fmla="*/ 1149191 h 1857375"/>
                  <a:gd name="connsiteX1402" fmla="*/ 403384 w 1247775"/>
                  <a:gd name="connsiteY1402" fmla="*/ 1162526 h 1857375"/>
                  <a:gd name="connsiteX1403" fmla="*/ 387191 w 1247775"/>
                  <a:gd name="connsiteY1403" fmla="*/ 1179671 h 1857375"/>
                  <a:gd name="connsiteX1404" fmla="*/ 394811 w 1247775"/>
                  <a:gd name="connsiteY1404" fmla="*/ 1193959 h 1857375"/>
                  <a:gd name="connsiteX1405" fmla="*/ 389096 w 1247775"/>
                  <a:gd name="connsiteY1405" fmla="*/ 1206341 h 1857375"/>
                  <a:gd name="connsiteX1406" fmla="*/ 399574 w 1247775"/>
                  <a:gd name="connsiteY1406" fmla="*/ 1221581 h 1857375"/>
                  <a:gd name="connsiteX1407" fmla="*/ 409099 w 1247775"/>
                  <a:gd name="connsiteY1407" fmla="*/ 1231106 h 1857375"/>
                  <a:gd name="connsiteX1408" fmla="*/ 392906 w 1247775"/>
                  <a:gd name="connsiteY1408" fmla="*/ 1250156 h 1857375"/>
                  <a:gd name="connsiteX1409" fmla="*/ 390049 w 1247775"/>
                  <a:gd name="connsiteY1409" fmla="*/ 1251109 h 1857375"/>
                  <a:gd name="connsiteX1410" fmla="*/ 388144 w 1247775"/>
                  <a:gd name="connsiteY1410" fmla="*/ 1245394 h 1857375"/>
                  <a:gd name="connsiteX1411" fmla="*/ 390049 w 1247775"/>
                  <a:gd name="connsiteY1411" fmla="*/ 1241584 h 1857375"/>
                  <a:gd name="connsiteX1412" fmla="*/ 396716 w 1247775"/>
                  <a:gd name="connsiteY1412" fmla="*/ 1230154 h 1857375"/>
                  <a:gd name="connsiteX1413" fmla="*/ 388144 w 1247775"/>
                  <a:gd name="connsiteY1413" fmla="*/ 1217771 h 1857375"/>
                  <a:gd name="connsiteX1414" fmla="*/ 378619 w 1247775"/>
                  <a:gd name="connsiteY1414" fmla="*/ 1207294 h 1857375"/>
                  <a:gd name="connsiteX1415" fmla="*/ 362426 w 1247775"/>
                  <a:gd name="connsiteY1415" fmla="*/ 1199674 h 1857375"/>
                  <a:gd name="connsiteX1416" fmla="*/ 343376 w 1247775"/>
                  <a:gd name="connsiteY1416" fmla="*/ 1212056 h 1857375"/>
                  <a:gd name="connsiteX1417" fmla="*/ 339566 w 1247775"/>
                  <a:gd name="connsiteY1417" fmla="*/ 1216819 h 1857375"/>
                  <a:gd name="connsiteX1418" fmla="*/ 316706 w 1247775"/>
                  <a:gd name="connsiteY1418" fmla="*/ 1233964 h 1857375"/>
                  <a:gd name="connsiteX1419" fmla="*/ 315754 w 1247775"/>
                  <a:gd name="connsiteY1419" fmla="*/ 1231106 h 1857375"/>
                  <a:gd name="connsiteX1420" fmla="*/ 315754 w 1247775"/>
                  <a:gd name="connsiteY1420" fmla="*/ 1229201 h 1857375"/>
                  <a:gd name="connsiteX1421" fmla="*/ 310991 w 1247775"/>
                  <a:gd name="connsiteY1421" fmla="*/ 1213961 h 1857375"/>
                  <a:gd name="connsiteX1422" fmla="*/ 331946 w 1247775"/>
                  <a:gd name="connsiteY1422" fmla="*/ 1186339 h 1857375"/>
                  <a:gd name="connsiteX1423" fmla="*/ 316706 w 1247775"/>
                  <a:gd name="connsiteY1423" fmla="*/ 1161574 h 1857375"/>
                  <a:gd name="connsiteX1424" fmla="*/ 316706 w 1247775"/>
                  <a:gd name="connsiteY1424" fmla="*/ 1160621 h 1857375"/>
                  <a:gd name="connsiteX1425" fmla="*/ 320516 w 1247775"/>
                  <a:gd name="connsiteY1425" fmla="*/ 1156811 h 1857375"/>
                  <a:gd name="connsiteX1426" fmla="*/ 323374 w 1247775"/>
                  <a:gd name="connsiteY1426" fmla="*/ 1157764 h 1857375"/>
                  <a:gd name="connsiteX1427" fmla="*/ 322421 w 1247775"/>
                  <a:gd name="connsiteY1427" fmla="*/ 1160621 h 1857375"/>
                  <a:gd name="connsiteX1428" fmla="*/ 328136 w 1247775"/>
                  <a:gd name="connsiteY1428" fmla="*/ 1166336 h 1857375"/>
                  <a:gd name="connsiteX1429" fmla="*/ 330041 w 1247775"/>
                  <a:gd name="connsiteY1429" fmla="*/ 1166336 h 1857375"/>
                  <a:gd name="connsiteX1430" fmla="*/ 335756 w 1247775"/>
                  <a:gd name="connsiteY1430" fmla="*/ 1168241 h 1857375"/>
                  <a:gd name="connsiteX1431" fmla="*/ 346234 w 1247775"/>
                  <a:gd name="connsiteY1431" fmla="*/ 1157764 h 1857375"/>
                  <a:gd name="connsiteX1432" fmla="*/ 345281 w 1247775"/>
                  <a:gd name="connsiteY1432" fmla="*/ 1153954 h 1857375"/>
                  <a:gd name="connsiteX1433" fmla="*/ 353854 w 1247775"/>
                  <a:gd name="connsiteY1433" fmla="*/ 1146334 h 1857375"/>
                  <a:gd name="connsiteX1434" fmla="*/ 366236 w 1247775"/>
                  <a:gd name="connsiteY1434" fmla="*/ 1151096 h 1857375"/>
                  <a:gd name="connsiteX1435" fmla="*/ 382429 w 1247775"/>
                  <a:gd name="connsiteY1435" fmla="*/ 1140619 h 1857375"/>
                  <a:gd name="connsiteX1436" fmla="*/ 386239 w 1247775"/>
                  <a:gd name="connsiteY1436" fmla="*/ 1142524 h 1857375"/>
                  <a:gd name="connsiteX1437" fmla="*/ 391001 w 1247775"/>
                  <a:gd name="connsiteY1437" fmla="*/ 1137761 h 1857375"/>
                  <a:gd name="connsiteX1438" fmla="*/ 386239 w 1247775"/>
                  <a:gd name="connsiteY1438" fmla="*/ 1132999 h 1857375"/>
                  <a:gd name="connsiteX1439" fmla="*/ 384334 w 1247775"/>
                  <a:gd name="connsiteY1439" fmla="*/ 1133951 h 1857375"/>
                  <a:gd name="connsiteX1440" fmla="*/ 384334 w 1247775"/>
                  <a:gd name="connsiteY1440" fmla="*/ 1133951 h 1857375"/>
                  <a:gd name="connsiteX1441" fmla="*/ 383381 w 1247775"/>
                  <a:gd name="connsiteY1441" fmla="*/ 1129189 h 1857375"/>
                  <a:gd name="connsiteX1442" fmla="*/ 385286 w 1247775"/>
                  <a:gd name="connsiteY1442" fmla="*/ 1122521 h 1857375"/>
                  <a:gd name="connsiteX1443" fmla="*/ 378619 w 1247775"/>
                  <a:gd name="connsiteY1443" fmla="*/ 1109186 h 1857375"/>
                  <a:gd name="connsiteX1444" fmla="*/ 388144 w 1247775"/>
                  <a:gd name="connsiteY1444" fmla="*/ 1101566 h 1857375"/>
                  <a:gd name="connsiteX1445" fmla="*/ 390049 w 1247775"/>
                  <a:gd name="connsiteY1445" fmla="*/ 1100614 h 1857375"/>
                  <a:gd name="connsiteX1446" fmla="*/ 411004 w 1247775"/>
                  <a:gd name="connsiteY1446" fmla="*/ 1113949 h 1857375"/>
                  <a:gd name="connsiteX1447" fmla="*/ 434816 w 1247775"/>
                  <a:gd name="connsiteY1447" fmla="*/ 1090136 h 1857375"/>
                  <a:gd name="connsiteX1448" fmla="*/ 433864 w 1247775"/>
                  <a:gd name="connsiteY1448" fmla="*/ 1083469 h 1857375"/>
                  <a:gd name="connsiteX1449" fmla="*/ 443389 w 1247775"/>
                  <a:gd name="connsiteY1449" fmla="*/ 1086326 h 1857375"/>
                  <a:gd name="connsiteX1450" fmla="*/ 442436 w 1247775"/>
                  <a:gd name="connsiteY1450" fmla="*/ 1090136 h 1857375"/>
                  <a:gd name="connsiteX1451" fmla="*/ 450056 w 1247775"/>
                  <a:gd name="connsiteY1451" fmla="*/ 1097756 h 1857375"/>
                  <a:gd name="connsiteX1452" fmla="*/ 457676 w 1247775"/>
                  <a:gd name="connsiteY1452" fmla="*/ 1090136 h 1857375"/>
                  <a:gd name="connsiteX1453" fmla="*/ 454819 w 1247775"/>
                  <a:gd name="connsiteY1453" fmla="*/ 1084421 h 1857375"/>
                  <a:gd name="connsiteX1454" fmla="*/ 466249 w 1247775"/>
                  <a:gd name="connsiteY1454" fmla="*/ 1073944 h 1857375"/>
                  <a:gd name="connsiteX1455" fmla="*/ 473869 w 1247775"/>
                  <a:gd name="connsiteY1455" fmla="*/ 1076801 h 1857375"/>
                  <a:gd name="connsiteX1456" fmla="*/ 479584 w 1247775"/>
                  <a:gd name="connsiteY1456" fmla="*/ 1074896 h 1857375"/>
                  <a:gd name="connsiteX1457" fmla="*/ 480536 w 1247775"/>
                  <a:gd name="connsiteY1457" fmla="*/ 1075849 h 1857375"/>
                  <a:gd name="connsiteX1458" fmla="*/ 491014 w 1247775"/>
                  <a:gd name="connsiteY1458" fmla="*/ 1085374 h 1857375"/>
                  <a:gd name="connsiteX1459" fmla="*/ 500539 w 1247775"/>
                  <a:gd name="connsiteY1459" fmla="*/ 1078706 h 1857375"/>
                  <a:gd name="connsiteX1460" fmla="*/ 505301 w 1247775"/>
                  <a:gd name="connsiteY1460" fmla="*/ 1077754 h 1857375"/>
                  <a:gd name="connsiteX1461" fmla="*/ 515779 w 1247775"/>
                  <a:gd name="connsiteY1461" fmla="*/ 1084421 h 1857375"/>
                  <a:gd name="connsiteX1462" fmla="*/ 518636 w 1247775"/>
                  <a:gd name="connsiteY1462" fmla="*/ 1083469 h 1857375"/>
                  <a:gd name="connsiteX1463" fmla="*/ 521494 w 1247775"/>
                  <a:gd name="connsiteY1463" fmla="*/ 1087279 h 1857375"/>
                  <a:gd name="connsiteX1464" fmla="*/ 521494 w 1247775"/>
                  <a:gd name="connsiteY1464" fmla="*/ 1090136 h 1857375"/>
                  <a:gd name="connsiteX1465" fmla="*/ 538639 w 1247775"/>
                  <a:gd name="connsiteY1465" fmla="*/ 1107281 h 1857375"/>
                  <a:gd name="connsiteX1466" fmla="*/ 549116 w 1247775"/>
                  <a:gd name="connsiteY1466" fmla="*/ 1103471 h 1857375"/>
                  <a:gd name="connsiteX1467" fmla="*/ 553879 w 1247775"/>
                  <a:gd name="connsiteY1467" fmla="*/ 1106329 h 1857375"/>
                  <a:gd name="connsiteX1468" fmla="*/ 563404 w 1247775"/>
                  <a:gd name="connsiteY1468" fmla="*/ 1113949 h 1857375"/>
                  <a:gd name="connsiteX1469" fmla="*/ 559594 w 1247775"/>
                  <a:gd name="connsiteY1469" fmla="*/ 1118711 h 1857375"/>
                  <a:gd name="connsiteX1470" fmla="*/ 557689 w 1247775"/>
                  <a:gd name="connsiteY1470" fmla="*/ 1118711 h 1857375"/>
                  <a:gd name="connsiteX1471" fmla="*/ 547211 w 1247775"/>
                  <a:gd name="connsiteY1471" fmla="*/ 1120616 h 1857375"/>
                  <a:gd name="connsiteX1472" fmla="*/ 542449 w 1247775"/>
                  <a:gd name="connsiteY1472" fmla="*/ 1118711 h 1857375"/>
                  <a:gd name="connsiteX1473" fmla="*/ 538639 w 1247775"/>
                  <a:gd name="connsiteY1473" fmla="*/ 1119664 h 1857375"/>
                  <a:gd name="connsiteX1474" fmla="*/ 518636 w 1247775"/>
                  <a:gd name="connsiteY1474" fmla="*/ 1104424 h 1857375"/>
                  <a:gd name="connsiteX1475" fmla="*/ 486251 w 1247775"/>
                  <a:gd name="connsiteY1475" fmla="*/ 1087279 h 1857375"/>
                  <a:gd name="connsiteX1476" fmla="*/ 455771 w 1247775"/>
                  <a:gd name="connsiteY1476" fmla="*/ 1106329 h 1857375"/>
                  <a:gd name="connsiteX1477" fmla="*/ 483394 w 1247775"/>
                  <a:gd name="connsiteY1477" fmla="*/ 1196816 h 1857375"/>
                  <a:gd name="connsiteX1478" fmla="*/ 469106 w 1247775"/>
                  <a:gd name="connsiteY1478" fmla="*/ 1192054 h 1857375"/>
                  <a:gd name="connsiteX1479" fmla="*/ 465296 w 1247775"/>
                  <a:gd name="connsiteY1479" fmla="*/ 1192054 h 1857375"/>
                  <a:gd name="connsiteX1480" fmla="*/ 462439 w 1247775"/>
                  <a:gd name="connsiteY1480" fmla="*/ 1189196 h 1857375"/>
                  <a:gd name="connsiteX1481" fmla="*/ 466249 w 1247775"/>
                  <a:gd name="connsiteY1481" fmla="*/ 1178719 h 1857375"/>
                  <a:gd name="connsiteX1482" fmla="*/ 462439 w 1247775"/>
                  <a:gd name="connsiteY1482" fmla="*/ 1167289 h 1857375"/>
                  <a:gd name="connsiteX1483" fmla="*/ 462439 w 1247775"/>
                  <a:gd name="connsiteY1483" fmla="*/ 1167289 h 1857375"/>
                  <a:gd name="connsiteX1484" fmla="*/ 475774 w 1247775"/>
                  <a:gd name="connsiteY1484" fmla="*/ 1170146 h 1857375"/>
                  <a:gd name="connsiteX1485" fmla="*/ 491014 w 1247775"/>
                  <a:gd name="connsiteY1485" fmla="*/ 1165384 h 1857375"/>
                  <a:gd name="connsiteX1486" fmla="*/ 502444 w 1247775"/>
                  <a:gd name="connsiteY1486" fmla="*/ 1162526 h 1857375"/>
                  <a:gd name="connsiteX1487" fmla="*/ 507206 w 1247775"/>
                  <a:gd name="connsiteY1487" fmla="*/ 1165384 h 1857375"/>
                  <a:gd name="connsiteX1488" fmla="*/ 513874 w 1247775"/>
                  <a:gd name="connsiteY1488" fmla="*/ 1158716 h 1857375"/>
                  <a:gd name="connsiteX1489" fmla="*/ 512921 w 1247775"/>
                  <a:gd name="connsiteY1489" fmla="*/ 1155859 h 1857375"/>
                  <a:gd name="connsiteX1490" fmla="*/ 517684 w 1247775"/>
                  <a:gd name="connsiteY1490" fmla="*/ 1150144 h 1857375"/>
                  <a:gd name="connsiteX1491" fmla="*/ 525304 w 1247775"/>
                  <a:gd name="connsiteY1491" fmla="*/ 1153001 h 1857375"/>
                  <a:gd name="connsiteX1492" fmla="*/ 528161 w 1247775"/>
                  <a:gd name="connsiteY1492" fmla="*/ 1152049 h 1857375"/>
                  <a:gd name="connsiteX1493" fmla="*/ 526256 w 1247775"/>
                  <a:gd name="connsiteY1493" fmla="*/ 1160621 h 1857375"/>
                  <a:gd name="connsiteX1494" fmla="*/ 526256 w 1247775"/>
                  <a:gd name="connsiteY1494" fmla="*/ 1161574 h 1857375"/>
                  <a:gd name="connsiteX1495" fmla="*/ 514826 w 1247775"/>
                  <a:gd name="connsiteY1495" fmla="*/ 1177766 h 1857375"/>
                  <a:gd name="connsiteX1496" fmla="*/ 507206 w 1247775"/>
                  <a:gd name="connsiteY1496" fmla="*/ 1174909 h 1857375"/>
                  <a:gd name="connsiteX1497" fmla="*/ 495776 w 1247775"/>
                  <a:gd name="connsiteY1497" fmla="*/ 1186339 h 1857375"/>
                  <a:gd name="connsiteX1498" fmla="*/ 497681 w 1247775"/>
                  <a:gd name="connsiteY1498" fmla="*/ 1192054 h 1857375"/>
                  <a:gd name="connsiteX1499" fmla="*/ 491966 w 1247775"/>
                  <a:gd name="connsiteY1499" fmla="*/ 1190149 h 1857375"/>
                  <a:gd name="connsiteX1500" fmla="*/ 483394 w 1247775"/>
                  <a:gd name="connsiteY1500" fmla="*/ 1196816 h 1857375"/>
                  <a:gd name="connsiteX1501" fmla="*/ 507206 w 1247775"/>
                  <a:gd name="connsiteY1501" fmla="*/ 1716881 h 1857375"/>
                  <a:gd name="connsiteX1502" fmla="*/ 506254 w 1247775"/>
                  <a:gd name="connsiteY1502" fmla="*/ 1714976 h 1857375"/>
                  <a:gd name="connsiteX1503" fmla="*/ 508159 w 1247775"/>
                  <a:gd name="connsiteY1503" fmla="*/ 1714976 h 1857375"/>
                  <a:gd name="connsiteX1504" fmla="*/ 510064 w 1247775"/>
                  <a:gd name="connsiteY1504" fmla="*/ 1714976 h 1857375"/>
                  <a:gd name="connsiteX1505" fmla="*/ 510064 w 1247775"/>
                  <a:gd name="connsiteY1505" fmla="*/ 1714976 h 1857375"/>
                  <a:gd name="connsiteX1506" fmla="*/ 507206 w 1247775"/>
                  <a:gd name="connsiteY1506" fmla="*/ 1716881 h 1857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Lst>
                <a:rect l="l" t="t" r="r" b="b"/>
                <a:pathLst>
                  <a:path w="1247775" h="1857375">
                    <a:moveTo>
                      <a:pt x="1172051" y="974884"/>
                    </a:moveTo>
                    <a:cubicBezTo>
                      <a:pt x="1133951" y="944404"/>
                      <a:pt x="1065371" y="835819"/>
                      <a:pt x="1037749" y="787241"/>
                    </a:cubicBezTo>
                    <a:lnTo>
                      <a:pt x="1026319" y="764381"/>
                    </a:lnTo>
                    <a:cubicBezTo>
                      <a:pt x="1025366" y="760571"/>
                      <a:pt x="1024414" y="755809"/>
                      <a:pt x="1023461" y="751046"/>
                    </a:cubicBezTo>
                    <a:cubicBezTo>
                      <a:pt x="1024414" y="751046"/>
                      <a:pt x="1024414" y="750094"/>
                      <a:pt x="1024414" y="750094"/>
                    </a:cubicBezTo>
                    <a:cubicBezTo>
                      <a:pt x="1024414" y="748189"/>
                      <a:pt x="1025366" y="746284"/>
                      <a:pt x="1025366" y="744379"/>
                    </a:cubicBezTo>
                    <a:cubicBezTo>
                      <a:pt x="1025366" y="739616"/>
                      <a:pt x="1024414" y="735806"/>
                      <a:pt x="1022509" y="731996"/>
                    </a:cubicBezTo>
                    <a:cubicBezTo>
                      <a:pt x="1021556" y="691039"/>
                      <a:pt x="1032986" y="639604"/>
                      <a:pt x="1037749" y="609124"/>
                    </a:cubicBezTo>
                    <a:cubicBezTo>
                      <a:pt x="1041559" y="583406"/>
                      <a:pt x="1035844" y="532924"/>
                      <a:pt x="1025366" y="473869"/>
                    </a:cubicBezTo>
                    <a:cubicBezTo>
                      <a:pt x="1025366" y="473869"/>
                      <a:pt x="1025366" y="472916"/>
                      <a:pt x="1025366" y="472916"/>
                    </a:cubicBezTo>
                    <a:cubicBezTo>
                      <a:pt x="1025366" y="469106"/>
                      <a:pt x="1024414" y="466249"/>
                      <a:pt x="1023461" y="463391"/>
                    </a:cubicBezTo>
                    <a:cubicBezTo>
                      <a:pt x="1022509" y="459581"/>
                      <a:pt x="1021556" y="454819"/>
                      <a:pt x="1020604" y="450056"/>
                    </a:cubicBezTo>
                    <a:cubicBezTo>
                      <a:pt x="1021556" y="447199"/>
                      <a:pt x="1021556" y="445294"/>
                      <a:pt x="1021556" y="442436"/>
                    </a:cubicBezTo>
                    <a:cubicBezTo>
                      <a:pt x="1021556" y="435769"/>
                      <a:pt x="1018699" y="429101"/>
                      <a:pt x="1014889" y="424339"/>
                    </a:cubicBezTo>
                    <a:cubicBezTo>
                      <a:pt x="1010126" y="404336"/>
                      <a:pt x="1005364" y="383381"/>
                      <a:pt x="1000601" y="362426"/>
                    </a:cubicBezTo>
                    <a:cubicBezTo>
                      <a:pt x="999649" y="357664"/>
                      <a:pt x="997744" y="351949"/>
                      <a:pt x="996791" y="347186"/>
                    </a:cubicBezTo>
                    <a:cubicBezTo>
                      <a:pt x="996791" y="344329"/>
                      <a:pt x="995839" y="342424"/>
                      <a:pt x="994886" y="339566"/>
                    </a:cubicBezTo>
                    <a:cubicBezTo>
                      <a:pt x="967264" y="254794"/>
                      <a:pt x="902494" y="161449"/>
                      <a:pt x="892969" y="148114"/>
                    </a:cubicBezTo>
                    <a:cubicBezTo>
                      <a:pt x="892016" y="147161"/>
                      <a:pt x="892016" y="146209"/>
                      <a:pt x="891064" y="144304"/>
                    </a:cubicBezTo>
                    <a:cubicBezTo>
                      <a:pt x="891064" y="144304"/>
                      <a:pt x="891064" y="144304"/>
                      <a:pt x="891064" y="144304"/>
                    </a:cubicBezTo>
                    <a:cubicBezTo>
                      <a:pt x="890111" y="141446"/>
                      <a:pt x="888206" y="139541"/>
                      <a:pt x="886301" y="137636"/>
                    </a:cubicBezTo>
                    <a:cubicBezTo>
                      <a:pt x="884396" y="114776"/>
                      <a:pt x="865346" y="97631"/>
                      <a:pt x="842486" y="97631"/>
                    </a:cubicBezTo>
                    <a:cubicBezTo>
                      <a:pt x="834866" y="97631"/>
                      <a:pt x="828199" y="99536"/>
                      <a:pt x="821531" y="103346"/>
                    </a:cubicBezTo>
                    <a:cubicBezTo>
                      <a:pt x="820579" y="92869"/>
                      <a:pt x="812959" y="83344"/>
                      <a:pt x="803434" y="80486"/>
                    </a:cubicBezTo>
                    <a:cubicBezTo>
                      <a:pt x="799624" y="72866"/>
                      <a:pt x="792956" y="66199"/>
                      <a:pt x="784384" y="63341"/>
                    </a:cubicBezTo>
                    <a:cubicBezTo>
                      <a:pt x="779621" y="50006"/>
                      <a:pt x="766286" y="40481"/>
                      <a:pt x="751046" y="40481"/>
                    </a:cubicBezTo>
                    <a:cubicBezTo>
                      <a:pt x="737711" y="40481"/>
                      <a:pt x="726281" y="48101"/>
                      <a:pt x="719614" y="58579"/>
                    </a:cubicBezTo>
                    <a:cubicBezTo>
                      <a:pt x="715804" y="56674"/>
                      <a:pt x="712946" y="55721"/>
                      <a:pt x="708184" y="55721"/>
                    </a:cubicBezTo>
                    <a:cubicBezTo>
                      <a:pt x="707231" y="55721"/>
                      <a:pt x="705326" y="55721"/>
                      <a:pt x="704374" y="55721"/>
                    </a:cubicBezTo>
                    <a:cubicBezTo>
                      <a:pt x="703421" y="52864"/>
                      <a:pt x="700564" y="50006"/>
                      <a:pt x="698659" y="48101"/>
                    </a:cubicBezTo>
                    <a:cubicBezTo>
                      <a:pt x="701516" y="45244"/>
                      <a:pt x="703421" y="41434"/>
                      <a:pt x="703421" y="37624"/>
                    </a:cubicBezTo>
                    <a:cubicBezTo>
                      <a:pt x="703421" y="29051"/>
                      <a:pt x="696754" y="22384"/>
                      <a:pt x="688181" y="22384"/>
                    </a:cubicBezTo>
                    <a:cubicBezTo>
                      <a:pt x="685324" y="22384"/>
                      <a:pt x="681514" y="23336"/>
                      <a:pt x="679609" y="25241"/>
                    </a:cubicBezTo>
                    <a:cubicBezTo>
                      <a:pt x="676751" y="20479"/>
                      <a:pt x="672941" y="16669"/>
                      <a:pt x="667226" y="16669"/>
                    </a:cubicBezTo>
                    <a:cubicBezTo>
                      <a:pt x="667226" y="16669"/>
                      <a:pt x="667226" y="16669"/>
                      <a:pt x="667226" y="16669"/>
                    </a:cubicBezTo>
                    <a:cubicBezTo>
                      <a:pt x="665321" y="10954"/>
                      <a:pt x="659606" y="7144"/>
                      <a:pt x="652939" y="7144"/>
                    </a:cubicBezTo>
                    <a:cubicBezTo>
                      <a:pt x="644366" y="7144"/>
                      <a:pt x="637699" y="13811"/>
                      <a:pt x="637699" y="22384"/>
                    </a:cubicBezTo>
                    <a:cubicBezTo>
                      <a:pt x="637699" y="30956"/>
                      <a:pt x="644366" y="37624"/>
                      <a:pt x="652939" y="37624"/>
                    </a:cubicBezTo>
                    <a:cubicBezTo>
                      <a:pt x="654844" y="37624"/>
                      <a:pt x="656749" y="37624"/>
                      <a:pt x="658654" y="36671"/>
                    </a:cubicBezTo>
                    <a:cubicBezTo>
                      <a:pt x="660559" y="38576"/>
                      <a:pt x="663416" y="40481"/>
                      <a:pt x="667226" y="40481"/>
                    </a:cubicBezTo>
                    <a:cubicBezTo>
                      <a:pt x="669131" y="40481"/>
                      <a:pt x="670084" y="40481"/>
                      <a:pt x="671989" y="39529"/>
                    </a:cubicBezTo>
                    <a:cubicBezTo>
                      <a:pt x="671989" y="41434"/>
                      <a:pt x="672941" y="43339"/>
                      <a:pt x="673894" y="45244"/>
                    </a:cubicBezTo>
                    <a:cubicBezTo>
                      <a:pt x="671036" y="46196"/>
                      <a:pt x="669131" y="48101"/>
                      <a:pt x="667226" y="50006"/>
                    </a:cubicBezTo>
                    <a:cubicBezTo>
                      <a:pt x="659606" y="50959"/>
                      <a:pt x="652939" y="57626"/>
                      <a:pt x="652939" y="65246"/>
                    </a:cubicBezTo>
                    <a:cubicBezTo>
                      <a:pt x="652939" y="72866"/>
                      <a:pt x="657701" y="78581"/>
                      <a:pt x="664369" y="80486"/>
                    </a:cubicBezTo>
                    <a:cubicBezTo>
                      <a:pt x="665321" y="81439"/>
                      <a:pt x="666274" y="82391"/>
                      <a:pt x="666274" y="83344"/>
                    </a:cubicBezTo>
                    <a:cubicBezTo>
                      <a:pt x="663416" y="86201"/>
                      <a:pt x="661511" y="90011"/>
                      <a:pt x="661511" y="94774"/>
                    </a:cubicBezTo>
                    <a:cubicBezTo>
                      <a:pt x="661511" y="96679"/>
                      <a:pt x="661511" y="99536"/>
                      <a:pt x="662464" y="101441"/>
                    </a:cubicBezTo>
                    <a:cubicBezTo>
                      <a:pt x="662464" y="101441"/>
                      <a:pt x="661511" y="101441"/>
                      <a:pt x="661511" y="101441"/>
                    </a:cubicBezTo>
                    <a:cubicBezTo>
                      <a:pt x="650081" y="101441"/>
                      <a:pt x="640556" y="110966"/>
                      <a:pt x="640556" y="122396"/>
                    </a:cubicBezTo>
                    <a:cubicBezTo>
                      <a:pt x="640556" y="130016"/>
                      <a:pt x="644366" y="136684"/>
                      <a:pt x="651034" y="140494"/>
                    </a:cubicBezTo>
                    <a:cubicBezTo>
                      <a:pt x="650081" y="142399"/>
                      <a:pt x="649129" y="144304"/>
                      <a:pt x="649129" y="146209"/>
                    </a:cubicBezTo>
                    <a:cubicBezTo>
                      <a:pt x="649129" y="151924"/>
                      <a:pt x="653891" y="156686"/>
                      <a:pt x="659606" y="156686"/>
                    </a:cubicBezTo>
                    <a:cubicBezTo>
                      <a:pt x="665321" y="156686"/>
                      <a:pt x="670084" y="151924"/>
                      <a:pt x="670084" y="146209"/>
                    </a:cubicBezTo>
                    <a:cubicBezTo>
                      <a:pt x="670084" y="145256"/>
                      <a:pt x="670084" y="143351"/>
                      <a:pt x="669131" y="142399"/>
                    </a:cubicBezTo>
                    <a:cubicBezTo>
                      <a:pt x="670084" y="141446"/>
                      <a:pt x="671989" y="141446"/>
                      <a:pt x="672941" y="140494"/>
                    </a:cubicBezTo>
                    <a:cubicBezTo>
                      <a:pt x="672941" y="141446"/>
                      <a:pt x="671989" y="143351"/>
                      <a:pt x="671989" y="145256"/>
                    </a:cubicBezTo>
                    <a:cubicBezTo>
                      <a:pt x="671989" y="152876"/>
                      <a:pt x="677704" y="158591"/>
                      <a:pt x="685324" y="158591"/>
                    </a:cubicBezTo>
                    <a:cubicBezTo>
                      <a:pt x="692944" y="158591"/>
                      <a:pt x="698659" y="152876"/>
                      <a:pt x="698659" y="145256"/>
                    </a:cubicBezTo>
                    <a:cubicBezTo>
                      <a:pt x="698659" y="137636"/>
                      <a:pt x="692944" y="131921"/>
                      <a:pt x="685324" y="131921"/>
                    </a:cubicBezTo>
                    <a:cubicBezTo>
                      <a:pt x="683419" y="131921"/>
                      <a:pt x="681514" y="132874"/>
                      <a:pt x="679609" y="132874"/>
                    </a:cubicBezTo>
                    <a:cubicBezTo>
                      <a:pt x="680561" y="130016"/>
                      <a:pt x="681514" y="128111"/>
                      <a:pt x="681514" y="125254"/>
                    </a:cubicBezTo>
                    <a:cubicBezTo>
                      <a:pt x="681514" y="125254"/>
                      <a:pt x="682466" y="125254"/>
                      <a:pt x="682466" y="125254"/>
                    </a:cubicBezTo>
                    <a:cubicBezTo>
                      <a:pt x="691039" y="125254"/>
                      <a:pt x="698659" y="118586"/>
                      <a:pt x="699611" y="110014"/>
                    </a:cubicBezTo>
                    <a:cubicBezTo>
                      <a:pt x="701516" y="110966"/>
                      <a:pt x="704374" y="111919"/>
                      <a:pt x="706279" y="111919"/>
                    </a:cubicBezTo>
                    <a:cubicBezTo>
                      <a:pt x="706279" y="112871"/>
                      <a:pt x="706279" y="112871"/>
                      <a:pt x="706279" y="113824"/>
                    </a:cubicBezTo>
                    <a:cubicBezTo>
                      <a:pt x="706279" y="117634"/>
                      <a:pt x="709136" y="120491"/>
                      <a:pt x="711994" y="122396"/>
                    </a:cubicBezTo>
                    <a:cubicBezTo>
                      <a:pt x="712946" y="135731"/>
                      <a:pt x="724376" y="146209"/>
                      <a:pt x="738664" y="146209"/>
                    </a:cubicBezTo>
                    <a:cubicBezTo>
                      <a:pt x="749141" y="146209"/>
                      <a:pt x="758666" y="139541"/>
                      <a:pt x="763429" y="130969"/>
                    </a:cubicBezTo>
                    <a:cubicBezTo>
                      <a:pt x="765334" y="131921"/>
                      <a:pt x="767239" y="131921"/>
                      <a:pt x="770096" y="132874"/>
                    </a:cubicBezTo>
                    <a:cubicBezTo>
                      <a:pt x="772001" y="135731"/>
                      <a:pt x="774859" y="138589"/>
                      <a:pt x="778669" y="140494"/>
                    </a:cubicBezTo>
                    <a:cubicBezTo>
                      <a:pt x="776764" y="141446"/>
                      <a:pt x="774859" y="143351"/>
                      <a:pt x="773906" y="145256"/>
                    </a:cubicBezTo>
                    <a:cubicBezTo>
                      <a:pt x="772954" y="141446"/>
                      <a:pt x="770096" y="138589"/>
                      <a:pt x="765334" y="138589"/>
                    </a:cubicBezTo>
                    <a:cubicBezTo>
                      <a:pt x="760571" y="138589"/>
                      <a:pt x="756761" y="142399"/>
                      <a:pt x="756761" y="147161"/>
                    </a:cubicBezTo>
                    <a:cubicBezTo>
                      <a:pt x="756761" y="150971"/>
                      <a:pt x="758666" y="153829"/>
                      <a:pt x="761524" y="154781"/>
                    </a:cubicBezTo>
                    <a:cubicBezTo>
                      <a:pt x="759619" y="156686"/>
                      <a:pt x="757714" y="158591"/>
                      <a:pt x="757714" y="161449"/>
                    </a:cubicBezTo>
                    <a:cubicBezTo>
                      <a:pt x="757714" y="163354"/>
                      <a:pt x="758666" y="165259"/>
                      <a:pt x="759619" y="167164"/>
                    </a:cubicBezTo>
                    <a:cubicBezTo>
                      <a:pt x="759619" y="168116"/>
                      <a:pt x="759619" y="168116"/>
                      <a:pt x="759619" y="169069"/>
                    </a:cubicBezTo>
                    <a:cubicBezTo>
                      <a:pt x="755809" y="161449"/>
                      <a:pt x="748189" y="155734"/>
                      <a:pt x="738664" y="155734"/>
                    </a:cubicBezTo>
                    <a:cubicBezTo>
                      <a:pt x="737711" y="155734"/>
                      <a:pt x="736759" y="155734"/>
                      <a:pt x="735806" y="155734"/>
                    </a:cubicBezTo>
                    <a:cubicBezTo>
                      <a:pt x="733901" y="153829"/>
                      <a:pt x="731996" y="152876"/>
                      <a:pt x="729139" y="152876"/>
                    </a:cubicBezTo>
                    <a:cubicBezTo>
                      <a:pt x="724376" y="152876"/>
                      <a:pt x="719614" y="156686"/>
                      <a:pt x="719614" y="162401"/>
                    </a:cubicBezTo>
                    <a:cubicBezTo>
                      <a:pt x="719614" y="163354"/>
                      <a:pt x="719614" y="164306"/>
                      <a:pt x="720566" y="165259"/>
                    </a:cubicBezTo>
                    <a:cubicBezTo>
                      <a:pt x="718661" y="168116"/>
                      <a:pt x="716756" y="170974"/>
                      <a:pt x="716756" y="173831"/>
                    </a:cubicBezTo>
                    <a:cubicBezTo>
                      <a:pt x="714851" y="173831"/>
                      <a:pt x="713899" y="172879"/>
                      <a:pt x="711994" y="172879"/>
                    </a:cubicBezTo>
                    <a:cubicBezTo>
                      <a:pt x="704374" y="172879"/>
                      <a:pt x="697706" y="174784"/>
                      <a:pt x="691991" y="178594"/>
                    </a:cubicBezTo>
                    <a:cubicBezTo>
                      <a:pt x="688181" y="176689"/>
                      <a:pt x="684371" y="175736"/>
                      <a:pt x="680561" y="175736"/>
                    </a:cubicBezTo>
                    <a:cubicBezTo>
                      <a:pt x="678656" y="175736"/>
                      <a:pt x="675799" y="175736"/>
                      <a:pt x="673894" y="176689"/>
                    </a:cubicBezTo>
                    <a:cubicBezTo>
                      <a:pt x="674846" y="175736"/>
                      <a:pt x="675799" y="173831"/>
                      <a:pt x="675799" y="172879"/>
                    </a:cubicBezTo>
                    <a:cubicBezTo>
                      <a:pt x="675799" y="169069"/>
                      <a:pt x="671989" y="165259"/>
                      <a:pt x="668179" y="165259"/>
                    </a:cubicBezTo>
                    <a:cubicBezTo>
                      <a:pt x="664369" y="165259"/>
                      <a:pt x="660559" y="169069"/>
                      <a:pt x="660559" y="172879"/>
                    </a:cubicBezTo>
                    <a:cubicBezTo>
                      <a:pt x="660559" y="176689"/>
                      <a:pt x="663416" y="179546"/>
                      <a:pt x="667226" y="180499"/>
                    </a:cubicBezTo>
                    <a:cubicBezTo>
                      <a:pt x="661511" y="184309"/>
                      <a:pt x="657701" y="191929"/>
                      <a:pt x="657701" y="199549"/>
                    </a:cubicBezTo>
                    <a:cubicBezTo>
                      <a:pt x="657701" y="202406"/>
                      <a:pt x="658654" y="205264"/>
                      <a:pt x="659606" y="207169"/>
                    </a:cubicBezTo>
                    <a:cubicBezTo>
                      <a:pt x="657701" y="207169"/>
                      <a:pt x="655796" y="207169"/>
                      <a:pt x="654844" y="208121"/>
                    </a:cubicBezTo>
                    <a:cubicBezTo>
                      <a:pt x="652939" y="206216"/>
                      <a:pt x="651034" y="205264"/>
                      <a:pt x="648176" y="205264"/>
                    </a:cubicBezTo>
                    <a:cubicBezTo>
                      <a:pt x="643414" y="205264"/>
                      <a:pt x="639604" y="209074"/>
                      <a:pt x="639604" y="213836"/>
                    </a:cubicBezTo>
                    <a:cubicBezTo>
                      <a:pt x="639604" y="215741"/>
                      <a:pt x="640556" y="216694"/>
                      <a:pt x="640556" y="217646"/>
                    </a:cubicBezTo>
                    <a:cubicBezTo>
                      <a:pt x="637699" y="219551"/>
                      <a:pt x="635794" y="222409"/>
                      <a:pt x="634841" y="226219"/>
                    </a:cubicBezTo>
                    <a:cubicBezTo>
                      <a:pt x="632936" y="224314"/>
                      <a:pt x="630079" y="223361"/>
                      <a:pt x="627221" y="223361"/>
                    </a:cubicBezTo>
                    <a:cubicBezTo>
                      <a:pt x="626269" y="215741"/>
                      <a:pt x="621506" y="209074"/>
                      <a:pt x="613886" y="205264"/>
                    </a:cubicBezTo>
                    <a:cubicBezTo>
                      <a:pt x="617696" y="205264"/>
                      <a:pt x="620554" y="204311"/>
                      <a:pt x="623411" y="203359"/>
                    </a:cubicBezTo>
                    <a:cubicBezTo>
                      <a:pt x="625316" y="206216"/>
                      <a:pt x="629126" y="209074"/>
                      <a:pt x="632936" y="209074"/>
                    </a:cubicBezTo>
                    <a:cubicBezTo>
                      <a:pt x="639604" y="209074"/>
                      <a:pt x="644366" y="204311"/>
                      <a:pt x="644366" y="197644"/>
                    </a:cubicBezTo>
                    <a:cubicBezTo>
                      <a:pt x="644366" y="194786"/>
                      <a:pt x="643414" y="191929"/>
                      <a:pt x="640556" y="189071"/>
                    </a:cubicBezTo>
                    <a:cubicBezTo>
                      <a:pt x="644366" y="183356"/>
                      <a:pt x="646271" y="176689"/>
                      <a:pt x="646271" y="170021"/>
                    </a:cubicBezTo>
                    <a:cubicBezTo>
                      <a:pt x="646271" y="153829"/>
                      <a:pt x="634841" y="139541"/>
                      <a:pt x="619601" y="135731"/>
                    </a:cubicBezTo>
                    <a:cubicBezTo>
                      <a:pt x="617696" y="133826"/>
                      <a:pt x="615791" y="132874"/>
                      <a:pt x="612934" y="132874"/>
                    </a:cubicBezTo>
                    <a:cubicBezTo>
                      <a:pt x="611029" y="132874"/>
                      <a:pt x="609124" y="133826"/>
                      <a:pt x="607219" y="134779"/>
                    </a:cubicBezTo>
                    <a:cubicBezTo>
                      <a:pt x="605314" y="134779"/>
                      <a:pt x="602456" y="135731"/>
                      <a:pt x="600551" y="135731"/>
                    </a:cubicBezTo>
                    <a:cubicBezTo>
                      <a:pt x="601504" y="133826"/>
                      <a:pt x="601504" y="131921"/>
                      <a:pt x="601504" y="129064"/>
                    </a:cubicBezTo>
                    <a:cubicBezTo>
                      <a:pt x="603409" y="130016"/>
                      <a:pt x="605314" y="130969"/>
                      <a:pt x="607219" y="130969"/>
                    </a:cubicBezTo>
                    <a:cubicBezTo>
                      <a:pt x="611981" y="130969"/>
                      <a:pt x="616744" y="127159"/>
                      <a:pt x="616744" y="121444"/>
                    </a:cubicBezTo>
                    <a:cubicBezTo>
                      <a:pt x="616744" y="115729"/>
                      <a:pt x="612934" y="111919"/>
                      <a:pt x="607219" y="111919"/>
                    </a:cubicBezTo>
                    <a:cubicBezTo>
                      <a:pt x="604361" y="111919"/>
                      <a:pt x="601504" y="113824"/>
                      <a:pt x="599599" y="116681"/>
                    </a:cubicBezTo>
                    <a:cubicBezTo>
                      <a:pt x="597694" y="112871"/>
                      <a:pt x="594836" y="110014"/>
                      <a:pt x="591979" y="107156"/>
                    </a:cubicBezTo>
                    <a:cubicBezTo>
                      <a:pt x="593884" y="108109"/>
                      <a:pt x="596741" y="108109"/>
                      <a:pt x="598646" y="108109"/>
                    </a:cubicBezTo>
                    <a:cubicBezTo>
                      <a:pt x="612934" y="108109"/>
                      <a:pt x="624364" y="97631"/>
                      <a:pt x="626269" y="84296"/>
                    </a:cubicBezTo>
                    <a:cubicBezTo>
                      <a:pt x="628174" y="85249"/>
                      <a:pt x="629126" y="85249"/>
                      <a:pt x="631031" y="85249"/>
                    </a:cubicBezTo>
                    <a:cubicBezTo>
                      <a:pt x="638651" y="85249"/>
                      <a:pt x="644366" y="79534"/>
                      <a:pt x="644366" y="71914"/>
                    </a:cubicBezTo>
                    <a:cubicBezTo>
                      <a:pt x="644366" y="64294"/>
                      <a:pt x="638651" y="58579"/>
                      <a:pt x="631031" y="58579"/>
                    </a:cubicBezTo>
                    <a:cubicBezTo>
                      <a:pt x="626269" y="58579"/>
                      <a:pt x="622459" y="60484"/>
                      <a:pt x="620554" y="64294"/>
                    </a:cubicBezTo>
                    <a:cubicBezTo>
                      <a:pt x="615791" y="57626"/>
                      <a:pt x="607219" y="53816"/>
                      <a:pt x="598646" y="53816"/>
                    </a:cubicBezTo>
                    <a:cubicBezTo>
                      <a:pt x="591026" y="53816"/>
                      <a:pt x="584359" y="56674"/>
                      <a:pt x="578644" y="62389"/>
                    </a:cubicBezTo>
                    <a:cubicBezTo>
                      <a:pt x="578644" y="61436"/>
                      <a:pt x="578644" y="59531"/>
                      <a:pt x="578644" y="58579"/>
                    </a:cubicBezTo>
                    <a:cubicBezTo>
                      <a:pt x="578644" y="47149"/>
                      <a:pt x="569119" y="37624"/>
                      <a:pt x="557689" y="37624"/>
                    </a:cubicBezTo>
                    <a:cubicBezTo>
                      <a:pt x="546259" y="37624"/>
                      <a:pt x="536734" y="47149"/>
                      <a:pt x="536734" y="58579"/>
                    </a:cubicBezTo>
                    <a:cubicBezTo>
                      <a:pt x="536734" y="70009"/>
                      <a:pt x="546259" y="79534"/>
                      <a:pt x="557689" y="79534"/>
                    </a:cubicBezTo>
                    <a:cubicBezTo>
                      <a:pt x="562451" y="79534"/>
                      <a:pt x="567214" y="77629"/>
                      <a:pt x="571024" y="74771"/>
                    </a:cubicBezTo>
                    <a:cubicBezTo>
                      <a:pt x="570071" y="77629"/>
                      <a:pt x="570071" y="80486"/>
                      <a:pt x="570071" y="83344"/>
                    </a:cubicBezTo>
                    <a:cubicBezTo>
                      <a:pt x="570071" y="92869"/>
                      <a:pt x="574834" y="101441"/>
                      <a:pt x="582454" y="106204"/>
                    </a:cubicBezTo>
                    <a:cubicBezTo>
                      <a:pt x="580549" y="106204"/>
                      <a:pt x="579596" y="105251"/>
                      <a:pt x="577691" y="105251"/>
                    </a:cubicBezTo>
                    <a:cubicBezTo>
                      <a:pt x="570071" y="105251"/>
                      <a:pt x="563404" y="109061"/>
                      <a:pt x="559594" y="113824"/>
                    </a:cubicBezTo>
                    <a:cubicBezTo>
                      <a:pt x="555784" y="107156"/>
                      <a:pt x="549116" y="103346"/>
                      <a:pt x="541496" y="103346"/>
                    </a:cubicBezTo>
                    <a:cubicBezTo>
                      <a:pt x="530066" y="103346"/>
                      <a:pt x="519589" y="112871"/>
                      <a:pt x="519589" y="125254"/>
                    </a:cubicBezTo>
                    <a:cubicBezTo>
                      <a:pt x="519589" y="137636"/>
                      <a:pt x="529114" y="147161"/>
                      <a:pt x="541496" y="147161"/>
                    </a:cubicBezTo>
                    <a:cubicBezTo>
                      <a:pt x="547211" y="147161"/>
                      <a:pt x="552926" y="144304"/>
                      <a:pt x="556736" y="140494"/>
                    </a:cubicBezTo>
                    <a:cubicBezTo>
                      <a:pt x="560546" y="148114"/>
                      <a:pt x="569119" y="153829"/>
                      <a:pt x="578644" y="153829"/>
                    </a:cubicBezTo>
                    <a:cubicBezTo>
                      <a:pt x="579596" y="153829"/>
                      <a:pt x="580549" y="153829"/>
                      <a:pt x="581501" y="153829"/>
                    </a:cubicBezTo>
                    <a:cubicBezTo>
                      <a:pt x="578644" y="158591"/>
                      <a:pt x="576739" y="165259"/>
                      <a:pt x="576739" y="170974"/>
                    </a:cubicBezTo>
                    <a:cubicBezTo>
                      <a:pt x="576739" y="172879"/>
                      <a:pt x="576739" y="174784"/>
                      <a:pt x="577691" y="176689"/>
                    </a:cubicBezTo>
                    <a:cubicBezTo>
                      <a:pt x="571976" y="172879"/>
                      <a:pt x="565309" y="170974"/>
                      <a:pt x="557689" y="170974"/>
                    </a:cubicBezTo>
                    <a:cubicBezTo>
                      <a:pt x="545306" y="170974"/>
                      <a:pt x="533876" y="176689"/>
                      <a:pt x="526256" y="186214"/>
                    </a:cubicBezTo>
                    <a:cubicBezTo>
                      <a:pt x="523399" y="181451"/>
                      <a:pt x="518636" y="177641"/>
                      <a:pt x="512921" y="177641"/>
                    </a:cubicBezTo>
                    <a:cubicBezTo>
                      <a:pt x="504349" y="177641"/>
                      <a:pt x="497681" y="184309"/>
                      <a:pt x="497681" y="192881"/>
                    </a:cubicBezTo>
                    <a:cubicBezTo>
                      <a:pt x="497681" y="201454"/>
                      <a:pt x="504349" y="208121"/>
                      <a:pt x="512921" y="208121"/>
                    </a:cubicBezTo>
                    <a:cubicBezTo>
                      <a:pt x="514826" y="208121"/>
                      <a:pt x="516731" y="208121"/>
                      <a:pt x="518636" y="207169"/>
                    </a:cubicBezTo>
                    <a:cubicBezTo>
                      <a:pt x="518636" y="208121"/>
                      <a:pt x="518636" y="209074"/>
                      <a:pt x="518636" y="210026"/>
                    </a:cubicBezTo>
                    <a:cubicBezTo>
                      <a:pt x="518636" y="222409"/>
                      <a:pt x="524351" y="232886"/>
                      <a:pt x="532924" y="239554"/>
                    </a:cubicBezTo>
                    <a:cubicBezTo>
                      <a:pt x="531019" y="242411"/>
                      <a:pt x="530066" y="246221"/>
                      <a:pt x="530066" y="249079"/>
                    </a:cubicBezTo>
                    <a:cubicBezTo>
                      <a:pt x="530066" y="250031"/>
                      <a:pt x="530066" y="250031"/>
                      <a:pt x="530066" y="250984"/>
                    </a:cubicBezTo>
                    <a:cubicBezTo>
                      <a:pt x="523399" y="255746"/>
                      <a:pt x="517684" y="261461"/>
                      <a:pt x="514826" y="270034"/>
                    </a:cubicBezTo>
                    <a:cubicBezTo>
                      <a:pt x="508159" y="274796"/>
                      <a:pt x="503396" y="283369"/>
                      <a:pt x="503396" y="291941"/>
                    </a:cubicBezTo>
                    <a:cubicBezTo>
                      <a:pt x="503396" y="307181"/>
                      <a:pt x="515779" y="319564"/>
                      <a:pt x="531019" y="319564"/>
                    </a:cubicBezTo>
                    <a:cubicBezTo>
                      <a:pt x="534829" y="319564"/>
                      <a:pt x="537686" y="318611"/>
                      <a:pt x="540544" y="317659"/>
                    </a:cubicBezTo>
                    <a:cubicBezTo>
                      <a:pt x="543401" y="318611"/>
                      <a:pt x="546259" y="318611"/>
                      <a:pt x="549116" y="318611"/>
                    </a:cubicBezTo>
                    <a:cubicBezTo>
                      <a:pt x="564356" y="318611"/>
                      <a:pt x="577691" y="309086"/>
                      <a:pt x="582454" y="295751"/>
                    </a:cubicBezTo>
                    <a:cubicBezTo>
                      <a:pt x="583406" y="295751"/>
                      <a:pt x="583406" y="294799"/>
                      <a:pt x="584359" y="294799"/>
                    </a:cubicBezTo>
                    <a:cubicBezTo>
                      <a:pt x="584359" y="294799"/>
                      <a:pt x="585311" y="294799"/>
                      <a:pt x="585311" y="294799"/>
                    </a:cubicBezTo>
                    <a:cubicBezTo>
                      <a:pt x="587216" y="301466"/>
                      <a:pt x="591026" y="306229"/>
                      <a:pt x="596741" y="310991"/>
                    </a:cubicBezTo>
                    <a:cubicBezTo>
                      <a:pt x="596741" y="310991"/>
                      <a:pt x="596741" y="311944"/>
                      <a:pt x="596741" y="311944"/>
                    </a:cubicBezTo>
                    <a:cubicBezTo>
                      <a:pt x="596741" y="312896"/>
                      <a:pt x="596741" y="312896"/>
                      <a:pt x="596741" y="313849"/>
                    </a:cubicBezTo>
                    <a:cubicBezTo>
                      <a:pt x="595789" y="315754"/>
                      <a:pt x="595789" y="318611"/>
                      <a:pt x="595789" y="321469"/>
                    </a:cubicBezTo>
                    <a:cubicBezTo>
                      <a:pt x="595789" y="328136"/>
                      <a:pt x="598646" y="333851"/>
                      <a:pt x="603409" y="337661"/>
                    </a:cubicBezTo>
                    <a:cubicBezTo>
                      <a:pt x="603409" y="338614"/>
                      <a:pt x="603409" y="339566"/>
                      <a:pt x="603409" y="339566"/>
                    </a:cubicBezTo>
                    <a:cubicBezTo>
                      <a:pt x="603409" y="347186"/>
                      <a:pt x="608171" y="352901"/>
                      <a:pt x="614839" y="354806"/>
                    </a:cubicBezTo>
                    <a:cubicBezTo>
                      <a:pt x="612934" y="356711"/>
                      <a:pt x="611029" y="359569"/>
                      <a:pt x="611029" y="363379"/>
                    </a:cubicBezTo>
                    <a:cubicBezTo>
                      <a:pt x="604361" y="356711"/>
                      <a:pt x="595789" y="352901"/>
                      <a:pt x="586264" y="352901"/>
                    </a:cubicBezTo>
                    <a:cubicBezTo>
                      <a:pt x="567214" y="352901"/>
                      <a:pt x="551974" y="368141"/>
                      <a:pt x="551974" y="387191"/>
                    </a:cubicBezTo>
                    <a:cubicBezTo>
                      <a:pt x="551974" y="390049"/>
                      <a:pt x="551974" y="392906"/>
                      <a:pt x="552926" y="395764"/>
                    </a:cubicBezTo>
                    <a:cubicBezTo>
                      <a:pt x="550069" y="391001"/>
                      <a:pt x="546259" y="387191"/>
                      <a:pt x="541496" y="385286"/>
                    </a:cubicBezTo>
                    <a:cubicBezTo>
                      <a:pt x="539591" y="379571"/>
                      <a:pt x="533876" y="375761"/>
                      <a:pt x="527209" y="375761"/>
                    </a:cubicBezTo>
                    <a:cubicBezTo>
                      <a:pt x="518636" y="375761"/>
                      <a:pt x="511969" y="382429"/>
                      <a:pt x="511969" y="391001"/>
                    </a:cubicBezTo>
                    <a:cubicBezTo>
                      <a:pt x="511969" y="391954"/>
                      <a:pt x="511969" y="391954"/>
                      <a:pt x="511969" y="392906"/>
                    </a:cubicBezTo>
                    <a:cubicBezTo>
                      <a:pt x="508159" y="397669"/>
                      <a:pt x="506254" y="402431"/>
                      <a:pt x="506254" y="409099"/>
                    </a:cubicBezTo>
                    <a:cubicBezTo>
                      <a:pt x="506254" y="414814"/>
                      <a:pt x="508159" y="420529"/>
                      <a:pt x="511969" y="425291"/>
                    </a:cubicBezTo>
                    <a:cubicBezTo>
                      <a:pt x="511016" y="427196"/>
                      <a:pt x="511016" y="428149"/>
                      <a:pt x="511016" y="430054"/>
                    </a:cubicBezTo>
                    <a:cubicBezTo>
                      <a:pt x="511016" y="437674"/>
                      <a:pt x="516731" y="443389"/>
                      <a:pt x="524351" y="443389"/>
                    </a:cubicBezTo>
                    <a:cubicBezTo>
                      <a:pt x="530066" y="443389"/>
                      <a:pt x="535781" y="439579"/>
                      <a:pt x="537686" y="433864"/>
                    </a:cubicBezTo>
                    <a:cubicBezTo>
                      <a:pt x="537686" y="433864"/>
                      <a:pt x="537686" y="433864"/>
                      <a:pt x="537686" y="433864"/>
                    </a:cubicBezTo>
                    <a:cubicBezTo>
                      <a:pt x="537686" y="436721"/>
                      <a:pt x="538639" y="439579"/>
                      <a:pt x="539591" y="441484"/>
                    </a:cubicBezTo>
                    <a:cubicBezTo>
                      <a:pt x="535781" y="442436"/>
                      <a:pt x="531971" y="445294"/>
                      <a:pt x="531971" y="450056"/>
                    </a:cubicBezTo>
                    <a:cubicBezTo>
                      <a:pt x="531971" y="454819"/>
                      <a:pt x="535781" y="458629"/>
                      <a:pt x="540544" y="458629"/>
                    </a:cubicBezTo>
                    <a:cubicBezTo>
                      <a:pt x="545306" y="458629"/>
                      <a:pt x="549116" y="454819"/>
                      <a:pt x="549116" y="451009"/>
                    </a:cubicBezTo>
                    <a:cubicBezTo>
                      <a:pt x="551974" y="451961"/>
                      <a:pt x="554831" y="452914"/>
                      <a:pt x="557689" y="452914"/>
                    </a:cubicBezTo>
                    <a:cubicBezTo>
                      <a:pt x="559594" y="452914"/>
                      <a:pt x="561499" y="452914"/>
                      <a:pt x="563404" y="451961"/>
                    </a:cubicBezTo>
                    <a:cubicBezTo>
                      <a:pt x="563404" y="452914"/>
                      <a:pt x="564356" y="453866"/>
                      <a:pt x="565309" y="454819"/>
                    </a:cubicBezTo>
                    <a:cubicBezTo>
                      <a:pt x="562451" y="456724"/>
                      <a:pt x="560546" y="460534"/>
                      <a:pt x="560546" y="464344"/>
                    </a:cubicBezTo>
                    <a:cubicBezTo>
                      <a:pt x="560546" y="465296"/>
                      <a:pt x="560546" y="466249"/>
                      <a:pt x="560546" y="467201"/>
                    </a:cubicBezTo>
                    <a:cubicBezTo>
                      <a:pt x="555784" y="471964"/>
                      <a:pt x="551974" y="478631"/>
                      <a:pt x="551974" y="487204"/>
                    </a:cubicBezTo>
                    <a:cubicBezTo>
                      <a:pt x="551974" y="487204"/>
                      <a:pt x="551974" y="488156"/>
                      <a:pt x="551974" y="488156"/>
                    </a:cubicBezTo>
                    <a:cubicBezTo>
                      <a:pt x="549116" y="491014"/>
                      <a:pt x="548164" y="494824"/>
                      <a:pt x="548164" y="499586"/>
                    </a:cubicBezTo>
                    <a:cubicBezTo>
                      <a:pt x="548164" y="509111"/>
                      <a:pt x="555784" y="517684"/>
                      <a:pt x="566261" y="517684"/>
                    </a:cubicBezTo>
                    <a:cubicBezTo>
                      <a:pt x="569119" y="517684"/>
                      <a:pt x="571976" y="516731"/>
                      <a:pt x="573881" y="515779"/>
                    </a:cubicBezTo>
                    <a:cubicBezTo>
                      <a:pt x="571976" y="517684"/>
                      <a:pt x="571024" y="520541"/>
                      <a:pt x="571024" y="523399"/>
                    </a:cubicBezTo>
                    <a:cubicBezTo>
                      <a:pt x="571024" y="527209"/>
                      <a:pt x="572929" y="530066"/>
                      <a:pt x="574834" y="531971"/>
                    </a:cubicBezTo>
                    <a:cubicBezTo>
                      <a:pt x="574834" y="531971"/>
                      <a:pt x="574834" y="532924"/>
                      <a:pt x="574834" y="532924"/>
                    </a:cubicBezTo>
                    <a:cubicBezTo>
                      <a:pt x="574834" y="539591"/>
                      <a:pt x="580549" y="544354"/>
                      <a:pt x="586264" y="544354"/>
                    </a:cubicBezTo>
                    <a:cubicBezTo>
                      <a:pt x="591026" y="544354"/>
                      <a:pt x="594836" y="541496"/>
                      <a:pt x="596741" y="537686"/>
                    </a:cubicBezTo>
                    <a:cubicBezTo>
                      <a:pt x="597694" y="537686"/>
                      <a:pt x="597694" y="536734"/>
                      <a:pt x="598646" y="536734"/>
                    </a:cubicBezTo>
                    <a:cubicBezTo>
                      <a:pt x="602456" y="540544"/>
                      <a:pt x="607219" y="542449"/>
                      <a:pt x="611981" y="542449"/>
                    </a:cubicBezTo>
                    <a:cubicBezTo>
                      <a:pt x="622459" y="542449"/>
                      <a:pt x="631984" y="533876"/>
                      <a:pt x="631984" y="522446"/>
                    </a:cubicBezTo>
                    <a:cubicBezTo>
                      <a:pt x="635794" y="524351"/>
                      <a:pt x="639604" y="525304"/>
                      <a:pt x="643414" y="525304"/>
                    </a:cubicBezTo>
                    <a:cubicBezTo>
                      <a:pt x="636746" y="526256"/>
                      <a:pt x="632936" y="531971"/>
                      <a:pt x="632936" y="538639"/>
                    </a:cubicBezTo>
                    <a:cubicBezTo>
                      <a:pt x="632936" y="539591"/>
                      <a:pt x="632936" y="541496"/>
                      <a:pt x="633889" y="542449"/>
                    </a:cubicBezTo>
                    <a:cubicBezTo>
                      <a:pt x="629126" y="544354"/>
                      <a:pt x="626269" y="549116"/>
                      <a:pt x="626269" y="554831"/>
                    </a:cubicBezTo>
                    <a:cubicBezTo>
                      <a:pt x="626269" y="554831"/>
                      <a:pt x="626269" y="554831"/>
                      <a:pt x="626269" y="555784"/>
                    </a:cubicBezTo>
                    <a:cubicBezTo>
                      <a:pt x="624364" y="551021"/>
                      <a:pt x="619601" y="548164"/>
                      <a:pt x="614839" y="548164"/>
                    </a:cubicBezTo>
                    <a:cubicBezTo>
                      <a:pt x="608171" y="548164"/>
                      <a:pt x="602456" y="553879"/>
                      <a:pt x="602456" y="560546"/>
                    </a:cubicBezTo>
                    <a:cubicBezTo>
                      <a:pt x="602456" y="567214"/>
                      <a:pt x="608171" y="572929"/>
                      <a:pt x="614839" y="572929"/>
                    </a:cubicBezTo>
                    <a:cubicBezTo>
                      <a:pt x="621506" y="572929"/>
                      <a:pt x="627221" y="567214"/>
                      <a:pt x="627221" y="560546"/>
                    </a:cubicBezTo>
                    <a:cubicBezTo>
                      <a:pt x="627221" y="560546"/>
                      <a:pt x="627221" y="560546"/>
                      <a:pt x="627221" y="560546"/>
                    </a:cubicBezTo>
                    <a:cubicBezTo>
                      <a:pt x="628174" y="562451"/>
                      <a:pt x="629126" y="564356"/>
                      <a:pt x="631031" y="566261"/>
                    </a:cubicBezTo>
                    <a:cubicBezTo>
                      <a:pt x="629126" y="567214"/>
                      <a:pt x="628174" y="569119"/>
                      <a:pt x="628174" y="571024"/>
                    </a:cubicBezTo>
                    <a:cubicBezTo>
                      <a:pt x="628174" y="573881"/>
                      <a:pt x="631031" y="576739"/>
                      <a:pt x="633889" y="576739"/>
                    </a:cubicBezTo>
                    <a:cubicBezTo>
                      <a:pt x="636746" y="576739"/>
                      <a:pt x="639604" y="573881"/>
                      <a:pt x="639604" y="571024"/>
                    </a:cubicBezTo>
                    <a:cubicBezTo>
                      <a:pt x="639604" y="570071"/>
                      <a:pt x="639604" y="570071"/>
                      <a:pt x="639604" y="569119"/>
                    </a:cubicBezTo>
                    <a:cubicBezTo>
                      <a:pt x="639604" y="569119"/>
                      <a:pt x="640556" y="569119"/>
                      <a:pt x="640556" y="569119"/>
                    </a:cubicBezTo>
                    <a:cubicBezTo>
                      <a:pt x="642461" y="569119"/>
                      <a:pt x="644366" y="568166"/>
                      <a:pt x="646271" y="568166"/>
                    </a:cubicBezTo>
                    <a:cubicBezTo>
                      <a:pt x="647224" y="569119"/>
                      <a:pt x="647224" y="569119"/>
                      <a:pt x="648176" y="570071"/>
                    </a:cubicBezTo>
                    <a:cubicBezTo>
                      <a:pt x="647224" y="571024"/>
                      <a:pt x="647224" y="571976"/>
                      <a:pt x="647224" y="573881"/>
                    </a:cubicBezTo>
                    <a:cubicBezTo>
                      <a:pt x="647224" y="575786"/>
                      <a:pt x="648176" y="577691"/>
                      <a:pt x="650081" y="579596"/>
                    </a:cubicBezTo>
                    <a:cubicBezTo>
                      <a:pt x="646271" y="580549"/>
                      <a:pt x="642461" y="584359"/>
                      <a:pt x="642461" y="589121"/>
                    </a:cubicBezTo>
                    <a:cubicBezTo>
                      <a:pt x="642461" y="592931"/>
                      <a:pt x="644366" y="595789"/>
                      <a:pt x="648176" y="597694"/>
                    </a:cubicBezTo>
                    <a:cubicBezTo>
                      <a:pt x="649129" y="601504"/>
                      <a:pt x="651986" y="604361"/>
                      <a:pt x="656749" y="605314"/>
                    </a:cubicBezTo>
                    <a:lnTo>
                      <a:pt x="656749" y="608171"/>
                    </a:lnTo>
                    <a:cubicBezTo>
                      <a:pt x="654844" y="605314"/>
                      <a:pt x="651034" y="603409"/>
                      <a:pt x="647224" y="603409"/>
                    </a:cubicBezTo>
                    <a:cubicBezTo>
                      <a:pt x="640556" y="603409"/>
                      <a:pt x="635794" y="609124"/>
                      <a:pt x="635794" y="614839"/>
                    </a:cubicBezTo>
                    <a:cubicBezTo>
                      <a:pt x="635794" y="615791"/>
                      <a:pt x="635794" y="616744"/>
                      <a:pt x="636746" y="617696"/>
                    </a:cubicBezTo>
                    <a:cubicBezTo>
                      <a:pt x="635794" y="617696"/>
                      <a:pt x="634841" y="617696"/>
                      <a:pt x="634841" y="617696"/>
                    </a:cubicBezTo>
                    <a:cubicBezTo>
                      <a:pt x="627221" y="617696"/>
                      <a:pt x="620554" y="619601"/>
                      <a:pt x="614839" y="623411"/>
                    </a:cubicBezTo>
                    <a:cubicBezTo>
                      <a:pt x="614839" y="623411"/>
                      <a:pt x="614839" y="623411"/>
                      <a:pt x="613886" y="623411"/>
                    </a:cubicBezTo>
                    <a:cubicBezTo>
                      <a:pt x="611981" y="623411"/>
                      <a:pt x="610076" y="623411"/>
                      <a:pt x="609124" y="624364"/>
                    </a:cubicBezTo>
                    <a:cubicBezTo>
                      <a:pt x="609124" y="624364"/>
                      <a:pt x="609124" y="624364"/>
                      <a:pt x="609124" y="624364"/>
                    </a:cubicBezTo>
                    <a:cubicBezTo>
                      <a:pt x="609124" y="617696"/>
                      <a:pt x="603409" y="611981"/>
                      <a:pt x="596741" y="611981"/>
                    </a:cubicBezTo>
                    <a:cubicBezTo>
                      <a:pt x="592931" y="611981"/>
                      <a:pt x="589121" y="613886"/>
                      <a:pt x="587216" y="617696"/>
                    </a:cubicBezTo>
                    <a:cubicBezTo>
                      <a:pt x="582454" y="610076"/>
                      <a:pt x="573881" y="605314"/>
                      <a:pt x="564356" y="605314"/>
                    </a:cubicBezTo>
                    <a:cubicBezTo>
                      <a:pt x="554831" y="605314"/>
                      <a:pt x="547211" y="610076"/>
                      <a:pt x="542449" y="616744"/>
                    </a:cubicBezTo>
                    <a:cubicBezTo>
                      <a:pt x="541496" y="616744"/>
                      <a:pt x="541496" y="616744"/>
                      <a:pt x="540544" y="615791"/>
                    </a:cubicBezTo>
                    <a:cubicBezTo>
                      <a:pt x="539591" y="613886"/>
                      <a:pt x="537686" y="611029"/>
                      <a:pt x="536734" y="609124"/>
                    </a:cubicBezTo>
                    <a:cubicBezTo>
                      <a:pt x="546259" y="608171"/>
                      <a:pt x="553879" y="602456"/>
                      <a:pt x="556736" y="593884"/>
                    </a:cubicBezTo>
                    <a:cubicBezTo>
                      <a:pt x="560546" y="590074"/>
                      <a:pt x="563404" y="585311"/>
                      <a:pt x="563404" y="579596"/>
                    </a:cubicBezTo>
                    <a:cubicBezTo>
                      <a:pt x="563404" y="578644"/>
                      <a:pt x="563404" y="576739"/>
                      <a:pt x="563404" y="575786"/>
                    </a:cubicBezTo>
                    <a:cubicBezTo>
                      <a:pt x="563404" y="575786"/>
                      <a:pt x="564356" y="575786"/>
                      <a:pt x="564356" y="575786"/>
                    </a:cubicBezTo>
                    <a:cubicBezTo>
                      <a:pt x="567214" y="575786"/>
                      <a:pt x="570071" y="574834"/>
                      <a:pt x="572929" y="573881"/>
                    </a:cubicBezTo>
                    <a:cubicBezTo>
                      <a:pt x="571024" y="577691"/>
                      <a:pt x="569119" y="581501"/>
                      <a:pt x="569119" y="585311"/>
                    </a:cubicBezTo>
                    <a:cubicBezTo>
                      <a:pt x="569119" y="597694"/>
                      <a:pt x="578644" y="607219"/>
                      <a:pt x="591026" y="607219"/>
                    </a:cubicBezTo>
                    <a:cubicBezTo>
                      <a:pt x="603409" y="607219"/>
                      <a:pt x="612934" y="597694"/>
                      <a:pt x="612934" y="585311"/>
                    </a:cubicBezTo>
                    <a:cubicBezTo>
                      <a:pt x="612934" y="572929"/>
                      <a:pt x="603409" y="563404"/>
                      <a:pt x="591026" y="563404"/>
                    </a:cubicBezTo>
                    <a:cubicBezTo>
                      <a:pt x="586264" y="563404"/>
                      <a:pt x="582454" y="564356"/>
                      <a:pt x="579596" y="567214"/>
                    </a:cubicBezTo>
                    <a:cubicBezTo>
                      <a:pt x="580549" y="564356"/>
                      <a:pt x="581501" y="561499"/>
                      <a:pt x="581501" y="558641"/>
                    </a:cubicBezTo>
                    <a:cubicBezTo>
                      <a:pt x="581501" y="549116"/>
                      <a:pt x="573881" y="541496"/>
                      <a:pt x="564356" y="541496"/>
                    </a:cubicBezTo>
                    <a:cubicBezTo>
                      <a:pt x="554831" y="541496"/>
                      <a:pt x="547211" y="549116"/>
                      <a:pt x="547211" y="558641"/>
                    </a:cubicBezTo>
                    <a:cubicBezTo>
                      <a:pt x="547211" y="559594"/>
                      <a:pt x="547211" y="559594"/>
                      <a:pt x="547211" y="560546"/>
                    </a:cubicBezTo>
                    <a:cubicBezTo>
                      <a:pt x="546259" y="560546"/>
                      <a:pt x="545306" y="560546"/>
                      <a:pt x="543401" y="560546"/>
                    </a:cubicBezTo>
                    <a:cubicBezTo>
                      <a:pt x="537686" y="560546"/>
                      <a:pt x="531971" y="563404"/>
                      <a:pt x="528161" y="567214"/>
                    </a:cubicBezTo>
                    <a:cubicBezTo>
                      <a:pt x="527209" y="567214"/>
                      <a:pt x="527209" y="568166"/>
                      <a:pt x="526256" y="568166"/>
                    </a:cubicBezTo>
                    <a:cubicBezTo>
                      <a:pt x="526256" y="567214"/>
                      <a:pt x="526256" y="567214"/>
                      <a:pt x="526256" y="566261"/>
                    </a:cubicBezTo>
                    <a:cubicBezTo>
                      <a:pt x="526256" y="556736"/>
                      <a:pt x="518636" y="548164"/>
                      <a:pt x="508159" y="548164"/>
                    </a:cubicBezTo>
                    <a:cubicBezTo>
                      <a:pt x="498634" y="548164"/>
                      <a:pt x="490061" y="555784"/>
                      <a:pt x="490061" y="566261"/>
                    </a:cubicBezTo>
                    <a:cubicBezTo>
                      <a:pt x="490061" y="575786"/>
                      <a:pt x="497681" y="584359"/>
                      <a:pt x="508159" y="584359"/>
                    </a:cubicBezTo>
                    <a:cubicBezTo>
                      <a:pt x="510064" y="584359"/>
                      <a:pt x="511969" y="584359"/>
                      <a:pt x="513874" y="583406"/>
                    </a:cubicBezTo>
                    <a:cubicBezTo>
                      <a:pt x="513874" y="585311"/>
                      <a:pt x="512921" y="587216"/>
                      <a:pt x="512921" y="588169"/>
                    </a:cubicBezTo>
                    <a:cubicBezTo>
                      <a:pt x="512921" y="591979"/>
                      <a:pt x="513874" y="595789"/>
                      <a:pt x="515779" y="599599"/>
                    </a:cubicBezTo>
                    <a:cubicBezTo>
                      <a:pt x="514826" y="599599"/>
                      <a:pt x="512921" y="599599"/>
                      <a:pt x="511969" y="599599"/>
                    </a:cubicBezTo>
                    <a:cubicBezTo>
                      <a:pt x="510064" y="599599"/>
                      <a:pt x="508159" y="599599"/>
                      <a:pt x="506254" y="600551"/>
                    </a:cubicBezTo>
                    <a:cubicBezTo>
                      <a:pt x="504349" y="596741"/>
                      <a:pt x="501491" y="594836"/>
                      <a:pt x="497681" y="594836"/>
                    </a:cubicBezTo>
                    <a:cubicBezTo>
                      <a:pt x="492919" y="594836"/>
                      <a:pt x="490061" y="597694"/>
                      <a:pt x="489109" y="602456"/>
                    </a:cubicBezTo>
                    <a:cubicBezTo>
                      <a:pt x="488156" y="602456"/>
                      <a:pt x="487204" y="602456"/>
                      <a:pt x="487204" y="603409"/>
                    </a:cubicBezTo>
                    <a:cubicBezTo>
                      <a:pt x="483394" y="601504"/>
                      <a:pt x="479584" y="599599"/>
                      <a:pt x="475774" y="599599"/>
                    </a:cubicBezTo>
                    <a:cubicBezTo>
                      <a:pt x="464344" y="599599"/>
                      <a:pt x="454819" y="609124"/>
                      <a:pt x="454819" y="620554"/>
                    </a:cubicBezTo>
                    <a:cubicBezTo>
                      <a:pt x="454819" y="622459"/>
                      <a:pt x="454819" y="624364"/>
                      <a:pt x="455771" y="625316"/>
                    </a:cubicBezTo>
                    <a:cubicBezTo>
                      <a:pt x="452914" y="626269"/>
                      <a:pt x="450056" y="630079"/>
                      <a:pt x="450056" y="633889"/>
                    </a:cubicBezTo>
                    <a:cubicBezTo>
                      <a:pt x="450056" y="638651"/>
                      <a:pt x="453866" y="643414"/>
                      <a:pt x="459581" y="643414"/>
                    </a:cubicBezTo>
                    <a:cubicBezTo>
                      <a:pt x="459581" y="656749"/>
                      <a:pt x="471011" y="668179"/>
                      <a:pt x="484346" y="668179"/>
                    </a:cubicBezTo>
                    <a:cubicBezTo>
                      <a:pt x="490061" y="668179"/>
                      <a:pt x="494824" y="666274"/>
                      <a:pt x="498634" y="663416"/>
                    </a:cubicBezTo>
                    <a:cubicBezTo>
                      <a:pt x="500539" y="663416"/>
                      <a:pt x="501491" y="663416"/>
                      <a:pt x="503396" y="662464"/>
                    </a:cubicBezTo>
                    <a:cubicBezTo>
                      <a:pt x="505301" y="663416"/>
                      <a:pt x="508159" y="663416"/>
                      <a:pt x="511016" y="664369"/>
                    </a:cubicBezTo>
                    <a:cubicBezTo>
                      <a:pt x="511016" y="665321"/>
                      <a:pt x="511969" y="666274"/>
                      <a:pt x="511969" y="667226"/>
                    </a:cubicBezTo>
                    <a:cubicBezTo>
                      <a:pt x="511969" y="667226"/>
                      <a:pt x="511969" y="668179"/>
                      <a:pt x="511969" y="668179"/>
                    </a:cubicBezTo>
                    <a:cubicBezTo>
                      <a:pt x="511969" y="671989"/>
                      <a:pt x="512921" y="674846"/>
                      <a:pt x="513874" y="677704"/>
                    </a:cubicBezTo>
                    <a:cubicBezTo>
                      <a:pt x="512921" y="677704"/>
                      <a:pt x="512921" y="677704"/>
                      <a:pt x="511969" y="678656"/>
                    </a:cubicBezTo>
                    <a:cubicBezTo>
                      <a:pt x="509111" y="673894"/>
                      <a:pt x="504349" y="671036"/>
                      <a:pt x="498634" y="671036"/>
                    </a:cubicBezTo>
                    <a:cubicBezTo>
                      <a:pt x="493871" y="671036"/>
                      <a:pt x="490061" y="672941"/>
                      <a:pt x="487204" y="675799"/>
                    </a:cubicBezTo>
                    <a:cubicBezTo>
                      <a:pt x="485299" y="674846"/>
                      <a:pt x="483394" y="673894"/>
                      <a:pt x="481489" y="673894"/>
                    </a:cubicBezTo>
                    <a:cubicBezTo>
                      <a:pt x="474821" y="673894"/>
                      <a:pt x="470059" y="678656"/>
                      <a:pt x="470059" y="685324"/>
                    </a:cubicBezTo>
                    <a:cubicBezTo>
                      <a:pt x="470059" y="691991"/>
                      <a:pt x="474821" y="696754"/>
                      <a:pt x="481489" y="696754"/>
                    </a:cubicBezTo>
                    <a:cubicBezTo>
                      <a:pt x="482441" y="696754"/>
                      <a:pt x="483394" y="696754"/>
                      <a:pt x="484346" y="695801"/>
                    </a:cubicBezTo>
                    <a:cubicBezTo>
                      <a:pt x="485299" y="697706"/>
                      <a:pt x="486251" y="698659"/>
                      <a:pt x="488156" y="700564"/>
                    </a:cubicBezTo>
                    <a:cubicBezTo>
                      <a:pt x="487204" y="704374"/>
                      <a:pt x="486251" y="708184"/>
                      <a:pt x="486251" y="712946"/>
                    </a:cubicBezTo>
                    <a:cubicBezTo>
                      <a:pt x="486251" y="713899"/>
                      <a:pt x="486251" y="714851"/>
                      <a:pt x="486251" y="715804"/>
                    </a:cubicBezTo>
                    <a:cubicBezTo>
                      <a:pt x="480536" y="707231"/>
                      <a:pt x="471011" y="701516"/>
                      <a:pt x="460534" y="701516"/>
                    </a:cubicBezTo>
                    <a:cubicBezTo>
                      <a:pt x="450056" y="701516"/>
                      <a:pt x="441484" y="706279"/>
                      <a:pt x="435769" y="714851"/>
                    </a:cubicBezTo>
                    <a:cubicBezTo>
                      <a:pt x="432911" y="712946"/>
                      <a:pt x="429101" y="711994"/>
                      <a:pt x="426244" y="711041"/>
                    </a:cubicBezTo>
                    <a:cubicBezTo>
                      <a:pt x="429101" y="708184"/>
                      <a:pt x="431006" y="705326"/>
                      <a:pt x="432911" y="701516"/>
                    </a:cubicBezTo>
                    <a:cubicBezTo>
                      <a:pt x="435769" y="698659"/>
                      <a:pt x="437674" y="695801"/>
                      <a:pt x="437674" y="691039"/>
                    </a:cubicBezTo>
                    <a:cubicBezTo>
                      <a:pt x="437674" y="686276"/>
                      <a:pt x="434816" y="681514"/>
                      <a:pt x="431006" y="679609"/>
                    </a:cubicBezTo>
                    <a:cubicBezTo>
                      <a:pt x="426244" y="672941"/>
                      <a:pt x="418624" y="668179"/>
                      <a:pt x="410051" y="668179"/>
                    </a:cubicBezTo>
                    <a:cubicBezTo>
                      <a:pt x="408146" y="668179"/>
                      <a:pt x="406241" y="668179"/>
                      <a:pt x="404336" y="669131"/>
                    </a:cubicBezTo>
                    <a:cubicBezTo>
                      <a:pt x="403384" y="666274"/>
                      <a:pt x="402431" y="663416"/>
                      <a:pt x="401479" y="661511"/>
                    </a:cubicBezTo>
                    <a:cubicBezTo>
                      <a:pt x="404336" y="657701"/>
                      <a:pt x="407194" y="653891"/>
                      <a:pt x="409099" y="650081"/>
                    </a:cubicBezTo>
                    <a:cubicBezTo>
                      <a:pt x="410051" y="649129"/>
                      <a:pt x="410051" y="648176"/>
                      <a:pt x="410051" y="647224"/>
                    </a:cubicBezTo>
                    <a:cubicBezTo>
                      <a:pt x="410051" y="647224"/>
                      <a:pt x="410051" y="647224"/>
                      <a:pt x="410051" y="647224"/>
                    </a:cubicBezTo>
                    <a:cubicBezTo>
                      <a:pt x="411004" y="643414"/>
                      <a:pt x="411956" y="638651"/>
                      <a:pt x="411956" y="634841"/>
                    </a:cubicBezTo>
                    <a:cubicBezTo>
                      <a:pt x="411956" y="611981"/>
                      <a:pt x="392906" y="592931"/>
                      <a:pt x="370046" y="592931"/>
                    </a:cubicBezTo>
                    <a:cubicBezTo>
                      <a:pt x="366236" y="592931"/>
                      <a:pt x="363379" y="593884"/>
                      <a:pt x="360521" y="593884"/>
                    </a:cubicBezTo>
                    <a:cubicBezTo>
                      <a:pt x="361474" y="591979"/>
                      <a:pt x="362426" y="590074"/>
                      <a:pt x="362426" y="588169"/>
                    </a:cubicBezTo>
                    <a:cubicBezTo>
                      <a:pt x="362426" y="581501"/>
                      <a:pt x="356711" y="576739"/>
                      <a:pt x="350996" y="576739"/>
                    </a:cubicBezTo>
                    <a:cubicBezTo>
                      <a:pt x="347186" y="576739"/>
                      <a:pt x="344329" y="578644"/>
                      <a:pt x="342424" y="580549"/>
                    </a:cubicBezTo>
                    <a:cubicBezTo>
                      <a:pt x="340519" y="579596"/>
                      <a:pt x="338614" y="578644"/>
                      <a:pt x="335756" y="578644"/>
                    </a:cubicBezTo>
                    <a:cubicBezTo>
                      <a:pt x="329089" y="578644"/>
                      <a:pt x="324326" y="583406"/>
                      <a:pt x="324326" y="590074"/>
                    </a:cubicBezTo>
                    <a:cubicBezTo>
                      <a:pt x="324326" y="596741"/>
                      <a:pt x="329089" y="601504"/>
                      <a:pt x="335756" y="601504"/>
                    </a:cubicBezTo>
                    <a:cubicBezTo>
                      <a:pt x="339566" y="601504"/>
                      <a:pt x="342424" y="599599"/>
                      <a:pt x="344329" y="597694"/>
                    </a:cubicBezTo>
                    <a:cubicBezTo>
                      <a:pt x="345281" y="598646"/>
                      <a:pt x="346234" y="598646"/>
                      <a:pt x="348139" y="599599"/>
                    </a:cubicBezTo>
                    <a:cubicBezTo>
                      <a:pt x="331946" y="597694"/>
                      <a:pt x="324326" y="611029"/>
                      <a:pt x="324326" y="625316"/>
                    </a:cubicBezTo>
                    <a:cubicBezTo>
                      <a:pt x="324326" y="626269"/>
                      <a:pt x="324326" y="626269"/>
                      <a:pt x="324326" y="627221"/>
                    </a:cubicBezTo>
                    <a:cubicBezTo>
                      <a:pt x="321469" y="629126"/>
                      <a:pt x="318611" y="631031"/>
                      <a:pt x="316706" y="633889"/>
                    </a:cubicBezTo>
                    <a:cubicBezTo>
                      <a:pt x="316706" y="633889"/>
                      <a:pt x="316706" y="633889"/>
                      <a:pt x="316706" y="633889"/>
                    </a:cubicBezTo>
                    <a:cubicBezTo>
                      <a:pt x="316706" y="632936"/>
                      <a:pt x="316706" y="631984"/>
                      <a:pt x="316706" y="631031"/>
                    </a:cubicBezTo>
                    <a:cubicBezTo>
                      <a:pt x="316706" y="625316"/>
                      <a:pt x="313849" y="620554"/>
                      <a:pt x="310039" y="616744"/>
                    </a:cubicBezTo>
                    <a:cubicBezTo>
                      <a:pt x="310039" y="609124"/>
                      <a:pt x="303371" y="602456"/>
                      <a:pt x="294799" y="602456"/>
                    </a:cubicBezTo>
                    <a:cubicBezTo>
                      <a:pt x="286226" y="602456"/>
                      <a:pt x="279559" y="609124"/>
                      <a:pt x="279559" y="617696"/>
                    </a:cubicBezTo>
                    <a:cubicBezTo>
                      <a:pt x="279559" y="619601"/>
                      <a:pt x="280511" y="621506"/>
                      <a:pt x="280511" y="623411"/>
                    </a:cubicBezTo>
                    <a:cubicBezTo>
                      <a:pt x="279559" y="625316"/>
                      <a:pt x="278606" y="628174"/>
                      <a:pt x="278606" y="631031"/>
                    </a:cubicBezTo>
                    <a:cubicBezTo>
                      <a:pt x="278606" y="641509"/>
                      <a:pt x="287179" y="650081"/>
                      <a:pt x="297656" y="650081"/>
                    </a:cubicBezTo>
                    <a:cubicBezTo>
                      <a:pt x="302419" y="650081"/>
                      <a:pt x="306229" y="648176"/>
                      <a:pt x="310039" y="645319"/>
                    </a:cubicBezTo>
                    <a:cubicBezTo>
                      <a:pt x="310039" y="645319"/>
                      <a:pt x="310039" y="645319"/>
                      <a:pt x="310991" y="645319"/>
                    </a:cubicBezTo>
                    <a:cubicBezTo>
                      <a:pt x="310039" y="648176"/>
                      <a:pt x="310039" y="650081"/>
                      <a:pt x="310039" y="652939"/>
                    </a:cubicBezTo>
                    <a:cubicBezTo>
                      <a:pt x="310039" y="657701"/>
                      <a:pt x="310991" y="662464"/>
                      <a:pt x="312896" y="666274"/>
                    </a:cubicBezTo>
                    <a:cubicBezTo>
                      <a:pt x="310991" y="666274"/>
                      <a:pt x="310039" y="665321"/>
                      <a:pt x="308134" y="665321"/>
                    </a:cubicBezTo>
                    <a:cubicBezTo>
                      <a:pt x="306229" y="665321"/>
                      <a:pt x="305276" y="665321"/>
                      <a:pt x="304324" y="666274"/>
                    </a:cubicBezTo>
                    <a:cubicBezTo>
                      <a:pt x="304324" y="665321"/>
                      <a:pt x="304324" y="665321"/>
                      <a:pt x="304324" y="664369"/>
                    </a:cubicBezTo>
                    <a:cubicBezTo>
                      <a:pt x="304324" y="656749"/>
                      <a:pt x="297656" y="650081"/>
                      <a:pt x="290036" y="650081"/>
                    </a:cubicBezTo>
                    <a:cubicBezTo>
                      <a:pt x="282416" y="650081"/>
                      <a:pt x="275749" y="656749"/>
                      <a:pt x="275749" y="664369"/>
                    </a:cubicBezTo>
                    <a:cubicBezTo>
                      <a:pt x="275749" y="671989"/>
                      <a:pt x="282416" y="678656"/>
                      <a:pt x="290036" y="678656"/>
                    </a:cubicBezTo>
                    <a:cubicBezTo>
                      <a:pt x="289084" y="680561"/>
                      <a:pt x="289084" y="683419"/>
                      <a:pt x="289084" y="685324"/>
                    </a:cubicBezTo>
                    <a:cubicBezTo>
                      <a:pt x="289084" y="696754"/>
                      <a:pt x="297656" y="705326"/>
                      <a:pt x="309086" y="705326"/>
                    </a:cubicBezTo>
                    <a:cubicBezTo>
                      <a:pt x="320516" y="705326"/>
                      <a:pt x="329089" y="696754"/>
                      <a:pt x="329089" y="685324"/>
                    </a:cubicBezTo>
                    <a:cubicBezTo>
                      <a:pt x="329089" y="683419"/>
                      <a:pt x="329089" y="681514"/>
                      <a:pt x="328136" y="679609"/>
                    </a:cubicBezTo>
                    <a:cubicBezTo>
                      <a:pt x="330994" y="680561"/>
                      <a:pt x="333851" y="681514"/>
                      <a:pt x="337661" y="682466"/>
                    </a:cubicBezTo>
                    <a:cubicBezTo>
                      <a:pt x="338614" y="685324"/>
                      <a:pt x="340519" y="688181"/>
                      <a:pt x="342424" y="690086"/>
                    </a:cubicBezTo>
                    <a:cubicBezTo>
                      <a:pt x="342424" y="692944"/>
                      <a:pt x="343376" y="695801"/>
                      <a:pt x="345281" y="698659"/>
                    </a:cubicBezTo>
                    <a:cubicBezTo>
                      <a:pt x="345281" y="698659"/>
                      <a:pt x="344329" y="698659"/>
                      <a:pt x="344329" y="698659"/>
                    </a:cubicBezTo>
                    <a:cubicBezTo>
                      <a:pt x="335756" y="698659"/>
                      <a:pt x="329089" y="705326"/>
                      <a:pt x="329089" y="713899"/>
                    </a:cubicBezTo>
                    <a:cubicBezTo>
                      <a:pt x="329089" y="714851"/>
                      <a:pt x="329089" y="714851"/>
                      <a:pt x="329089" y="715804"/>
                    </a:cubicBezTo>
                    <a:cubicBezTo>
                      <a:pt x="328136" y="716756"/>
                      <a:pt x="328136" y="717709"/>
                      <a:pt x="327184" y="719614"/>
                    </a:cubicBezTo>
                    <a:cubicBezTo>
                      <a:pt x="324326" y="716756"/>
                      <a:pt x="320516" y="715804"/>
                      <a:pt x="316706" y="715804"/>
                    </a:cubicBezTo>
                    <a:cubicBezTo>
                      <a:pt x="308134" y="715804"/>
                      <a:pt x="300514" y="722471"/>
                      <a:pt x="300514" y="731996"/>
                    </a:cubicBezTo>
                    <a:cubicBezTo>
                      <a:pt x="300514" y="740569"/>
                      <a:pt x="307181" y="748189"/>
                      <a:pt x="316706" y="748189"/>
                    </a:cubicBezTo>
                    <a:cubicBezTo>
                      <a:pt x="321469" y="748189"/>
                      <a:pt x="325279" y="746284"/>
                      <a:pt x="328136" y="743426"/>
                    </a:cubicBezTo>
                    <a:cubicBezTo>
                      <a:pt x="330041" y="746284"/>
                      <a:pt x="331946" y="748189"/>
                      <a:pt x="333851" y="750094"/>
                    </a:cubicBezTo>
                    <a:cubicBezTo>
                      <a:pt x="333851" y="750094"/>
                      <a:pt x="333851" y="750094"/>
                      <a:pt x="333851" y="750094"/>
                    </a:cubicBezTo>
                    <a:cubicBezTo>
                      <a:pt x="328136" y="750094"/>
                      <a:pt x="324326" y="754856"/>
                      <a:pt x="324326" y="759619"/>
                    </a:cubicBezTo>
                    <a:cubicBezTo>
                      <a:pt x="324326" y="764381"/>
                      <a:pt x="329089" y="769144"/>
                      <a:pt x="333851" y="769144"/>
                    </a:cubicBezTo>
                    <a:cubicBezTo>
                      <a:pt x="336709" y="769144"/>
                      <a:pt x="339566" y="767239"/>
                      <a:pt x="341471" y="765334"/>
                    </a:cubicBezTo>
                    <a:cubicBezTo>
                      <a:pt x="340519" y="768191"/>
                      <a:pt x="339566" y="772001"/>
                      <a:pt x="339566" y="774859"/>
                    </a:cubicBezTo>
                    <a:cubicBezTo>
                      <a:pt x="339566" y="779621"/>
                      <a:pt x="340519" y="783431"/>
                      <a:pt x="342424" y="788194"/>
                    </a:cubicBezTo>
                    <a:cubicBezTo>
                      <a:pt x="338614" y="789146"/>
                      <a:pt x="334804" y="792004"/>
                      <a:pt x="332899" y="794861"/>
                    </a:cubicBezTo>
                    <a:cubicBezTo>
                      <a:pt x="332899" y="793909"/>
                      <a:pt x="332899" y="793909"/>
                      <a:pt x="332899" y="792956"/>
                    </a:cubicBezTo>
                    <a:cubicBezTo>
                      <a:pt x="332899" y="782479"/>
                      <a:pt x="324326" y="772954"/>
                      <a:pt x="313849" y="772954"/>
                    </a:cubicBezTo>
                    <a:cubicBezTo>
                      <a:pt x="312896" y="772001"/>
                      <a:pt x="310991" y="772001"/>
                      <a:pt x="309086" y="772001"/>
                    </a:cubicBezTo>
                    <a:cubicBezTo>
                      <a:pt x="305276" y="772001"/>
                      <a:pt x="301466" y="774859"/>
                      <a:pt x="299561" y="777716"/>
                    </a:cubicBezTo>
                    <a:cubicBezTo>
                      <a:pt x="294799" y="781526"/>
                      <a:pt x="292894" y="787241"/>
                      <a:pt x="292894" y="792956"/>
                    </a:cubicBezTo>
                    <a:cubicBezTo>
                      <a:pt x="292894" y="804386"/>
                      <a:pt x="302419" y="812959"/>
                      <a:pt x="312896" y="812959"/>
                    </a:cubicBezTo>
                    <a:cubicBezTo>
                      <a:pt x="318611" y="812959"/>
                      <a:pt x="324326" y="810101"/>
                      <a:pt x="328136" y="806291"/>
                    </a:cubicBezTo>
                    <a:cubicBezTo>
                      <a:pt x="328136" y="807244"/>
                      <a:pt x="328136" y="807244"/>
                      <a:pt x="328136" y="808196"/>
                    </a:cubicBezTo>
                    <a:cubicBezTo>
                      <a:pt x="328136" y="812959"/>
                      <a:pt x="330041" y="816769"/>
                      <a:pt x="331946" y="820579"/>
                    </a:cubicBezTo>
                    <a:cubicBezTo>
                      <a:pt x="321469" y="824389"/>
                      <a:pt x="314801" y="832961"/>
                      <a:pt x="314801" y="844391"/>
                    </a:cubicBezTo>
                    <a:cubicBezTo>
                      <a:pt x="314801" y="858679"/>
                      <a:pt x="326231" y="870109"/>
                      <a:pt x="340519" y="870109"/>
                    </a:cubicBezTo>
                    <a:cubicBezTo>
                      <a:pt x="344329" y="870109"/>
                      <a:pt x="348139" y="869156"/>
                      <a:pt x="351949" y="867251"/>
                    </a:cubicBezTo>
                    <a:cubicBezTo>
                      <a:pt x="352901" y="867251"/>
                      <a:pt x="352901" y="867251"/>
                      <a:pt x="353854" y="867251"/>
                    </a:cubicBezTo>
                    <a:cubicBezTo>
                      <a:pt x="353854" y="868204"/>
                      <a:pt x="352901" y="870109"/>
                      <a:pt x="352901" y="871061"/>
                    </a:cubicBezTo>
                    <a:cubicBezTo>
                      <a:pt x="352901" y="878681"/>
                      <a:pt x="359569" y="885349"/>
                      <a:pt x="367189" y="885349"/>
                    </a:cubicBezTo>
                    <a:cubicBezTo>
                      <a:pt x="367189" y="885349"/>
                      <a:pt x="368141" y="885349"/>
                      <a:pt x="368141" y="885349"/>
                    </a:cubicBezTo>
                    <a:cubicBezTo>
                      <a:pt x="369094" y="887254"/>
                      <a:pt x="370046" y="888206"/>
                      <a:pt x="371951" y="890111"/>
                    </a:cubicBezTo>
                    <a:cubicBezTo>
                      <a:pt x="371951" y="891064"/>
                      <a:pt x="372904" y="891064"/>
                      <a:pt x="372904" y="892016"/>
                    </a:cubicBezTo>
                    <a:cubicBezTo>
                      <a:pt x="370999" y="891064"/>
                      <a:pt x="369094" y="890111"/>
                      <a:pt x="367189" y="890111"/>
                    </a:cubicBezTo>
                    <a:cubicBezTo>
                      <a:pt x="362426" y="890111"/>
                      <a:pt x="358616" y="893921"/>
                      <a:pt x="358616" y="898684"/>
                    </a:cubicBezTo>
                    <a:cubicBezTo>
                      <a:pt x="358616" y="903446"/>
                      <a:pt x="362426" y="907256"/>
                      <a:pt x="367189" y="907256"/>
                    </a:cubicBezTo>
                    <a:cubicBezTo>
                      <a:pt x="371951" y="907256"/>
                      <a:pt x="375761" y="903446"/>
                      <a:pt x="375761" y="898684"/>
                    </a:cubicBezTo>
                    <a:cubicBezTo>
                      <a:pt x="375761" y="896779"/>
                      <a:pt x="374809" y="894874"/>
                      <a:pt x="373856" y="892969"/>
                    </a:cubicBezTo>
                    <a:cubicBezTo>
                      <a:pt x="376714" y="896779"/>
                      <a:pt x="381476" y="899636"/>
                      <a:pt x="386239" y="899636"/>
                    </a:cubicBezTo>
                    <a:cubicBezTo>
                      <a:pt x="386239" y="899636"/>
                      <a:pt x="386239" y="899636"/>
                      <a:pt x="386239" y="899636"/>
                    </a:cubicBezTo>
                    <a:cubicBezTo>
                      <a:pt x="391954" y="912019"/>
                      <a:pt x="404336" y="920591"/>
                      <a:pt x="417671" y="920591"/>
                    </a:cubicBezTo>
                    <a:cubicBezTo>
                      <a:pt x="417671" y="920591"/>
                      <a:pt x="417671" y="920591"/>
                      <a:pt x="417671" y="920591"/>
                    </a:cubicBezTo>
                    <a:cubicBezTo>
                      <a:pt x="418624" y="923449"/>
                      <a:pt x="421481" y="926306"/>
                      <a:pt x="425291" y="926306"/>
                    </a:cubicBezTo>
                    <a:cubicBezTo>
                      <a:pt x="428149" y="926306"/>
                      <a:pt x="430054" y="925354"/>
                      <a:pt x="431006" y="923449"/>
                    </a:cubicBezTo>
                    <a:cubicBezTo>
                      <a:pt x="432911" y="924401"/>
                      <a:pt x="433864" y="924401"/>
                      <a:pt x="435769" y="924401"/>
                    </a:cubicBezTo>
                    <a:cubicBezTo>
                      <a:pt x="440531" y="924401"/>
                      <a:pt x="445294" y="921544"/>
                      <a:pt x="447199" y="916781"/>
                    </a:cubicBezTo>
                    <a:cubicBezTo>
                      <a:pt x="448151" y="916781"/>
                      <a:pt x="449104" y="917734"/>
                      <a:pt x="450056" y="917734"/>
                    </a:cubicBezTo>
                    <a:cubicBezTo>
                      <a:pt x="450056" y="918686"/>
                      <a:pt x="449104" y="920591"/>
                      <a:pt x="449104" y="922496"/>
                    </a:cubicBezTo>
                    <a:cubicBezTo>
                      <a:pt x="449104" y="928211"/>
                      <a:pt x="451009" y="932974"/>
                      <a:pt x="454819" y="935831"/>
                    </a:cubicBezTo>
                    <a:cubicBezTo>
                      <a:pt x="454819" y="935831"/>
                      <a:pt x="454819" y="935831"/>
                      <a:pt x="454819" y="935831"/>
                    </a:cubicBezTo>
                    <a:cubicBezTo>
                      <a:pt x="452914" y="935831"/>
                      <a:pt x="451009" y="935831"/>
                      <a:pt x="449104" y="936784"/>
                    </a:cubicBezTo>
                    <a:cubicBezTo>
                      <a:pt x="446246" y="935831"/>
                      <a:pt x="442436" y="934879"/>
                      <a:pt x="438626" y="934879"/>
                    </a:cubicBezTo>
                    <a:cubicBezTo>
                      <a:pt x="430054" y="934879"/>
                      <a:pt x="422434" y="937736"/>
                      <a:pt x="415766" y="942499"/>
                    </a:cubicBezTo>
                    <a:cubicBezTo>
                      <a:pt x="415766" y="941546"/>
                      <a:pt x="415766" y="940594"/>
                      <a:pt x="415766" y="939641"/>
                    </a:cubicBezTo>
                    <a:cubicBezTo>
                      <a:pt x="415766" y="932021"/>
                      <a:pt x="410051" y="925354"/>
                      <a:pt x="401479" y="925354"/>
                    </a:cubicBezTo>
                    <a:cubicBezTo>
                      <a:pt x="393859" y="925354"/>
                      <a:pt x="387191" y="932021"/>
                      <a:pt x="387191" y="939641"/>
                    </a:cubicBezTo>
                    <a:cubicBezTo>
                      <a:pt x="387191" y="947261"/>
                      <a:pt x="393859" y="953929"/>
                      <a:pt x="401479" y="953929"/>
                    </a:cubicBezTo>
                    <a:cubicBezTo>
                      <a:pt x="402431" y="953929"/>
                      <a:pt x="403384" y="953929"/>
                      <a:pt x="405289" y="953929"/>
                    </a:cubicBezTo>
                    <a:cubicBezTo>
                      <a:pt x="401479" y="959644"/>
                      <a:pt x="399574" y="966311"/>
                      <a:pt x="399574" y="973931"/>
                    </a:cubicBezTo>
                    <a:cubicBezTo>
                      <a:pt x="397669" y="973931"/>
                      <a:pt x="395764" y="972979"/>
                      <a:pt x="392906" y="972979"/>
                    </a:cubicBezTo>
                    <a:cubicBezTo>
                      <a:pt x="374809" y="972979"/>
                      <a:pt x="359569" y="988219"/>
                      <a:pt x="359569" y="1006316"/>
                    </a:cubicBezTo>
                    <a:cubicBezTo>
                      <a:pt x="359569" y="1024414"/>
                      <a:pt x="374809" y="1039654"/>
                      <a:pt x="392906" y="1039654"/>
                    </a:cubicBezTo>
                    <a:cubicBezTo>
                      <a:pt x="396716" y="1039654"/>
                      <a:pt x="400526" y="1038701"/>
                      <a:pt x="404336" y="1037749"/>
                    </a:cubicBezTo>
                    <a:cubicBezTo>
                      <a:pt x="405289" y="1038701"/>
                      <a:pt x="407194" y="1038701"/>
                      <a:pt x="409099" y="1038701"/>
                    </a:cubicBezTo>
                    <a:cubicBezTo>
                      <a:pt x="414814" y="1038701"/>
                      <a:pt x="418624" y="1034891"/>
                      <a:pt x="418624" y="1029176"/>
                    </a:cubicBezTo>
                    <a:cubicBezTo>
                      <a:pt x="418624" y="1029176"/>
                      <a:pt x="418624" y="1028224"/>
                      <a:pt x="418624" y="1028224"/>
                    </a:cubicBezTo>
                    <a:cubicBezTo>
                      <a:pt x="419576" y="1027271"/>
                      <a:pt x="420529" y="1025366"/>
                      <a:pt x="421481" y="1024414"/>
                    </a:cubicBezTo>
                    <a:cubicBezTo>
                      <a:pt x="422434" y="1025366"/>
                      <a:pt x="423386" y="1025366"/>
                      <a:pt x="424339" y="1026319"/>
                    </a:cubicBezTo>
                    <a:cubicBezTo>
                      <a:pt x="426244" y="1030129"/>
                      <a:pt x="429101" y="1033939"/>
                      <a:pt x="432911" y="1035844"/>
                    </a:cubicBezTo>
                    <a:cubicBezTo>
                      <a:pt x="431006" y="1036796"/>
                      <a:pt x="429101" y="1039654"/>
                      <a:pt x="429101" y="1042511"/>
                    </a:cubicBezTo>
                    <a:cubicBezTo>
                      <a:pt x="429101" y="1046321"/>
                      <a:pt x="431959" y="1050131"/>
                      <a:pt x="436721" y="1050131"/>
                    </a:cubicBezTo>
                    <a:cubicBezTo>
                      <a:pt x="440531" y="1050131"/>
                      <a:pt x="444341" y="1047274"/>
                      <a:pt x="444341" y="1042511"/>
                    </a:cubicBezTo>
                    <a:cubicBezTo>
                      <a:pt x="444341" y="1040606"/>
                      <a:pt x="443389" y="1038701"/>
                      <a:pt x="442436" y="1037749"/>
                    </a:cubicBezTo>
                    <a:cubicBezTo>
                      <a:pt x="444341" y="1037749"/>
                      <a:pt x="446246" y="1036796"/>
                      <a:pt x="447199" y="1036796"/>
                    </a:cubicBezTo>
                    <a:cubicBezTo>
                      <a:pt x="449104" y="1038701"/>
                      <a:pt x="451009" y="1040606"/>
                      <a:pt x="452914" y="1042511"/>
                    </a:cubicBezTo>
                    <a:cubicBezTo>
                      <a:pt x="451009" y="1044416"/>
                      <a:pt x="449104" y="1046321"/>
                      <a:pt x="447199" y="1048226"/>
                    </a:cubicBezTo>
                    <a:cubicBezTo>
                      <a:pt x="447199" y="1048226"/>
                      <a:pt x="447199" y="1048226"/>
                      <a:pt x="447199" y="1048226"/>
                    </a:cubicBezTo>
                    <a:cubicBezTo>
                      <a:pt x="434816" y="1048226"/>
                      <a:pt x="424339" y="1058704"/>
                      <a:pt x="424339" y="1071086"/>
                    </a:cubicBezTo>
                    <a:cubicBezTo>
                      <a:pt x="424339" y="1072991"/>
                      <a:pt x="424339" y="1074896"/>
                      <a:pt x="425291" y="1076801"/>
                    </a:cubicBezTo>
                    <a:cubicBezTo>
                      <a:pt x="421481" y="1073944"/>
                      <a:pt x="416719" y="1072991"/>
                      <a:pt x="412909" y="1072991"/>
                    </a:cubicBezTo>
                    <a:cubicBezTo>
                      <a:pt x="399574" y="1072991"/>
                      <a:pt x="389096" y="1083469"/>
                      <a:pt x="389096" y="1096804"/>
                    </a:cubicBezTo>
                    <a:cubicBezTo>
                      <a:pt x="389096" y="1097756"/>
                      <a:pt x="389096" y="1097756"/>
                      <a:pt x="389096" y="1098709"/>
                    </a:cubicBezTo>
                    <a:cubicBezTo>
                      <a:pt x="389096" y="1098709"/>
                      <a:pt x="389096" y="1098709"/>
                      <a:pt x="389096" y="1098709"/>
                    </a:cubicBezTo>
                    <a:cubicBezTo>
                      <a:pt x="387191" y="1093946"/>
                      <a:pt x="382429" y="1091089"/>
                      <a:pt x="377666" y="1091089"/>
                    </a:cubicBezTo>
                    <a:cubicBezTo>
                      <a:pt x="375761" y="1091089"/>
                      <a:pt x="373856" y="1092041"/>
                      <a:pt x="371951" y="1092994"/>
                    </a:cubicBezTo>
                    <a:cubicBezTo>
                      <a:pt x="373856" y="1090136"/>
                      <a:pt x="374809" y="1086326"/>
                      <a:pt x="374809" y="1082516"/>
                    </a:cubicBezTo>
                    <a:cubicBezTo>
                      <a:pt x="374809" y="1078706"/>
                      <a:pt x="373856" y="1074896"/>
                      <a:pt x="371951" y="1072039"/>
                    </a:cubicBezTo>
                    <a:cubicBezTo>
                      <a:pt x="372904" y="1072039"/>
                      <a:pt x="374809" y="1072991"/>
                      <a:pt x="375761" y="1072991"/>
                    </a:cubicBezTo>
                    <a:cubicBezTo>
                      <a:pt x="382429" y="1072991"/>
                      <a:pt x="388144" y="1067276"/>
                      <a:pt x="388144" y="1060609"/>
                    </a:cubicBezTo>
                    <a:cubicBezTo>
                      <a:pt x="388144" y="1060609"/>
                      <a:pt x="388144" y="1060609"/>
                      <a:pt x="388144" y="1060609"/>
                    </a:cubicBezTo>
                    <a:cubicBezTo>
                      <a:pt x="389096" y="1058704"/>
                      <a:pt x="390049" y="1056799"/>
                      <a:pt x="390049" y="1054894"/>
                    </a:cubicBezTo>
                    <a:cubicBezTo>
                      <a:pt x="390049" y="1050131"/>
                      <a:pt x="386239" y="1046321"/>
                      <a:pt x="381476" y="1046321"/>
                    </a:cubicBezTo>
                    <a:cubicBezTo>
                      <a:pt x="379571" y="1046321"/>
                      <a:pt x="377666" y="1047274"/>
                      <a:pt x="375761" y="1048226"/>
                    </a:cubicBezTo>
                    <a:cubicBezTo>
                      <a:pt x="375761" y="1048226"/>
                      <a:pt x="375761" y="1048226"/>
                      <a:pt x="374809" y="1048226"/>
                    </a:cubicBezTo>
                    <a:cubicBezTo>
                      <a:pt x="368141" y="1048226"/>
                      <a:pt x="362426" y="1053941"/>
                      <a:pt x="362426" y="1060609"/>
                    </a:cubicBezTo>
                    <a:cubicBezTo>
                      <a:pt x="362426" y="1062514"/>
                      <a:pt x="362426" y="1063466"/>
                      <a:pt x="363379" y="1065371"/>
                    </a:cubicBezTo>
                    <a:cubicBezTo>
                      <a:pt x="360521" y="1063466"/>
                      <a:pt x="357664" y="1062514"/>
                      <a:pt x="353854" y="1062514"/>
                    </a:cubicBezTo>
                    <a:cubicBezTo>
                      <a:pt x="342424" y="1062514"/>
                      <a:pt x="333851" y="1072039"/>
                      <a:pt x="333851" y="1082516"/>
                    </a:cubicBezTo>
                    <a:cubicBezTo>
                      <a:pt x="333851" y="1087279"/>
                      <a:pt x="335756" y="1091089"/>
                      <a:pt x="338614" y="1094899"/>
                    </a:cubicBezTo>
                    <a:cubicBezTo>
                      <a:pt x="337661" y="1094899"/>
                      <a:pt x="337661" y="1094899"/>
                      <a:pt x="336709" y="1094899"/>
                    </a:cubicBezTo>
                    <a:cubicBezTo>
                      <a:pt x="330994" y="1094899"/>
                      <a:pt x="327184" y="1099661"/>
                      <a:pt x="327184" y="1104424"/>
                    </a:cubicBezTo>
                    <a:cubicBezTo>
                      <a:pt x="327184" y="1105376"/>
                      <a:pt x="327184" y="1106329"/>
                      <a:pt x="328136" y="1107281"/>
                    </a:cubicBezTo>
                    <a:cubicBezTo>
                      <a:pt x="327184" y="1107281"/>
                      <a:pt x="325279" y="1107281"/>
                      <a:pt x="324326" y="1108234"/>
                    </a:cubicBezTo>
                    <a:cubicBezTo>
                      <a:pt x="324326" y="1108234"/>
                      <a:pt x="324326" y="1108234"/>
                      <a:pt x="324326" y="1108234"/>
                    </a:cubicBezTo>
                    <a:cubicBezTo>
                      <a:pt x="324326" y="1108234"/>
                      <a:pt x="323374" y="1108234"/>
                      <a:pt x="323374" y="1108234"/>
                    </a:cubicBezTo>
                    <a:cubicBezTo>
                      <a:pt x="325279" y="1106329"/>
                      <a:pt x="326231" y="1103471"/>
                      <a:pt x="326231" y="1100614"/>
                    </a:cubicBezTo>
                    <a:cubicBezTo>
                      <a:pt x="326231" y="1092994"/>
                      <a:pt x="319564" y="1086326"/>
                      <a:pt x="311944" y="1086326"/>
                    </a:cubicBezTo>
                    <a:cubicBezTo>
                      <a:pt x="310039" y="1086326"/>
                      <a:pt x="308134" y="1086326"/>
                      <a:pt x="307181" y="1087279"/>
                    </a:cubicBezTo>
                    <a:cubicBezTo>
                      <a:pt x="309086" y="1085374"/>
                      <a:pt x="310039" y="1083469"/>
                      <a:pt x="310991" y="1080611"/>
                    </a:cubicBezTo>
                    <a:cubicBezTo>
                      <a:pt x="311944" y="1080611"/>
                      <a:pt x="311944" y="1080611"/>
                      <a:pt x="312896" y="1080611"/>
                    </a:cubicBezTo>
                    <a:cubicBezTo>
                      <a:pt x="330041" y="1080611"/>
                      <a:pt x="343376" y="1067276"/>
                      <a:pt x="343376" y="1050131"/>
                    </a:cubicBezTo>
                    <a:cubicBezTo>
                      <a:pt x="343376" y="1048226"/>
                      <a:pt x="343376" y="1046321"/>
                      <a:pt x="342424" y="1044416"/>
                    </a:cubicBezTo>
                    <a:cubicBezTo>
                      <a:pt x="347186" y="1042511"/>
                      <a:pt x="350996" y="1037749"/>
                      <a:pt x="350996" y="1032034"/>
                    </a:cubicBezTo>
                    <a:cubicBezTo>
                      <a:pt x="350996" y="1024414"/>
                      <a:pt x="345281" y="1018699"/>
                      <a:pt x="337661" y="1018699"/>
                    </a:cubicBezTo>
                    <a:cubicBezTo>
                      <a:pt x="333851" y="1018699"/>
                      <a:pt x="330041" y="1020604"/>
                      <a:pt x="327184" y="1023461"/>
                    </a:cubicBezTo>
                    <a:cubicBezTo>
                      <a:pt x="325279" y="1022509"/>
                      <a:pt x="324326" y="1021556"/>
                      <a:pt x="322421" y="1021556"/>
                    </a:cubicBezTo>
                    <a:cubicBezTo>
                      <a:pt x="322421" y="1021556"/>
                      <a:pt x="322421" y="1020604"/>
                      <a:pt x="322421" y="1020604"/>
                    </a:cubicBezTo>
                    <a:cubicBezTo>
                      <a:pt x="327184" y="1016794"/>
                      <a:pt x="330041" y="1012031"/>
                      <a:pt x="330041" y="1005364"/>
                    </a:cubicBezTo>
                    <a:cubicBezTo>
                      <a:pt x="330041" y="995839"/>
                      <a:pt x="322421" y="988219"/>
                      <a:pt x="312896" y="987266"/>
                    </a:cubicBezTo>
                    <a:cubicBezTo>
                      <a:pt x="314801" y="985361"/>
                      <a:pt x="316706" y="982504"/>
                      <a:pt x="317659" y="978694"/>
                    </a:cubicBezTo>
                    <a:cubicBezTo>
                      <a:pt x="321469" y="976789"/>
                      <a:pt x="325279" y="973931"/>
                      <a:pt x="328136" y="971074"/>
                    </a:cubicBezTo>
                    <a:cubicBezTo>
                      <a:pt x="332899" y="974884"/>
                      <a:pt x="338614" y="976789"/>
                      <a:pt x="345281" y="976789"/>
                    </a:cubicBezTo>
                    <a:cubicBezTo>
                      <a:pt x="361474" y="976789"/>
                      <a:pt x="374809" y="963454"/>
                      <a:pt x="374809" y="947261"/>
                    </a:cubicBezTo>
                    <a:cubicBezTo>
                      <a:pt x="374809" y="932974"/>
                      <a:pt x="364331" y="921544"/>
                      <a:pt x="350996" y="918686"/>
                    </a:cubicBezTo>
                    <a:cubicBezTo>
                      <a:pt x="350996" y="917734"/>
                      <a:pt x="350044" y="916781"/>
                      <a:pt x="350044" y="915829"/>
                    </a:cubicBezTo>
                    <a:cubicBezTo>
                      <a:pt x="354806" y="913924"/>
                      <a:pt x="357664" y="909161"/>
                      <a:pt x="357664" y="903446"/>
                    </a:cubicBezTo>
                    <a:cubicBezTo>
                      <a:pt x="357664" y="895826"/>
                      <a:pt x="351949" y="890111"/>
                      <a:pt x="344329" y="890111"/>
                    </a:cubicBezTo>
                    <a:cubicBezTo>
                      <a:pt x="336709" y="890111"/>
                      <a:pt x="330994" y="895826"/>
                      <a:pt x="330994" y="903446"/>
                    </a:cubicBezTo>
                    <a:cubicBezTo>
                      <a:pt x="330994" y="905351"/>
                      <a:pt x="330994" y="906304"/>
                      <a:pt x="331946" y="908209"/>
                    </a:cubicBezTo>
                    <a:cubicBezTo>
                      <a:pt x="327184" y="910114"/>
                      <a:pt x="324326" y="913924"/>
                      <a:pt x="323374" y="918686"/>
                    </a:cubicBezTo>
                    <a:cubicBezTo>
                      <a:pt x="317659" y="914876"/>
                      <a:pt x="310991" y="912971"/>
                      <a:pt x="304324" y="912971"/>
                    </a:cubicBezTo>
                    <a:cubicBezTo>
                      <a:pt x="295751" y="912971"/>
                      <a:pt x="287179" y="916781"/>
                      <a:pt x="281464" y="921544"/>
                    </a:cubicBezTo>
                    <a:cubicBezTo>
                      <a:pt x="281464" y="921544"/>
                      <a:pt x="281464" y="920591"/>
                      <a:pt x="281464" y="920591"/>
                    </a:cubicBezTo>
                    <a:cubicBezTo>
                      <a:pt x="281464" y="907256"/>
                      <a:pt x="270034" y="895826"/>
                      <a:pt x="256699" y="895826"/>
                    </a:cubicBezTo>
                    <a:cubicBezTo>
                      <a:pt x="254794" y="895826"/>
                      <a:pt x="252889" y="895826"/>
                      <a:pt x="251936" y="896779"/>
                    </a:cubicBezTo>
                    <a:cubicBezTo>
                      <a:pt x="250984" y="886301"/>
                      <a:pt x="244316" y="877729"/>
                      <a:pt x="234791" y="872966"/>
                    </a:cubicBezTo>
                    <a:cubicBezTo>
                      <a:pt x="234791" y="872966"/>
                      <a:pt x="234791" y="872966"/>
                      <a:pt x="234791" y="872966"/>
                    </a:cubicBezTo>
                    <a:cubicBezTo>
                      <a:pt x="244316" y="872966"/>
                      <a:pt x="250984" y="865346"/>
                      <a:pt x="250984" y="856774"/>
                    </a:cubicBezTo>
                    <a:cubicBezTo>
                      <a:pt x="250984" y="847249"/>
                      <a:pt x="243364" y="840581"/>
                      <a:pt x="234791" y="840581"/>
                    </a:cubicBezTo>
                    <a:cubicBezTo>
                      <a:pt x="226219" y="840581"/>
                      <a:pt x="218599" y="848201"/>
                      <a:pt x="218599" y="856774"/>
                    </a:cubicBezTo>
                    <a:cubicBezTo>
                      <a:pt x="218599" y="862489"/>
                      <a:pt x="222409" y="868204"/>
                      <a:pt x="227171" y="871061"/>
                    </a:cubicBezTo>
                    <a:cubicBezTo>
                      <a:pt x="226219" y="871061"/>
                      <a:pt x="224314" y="871061"/>
                      <a:pt x="223361" y="871061"/>
                    </a:cubicBezTo>
                    <a:cubicBezTo>
                      <a:pt x="221456" y="871061"/>
                      <a:pt x="218599" y="871061"/>
                      <a:pt x="216694" y="872014"/>
                    </a:cubicBezTo>
                    <a:cubicBezTo>
                      <a:pt x="215741" y="871061"/>
                      <a:pt x="214789" y="871061"/>
                      <a:pt x="213836" y="870109"/>
                    </a:cubicBezTo>
                    <a:cubicBezTo>
                      <a:pt x="211931" y="864394"/>
                      <a:pt x="207169" y="859631"/>
                      <a:pt x="200501" y="859631"/>
                    </a:cubicBezTo>
                    <a:cubicBezTo>
                      <a:pt x="199549" y="859631"/>
                      <a:pt x="197644" y="859631"/>
                      <a:pt x="196691" y="860584"/>
                    </a:cubicBezTo>
                    <a:cubicBezTo>
                      <a:pt x="196691" y="860584"/>
                      <a:pt x="196691" y="860584"/>
                      <a:pt x="196691" y="860584"/>
                    </a:cubicBezTo>
                    <a:cubicBezTo>
                      <a:pt x="196691" y="856774"/>
                      <a:pt x="195739" y="852964"/>
                      <a:pt x="194786" y="849154"/>
                    </a:cubicBezTo>
                    <a:cubicBezTo>
                      <a:pt x="196691" y="847249"/>
                      <a:pt x="197644" y="845344"/>
                      <a:pt x="198596" y="842486"/>
                    </a:cubicBezTo>
                    <a:cubicBezTo>
                      <a:pt x="201454" y="838676"/>
                      <a:pt x="203359" y="832961"/>
                      <a:pt x="203359" y="827246"/>
                    </a:cubicBezTo>
                    <a:cubicBezTo>
                      <a:pt x="203359" y="823436"/>
                      <a:pt x="202406" y="819626"/>
                      <a:pt x="200501" y="815816"/>
                    </a:cubicBezTo>
                    <a:cubicBezTo>
                      <a:pt x="202406" y="815816"/>
                      <a:pt x="203359" y="816769"/>
                      <a:pt x="205264" y="816769"/>
                    </a:cubicBezTo>
                    <a:cubicBezTo>
                      <a:pt x="216694" y="816769"/>
                      <a:pt x="226219" y="807244"/>
                      <a:pt x="226219" y="795814"/>
                    </a:cubicBezTo>
                    <a:cubicBezTo>
                      <a:pt x="226219" y="784384"/>
                      <a:pt x="216694" y="774859"/>
                      <a:pt x="205264" y="774859"/>
                    </a:cubicBezTo>
                    <a:cubicBezTo>
                      <a:pt x="193834" y="774859"/>
                      <a:pt x="184309" y="784384"/>
                      <a:pt x="184309" y="795814"/>
                    </a:cubicBezTo>
                    <a:cubicBezTo>
                      <a:pt x="184309" y="798671"/>
                      <a:pt x="185261" y="801529"/>
                      <a:pt x="186214" y="803434"/>
                    </a:cubicBezTo>
                    <a:cubicBezTo>
                      <a:pt x="183356" y="802481"/>
                      <a:pt x="180499" y="802481"/>
                      <a:pt x="177641" y="802481"/>
                    </a:cubicBezTo>
                    <a:cubicBezTo>
                      <a:pt x="170021" y="802481"/>
                      <a:pt x="162401" y="806291"/>
                      <a:pt x="157639" y="812006"/>
                    </a:cubicBezTo>
                    <a:cubicBezTo>
                      <a:pt x="153829" y="806291"/>
                      <a:pt x="147161" y="802481"/>
                      <a:pt x="140494" y="802481"/>
                    </a:cubicBezTo>
                    <a:cubicBezTo>
                      <a:pt x="136684" y="802481"/>
                      <a:pt x="133826" y="803434"/>
                      <a:pt x="130969" y="804386"/>
                    </a:cubicBezTo>
                    <a:cubicBezTo>
                      <a:pt x="130016" y="798671"/>
                      <a:pt x="126206" y="794861"/>
                      <a:pt x="120491" y="794861"/>
                    </a:cubicBezTo>
                    <a:cubicBezTo>
                      <a:pt x="116681" y="794861"/>
                      <a:pt x="112871" y="797719"/>
                      <a:pt x="110966" y="800576"/>
                    </a:cubicBezTo>
                    <a:cubicBezTo>
                      <a:pt x="103346" y="803434"/>
                      <a:pt x="98584" y="811054"/>
                      <a:pt x="98584" y="818674"/>
                    </a:cubicBezTo>
                    <a:cubicBezTo>
                      <a:pt x="98584" y="829151"/>
                      <a:pt x="107156" y="838676"/>
                      <a:pt x="118586" y="838676"/>
                    </a:cubicBezTo>
                    <a:cubicBezTo>
                      <a:pt x="121444" y="838676"/>
                      <a:pt x="124301" y="837724"/>
                      <a:pt x="126206" y="836771"/>
                    </a:cubicBezTo>
                    <a:cubicBezTo>
                      <a:pt x="130016" y="840581"/>
                      <a:pt x="134779" y="842486"/>
                      <a:pt x="140494" y="842486"/>
                    </a:cubicBezTo>
                    <a:cubicBezTo>
                      <a:pt x="143351" y="842486"/>
                      <a:pt x="146209" y="841534"/>
                      <a:pt x="148114" y="840581"/>
                    </a:cubicBezTo>
                    <a:cubicBezTo>
                      <a:pt x="144304" y="845344"/>
                      <a:pt x="141446" y="852011"/>
                      <a:pt x="141446" y="858679"/>
                    </a:cubicBezTo>
                    <a:cubicBezTo>
                      <a:pt x="141446" y="871061"/>
                      <a:pt x="150019" y="881539"/>
                      <a:pt x="161449" y="885349"/>
                    </a:cubicBezTo>
                    <a:cubicBezTo>
                      <a:pt x="156686" y="892969"/>
                      <a:pt x="153829" y="901541"/>
                      <a:pt x="153829" y="911066"/>
                    </a:cubicBezTo>
                    <a:cubicBezTo>
                      <a:pt x="153829" y="922496"/>
                      <a:pt x="158591" y="932974"/>
                      <a:pt x="165259" y="940594"/>
                    </a:cubicBezTo>
                    <a:cubicBezTo>
                      <a:pt x="159544" y="942499"/>
                      <a:pt x="154781" y="948214"/>
                      <a:pt x="154781" y="955834"/>
                    </a:cubicBezTo>
                    <a:cubicBezTo>
                      <a:pt x="154781" y="964406"/>
                      <a:pt x="161449" y="972026"/>
                      <a:pt x="170974" y="972026"/>
                    </a:cubicBezTo>
                    <a:cubicBezTo>
                      <a:pt x="179546" y="972026"/>
                      <a:pt x="186214" y="965359"/>
                      <a:pt x="187166" y="957739"/>
                    </a:cubicBezTo>
                    <a:cubicBezTo>
                      <a:pt x="187166" y="957739"/>
                      <a:pt x="188119" y="957739"/>
                      <a:pt x="188119" y="957739"/>
                    </a:cubicBezTo>
                    <a:cubicBezTo>
                      <a:pt x="190024" y="957739"/>
                      <a:pt x="191929" y="956786"/>
                      <a:pt x="192881" y="955834"/>
                    </a:cubicBezTo>
                    <a:cubicBezTo>
                      <a:pt x="194786" y="955834"/>
                      <a:pt x="196691" y="956786"/>
                      <a:pt x="199549" y="956786"/>
                    </a:cubicBezTo>
                    <a:cubicBezTo>
                      <a:pt x="204311" y="956786"/>
                      <a:pt x="208121" y="955834"/>
                      <a:pt x="211931" y="954881"/>
                    </a:cubicBezTo>
                    <a:cubicBezTo>
                      <a:pt x="211931" y="954881"/>
                      <a:pt x="211931" y="954881"/>
                      <a:pt x="211931" y="954881"/>
                    </a:cubicBezTo>
                    <a:cubicBezTo>
                      <a:pt x="218599" y="954881"/>
                      <a:pt x="224314" y="952024"/>
                      <a:pt x="228124" y="948214"/>
                    </a:cubicBezTo>
                    <a:cubicBezTo>
                      <a:pt x="230029" y="952024"/>
                      <a:pt x="233839" y="954881"/>
                      <a:pt x="237649" y="954881"/>
                    </a:cubicBezTo>
                    <a:cubicBezTo>
                      <a:pt x="239554" y="954881"/>
                      <a:pt x="240506" y="954881"/>
                      <a:pt x="241459" y="953929"/>
                    </a:cubicBezTo>
                    <a:cubicBezTo>
                      <a:pt x="245269" y="956786"/>
                      <a:pt x="249079" y="957739"/>
                      <a:pt x="254794" y="957739"/>
                    </a:cubicBezTo>
                    <a:cubicBezTo>
                      <a:pt x="259556" y="957739"/>
                      <a:pt x="263366" y="956786"/>
                      <a:pt x="267176" y="953929"/>
                    </a:cubicBezTo>
                    <a:cubicBezTo>
                      <a:pt x="268129" y="953929"/>
                      <a:pt x="268129" y="953929"/>
                      <a:pt x="269081" y="953929"/>
                    </a:cubicBezTo>
                    <a:cubicBezTo>
                      <a:pt x="270034" y="953929"/>
                      <a:pt x="271939" y="953929"/>
                      <a:pt x="272891" y="952976"/>
                    </a:cubicBezTo>
                    <a:cubicBezTo>
                      <a:pt x="273844" y="959644"/>
                      <a:pt x="276701" y="965359"/>
                      <a:pt x="281464" y="970121"/>
                    </a:cubicBezTo>
                    <a:cubicBezTo>
                      <a:pt x="280511" y="970121"/>
                      <a:pt x="278606" y="970121"/>
                      <a:pt x="277654" y="970121"/>
                    </a:cubicBezTo>
                    <a:cubicBezTo>
                      <a:pt x="276701" y="970121"/>
                      <a:pt x="276701" y="970121"/>
                      <a:pt x="275749" y="970121"/>
                    </a:cubicBezTo>
                    <a:cubicBezTo>
                      <a:pt x="275749" y="964406"/>
                      <a:pt x="270986" y="959644"/>
                      <a:pt x="265271" y="959644"/>
                    </a:cubicBezTo>
                    <a:cubicBezTo>
                      <a:pt x="259556" y="959644"/>
                      <a:pt x="254794" y="964406"/>
                      <a:pt x="254794" y="970121"/>
                    </a:cubicBezTo>
                    <a:cubicBezTo>
                      <a:pt x="254794" y="973931"/>
                      <a:pt x="256699" y="977741"/>
                      <a:pt x="260509" y="979646"/>
                    </a:cubicBezTo>
                    <a:cubicBezTo>
                      <a:pt x="259556" y="981551"/>
                      <a:pt x="258604" y="983456"/>
                      <a:pt x="257651" y="986314"/>
                    </a:cubicBezTo>
                    <a:cubicBezTo>
                      <a:pt x="254794" y="984409"/>
                      <a:pt x="250984" y="982504"/>
                      <a:pt x="247174" y="982504"/>
                    </a:cubicBezTo>
                    <a:cubicBezTo>
                      <a:pt x="246221" y="972979"/>
                      <a:pt x="239554" y="966311"/>
                      <a:pt x="230029" y="966311"/>
                    </a:cubicBezTo>
                    <a:cubicBezTo>
                      <a:pt x="220504" y="966311"/>
                      <a:pt x="212884" y="973931"/>
                      <a:pt x="212884" y="983456"/>
                    </a:cubicBezTo>
                    <a:cubicBezTo>
                      <a:pt x="212884" y="986314"/>
                      <a:pt x="213836" y="989171"/>
                      <a:pt x="215741" y="992029"/>
                    </a:cubicBezTo>
                    <a:cubicBezTo>
                      <a:pt x="210026" y="997744"/>
                      <a:pt x="206216" y="1006316"/>
                      <a:pt x="206216" y="1014889"/>
                    </a:cubicBezTo>
                    <a:cubicBezTo>
                      <a:pt x="206216" y="1017746"/>
                      <a:pt x="206216" y="1020604"/>
                      <a:pt x="207169" y="1022509"/>
                    </a:cubicBezTo>
                    <a:cubicBezTo>
                      <a:pt x="205264" y="1022509"/>
                      <a:pt x="203359" y="1021556"/>
                      <a:pt x="200501" y="1021556"/>
                    </a:cubicBezTo>
                    <a:cubicBezTo>
                      <a:pt x="198596" y="1021556"/>
                      <a:pt x="197644" y="1021556"/>
                      <a:pt x="195739" y="1022509"/>
                    </a:cubicBezTo>
                    <a:cubicBezTo>
                      <a:pt x="192881" y="1018699"/>
                      <a:pt x="188119" y="1015841"/>
                      <a:pt x="182404" y="1015841"/>
                    </a:cubicBezTo>
                    <a:cubicBezTo>
                      <a:pt x="172879" y="1015841"/>
                      <a:pt x="165259" y="1023461"/>
                      <a:pt x="165259" y="1032986"/>
                    </a:cubicBezTo>
                    <a:cubicBezTo>
                      <a:pt x="165259" y="1037749"/>
                      <a:pt x="167164" y="1042511"/>
                      <a:pt x="170974" y="1045369"/>
                    </a:cubicBezTo>
                    <a:cubicBezTo>
                      <a:pt x="170974" y="1047274"/>
                      <a:pt x="170021" y="1049179"/>
                      <a:pt x="170021" y="1051084"/>
                    </a:cubicBezTo>
                    <a:cubicBezTo>
                      <a:pt x="170021" y="1052989"/>
                      <a:pt x="170021" y="1055846"/>
                      <a:pt x="170974" y="1057751"/>
                    </a:cubicBezTo>
                    <a:cubicBezTo>
                      <a:pt x="167164" y="1061561"/>
                      <a:pt x="164306" y="1067276"/>
                      <a:pt x="164306" y="1073944"/>
                    </a:cubicBezTo>
                    <a:cubicBezTo>
                      <a:pt x="164306" y="1076801"/>
                      <a:pt x="165259" y="1079659"/>
                      <a:pt x="166211" y="1081564"/>
                    </a:cubicBezTo>
                    <a:cubicBezTo>
                      <a:pt x="165259" y="1081564"/>
                      <a:pt x="164306" y="1081564"/>
                      <a:pt x="162401" y="1081564"/>
                    </a:cubicBezTo>
                    <a:cubicBezTo>
                      <a:pt x="162401" y="1081564"/>
                      <a:pt x="162401" y="1080611"/>
                      <a:pt x="162401" y="1080611"/>
                    </a:cubicBezTo>
                    <a:cubicBezTo>
                      <a:pt x="162401" y="1078706"/>
                      <a:pt x="162401" y="1076801"/>
                      <a:pt x="161449" y="1074896"/>
                    </a:cubicBezTo>
                    <a:cubicBezTo>
                      <a:pt x="161449" y="1072991"/>
                      <a:pt x="162401" y="1072039"/>
                      <a:pt x="162401" y="1070134"/>
                    </a:cubicBezTo>
                    <a:cubicBezTo>
                      <a:pt x="162401" y="1061561"/>
                      <a:pt x="155734" y="1054894"/>
                      <a:pt x="147161" y="1054894"/>
                    </a:cubicBezTo>
                    <a:cubicBezTo>
                      <a:pt x="143351" y="1054894"/>
                      <a:pt x="140494" y="1055846"/>
                      <a:pt x="137636" y="1057751"/>
                    </a:cubicBezTo>
                    <a:cubicBezTo>
                      <a:pt x="126206" y="1058704"/>
                      <a:pt x="116681" y="1068229"/>
                      <a:pt x="116681" y="1080611"/>
                    </a:cubicBezTo>
                    <a:cubicBezTo>
                      <a:pt x="116681" y="1092041"/>
                      <a:pt x="125254" y="1101566"/>
                      <a:pt x="135731" y="1103471"/>
                    </a:cubicBezTo>
                    <a:cubicBezTo>
                      <a:pt x="133826" y="1107281"/>
                      <a:pt x="132874" y="1112044"/>
                      <a:pt x="132874" y="1115854"/>
                    </a:cubicBezTo>
                    <a:cubicBezTo>
                      <a:pt x="132874" y="1132046"/>
                      <a:pt x="143351" y="1144429"/>
                      <a:pt x="157639" y="1149191"/>
                    </a:cubicBezTo>
                    <a:cubicBezTo>
                      <a:pt x="155734" y="1149191"/>
                      <a:pt x="153829" y="1148239"/>
                      <a:pt x="151924" y="1148239"/>
                    </a:cubicBezTo>
                    <a:cubicBezTo>
                      <a:pt x="139541" y="1148239"/>
                      <a:pt x="128111" y="1155859"/>
                      <a:pt x="123349" y="1166336"/>
                    </a:cubicBezTo>
                    <a:cubicBezTo>
                      <a:pt x="118586" y="1160621"/>
                      <a:pt x="110966" y="1157764"/>
                      <a:pt x="102394" y="1157764"/>
                    </a:cubicBezTo>
                    <a:cubicBezTo>
                      <a:pt x="86201" y="1157764"/>
                      <a:pt x="73819" y="1170146"/>
                      <a:pt x="73819" y="1186339"/>
                    </a:cubicBezTo>
                    <a:cubicBezTo>
                      <a:pt x="73819" y="1195864"/>
                      <a:pt x="78581" y="1204436"/>
                      <a:pt x="85249" y="1209199"/>
                    </a:cubicBezTo>
                    <a:cubicBezTo>
                      <a:pt x="85249" y="1209199"/>
                      <a:pt x="85249" y="1209199"/>
                      <a:pt x="85249" y="1210151"/>
                    </a:cubicBezTo>
                    <a:cubicBezTo>
                      <a:pt x="85249" y="1216819"/>
                      <a:pt x="90011" y="1221581"/>
                      <a:pt x="96679" y="1222534"/>
                    </a:cubicBezTo>
                    <a:cubicBezTo>
                      <a:pt x="90011" y="1224439"/>
                      <a:pt x="84296" y="1230154"/>
                      <a:pt x="84296" y="1237774"/>
                    </a:cubicBezTo>
                    <a:cubicBezTo>
                      <a:pt x="84296" y="1246346"/>
                      <a:pt x="90964" y="1253966"/>
                      <a:pt x="100489" y="1253966"/>
                    </a:cubicBezTo>
                    <a:cubicBezTo>
                      <a:pt x="108109" y="1253966"/>
                      <a:pt x="113824" y="1248251"/>
                      <a:pt x="115729" y="1241584"/>
                    </a:cubicBezTo>
                    <a:cubicBezTo>
                      <a:pt x="119539" y="1250156"/>
                      <a:pt x="129064" y="1256824"/>
                      <a:pt x="139541" y="1256824"/>
                    </a:cubicBezTo>
                    <a:cubicBezTo>
                      <a:pt x="139541" y="1256824"/>
                      <a:pt x="140494" y="1256824"/>
                      <a:pt x="140494" y="1256824"/>
                    </a:cubicBezTo>
                    <a:cubicBezTo>
                      <a:pt x="140494" y="1256824"/>
                      <a:pt x="140494" y="1257776"/>
                      <a:pt x="140494" y="1257776"/>
                    </a:cubicBezTo>
                    <a:cubicBezTo>
                      <a:pt x="135731" y="1260634"/>
                      <a:pt x="131921" y="1266349"/>
                      <a:pt x="130016" y="1272064"/>
                    </a:cubicBezTo>
                    <a:cubicBezTo>
                      <a:pt x="124301" y="1269206"/>
                      <a:pt x="117634" y="1267301"/>
                      <a:pt x="110966" y="1267301"/>
                    </a:cubicBezTo>
                    <a:cubicBezTo>
                      <a:pt x="101441" y="1267301"/>
                      <a:pt x="91916" y="1271111"/>
                      <a:pt x="85249" y="1276826"/>
                    </a:cubicBezTo>
                    <a:cubicBezTo>
                      <a:pt x="83344" y="1274921"/>
                      <a:pt x="80486" y="1273969"/>
                      <a:pt x="77629" y="1273969"/>
                    </a:cubicBezTo>
                    <a:cubicBezTo>
                      <a:pt x="70009" y="1273969"/>
                      <a:pt x="64294" y="1279684"/>
                      <a:pt x="64294" y="1287304"/>
                    </a:cubicBezTo>
                    <a:cubicBezTo>
                      <a:pt x="64294" y="1288256"/>
                      <a:pt x="64294" y="1289209"/>
                      <a:pt x="64294" y="1290161"/>
                    </a:cubicBezTo>
                    <a:cubicBezTo>
                      <a:pt x="64294" y="1290161"/>
                      <a:pt x="64294" y="1290161"/>
                      <a:pt x="64294" y="1291114"/>
                    </a:cubicBezTo>
                    <a:cubicBezTo>
                      <a:pt x="62389" y="1291114"/>
                      <a:pt x="61436" y="1290161"/>
                      <a:pt x="59531" y="1290161"/>
                    </a:cubicBezTo>
                    <a:cubicBezTo>
                      <a:pt x="49054" y="1290161"/>
                      <a:pt x="40481" y="1298734"/>
                      <a:pt x="40481" y="1309211"/>
                    </a:cubicBezTo>
                    <a:cubicBezTo>
                      <a:pt x="40481" y="1319689"/>
                      <a:pt x="49054" y="1328261"/>
                      <a:pt x="59531" y="1328261"/>
                    </a:cubicBezTo>
                    <a:cubicBezTo>
                      <a:pt x="65246" y="1328261"/>
                      <a:pt x="70009" y="1326356"/>
                      <a:pt x="73819" y="1322546"/>
                    </a:cubicBezTo>
                    <a:cubicBezTo>
                      <a:pt x="79534" y="1337786"/>
                      <a:pt x="94774" y="1348264"/>
                      <a:pt x="111919" y="1348264"/>
                    </a:cubicBezTo>
                    <a:cubicBezTo>
                      <a:pt x="122396" y="1348264"/>
                      <a:pt x="131921" y="1344454"/>
                      <a:pt x="139541" y="1337786"/>
                    </a:cubicBezTo>
                    <a:cubicBezTo>
                      <a:pt x="137636" y="1339691"/>
                      <a:pt x="136684" y="1342549"/>
                      <a:pt x="136684" y="1345406"/>
                    </a:cubicBezTo>
                    <a:cubicBezTo>
                      <a:pt x="136684" y="1345406"/>
                      <a:pt x="136684" y="1345406"/>
                      <a:pt x="136684" y="1345406"/>
                    </a:cubicBezTo>
                    <a:cubicBezTo>
                      <a:pt x="125254" y="1350169"/>
                      <a:pt x="116681" y="1360646"/>
                      <a:pt x="116681" y="1373981"/>
                    </a:cubicBezTo>
                    <a:cubicBezTo>
                      <a:pt x="116681" y="1380649"/>
                      <a:pt x="119539" y="1387316"/>
                      <a:pt x="123349" y="1393031"/>
                    </a:cubicBezTo>
                    <a:cubicBezTo>
                      <a:pt x="120491" y="1391126"/>
                      <a:pt x="117634" y="1390174"/>
                      <a:pt x="113824" y="1390174"/>
                    </a:cubicBezTo>
                    <a:cubicBezTo>
                      <a:pt x="108109" y="1390174"/>
                      <a:pt x="102394" y="1393984"/>
                      <a:pt x="99536" y="1398746"/>
                    </a:cubicBezTo>
                    <a:cubicBezTo>
                      <a:pt x="99536" y="1398746"/>
                      <a:pt x="99536" y="1398746"/>
                      <a:pt x="98584" y="1398746"/>
                    </a:cubicBezTo>
                    <a:cubicBezTo>
                      <a:pt x="95726" y="1398746"/>
                      <a:pt x="92869" y="1399699"/>
                      <a:pt x="90964" y="1400651"/>
                    </a:cubicBezTo>
                    <a:cubicBezTo>
                      <a:pt x="83344" y="1391126"/>
                      <a:pt x="71914" y="1384459"/>
                      <a:pt x="59531" y="1384459"/>
                    </a:cubicBezTo>
                    <a:cubicBezTo>
                      <a:pt x="50006" y="1384459"/>
                      <a:pt x="40481" y="1388269"/>
                      <a:pt x="33814" y="1393984"/>
                    </a:cubicBezTo>
                    <a:cubicBezTo>
                      <a:pt x="33814" y="1393984"/>
                      <a:pt x="32861" y="1393984"/>
                      <a:pt x="32861" y="1393984"/>
                    </a:cubicBezTo>
                    <a:cubicBezTo>
                      <a:pt x="30004" y="1393984"/>
                      <a:pt x="27146" y="1396841"/>
                      <a:pt x="27146" y="1399699"/>
                    </a:cubicBezTo>
                    <a:cubicBezTo>
                      <a:pt x="27146" y="1400651"/>
                      <a:pt x="27146" y="1400651"/>
                      <a:pt x="27146" y="1400651"/>
                    </a:cubicBezTo>
                    <a:cubicBezTo>
                      <a:pt x="23336" y="1406366"/>
                      <a:pt x="20479" y="1413034"/>
                      <a:pt x="19526" y="1420654"/>
                    </a:cubicBezTo>
                    <a:cubicBezTo>
                      <a:pt x="11906" y="1423511"/>
                      <a:pt x="7144" y="1430179"/>
                      <a:pt x="7144" y="1437799"/>
                    </a:cubicBezTo>
                    <a:cubicBezTo>
                      <a:pt x="7144" y="1448276"/>
                      <a:pt x="15716" y="1456849"/>
                      <a:pt x="26194" y="1456849"/>
                    </a:cubicBezTo>
                    <a:cubicBezTo>
                      <a:pt x="29051" y="1456849"/>
                      <a:pt x="31909" y="1455896"/>
                      <a:pt x="34766" y="1454944"/>
                    </a:cubicBezTo>
                    <a:cubicBezTo>
                      <a:pt x="41434" y="1460659"/>
                      <a:pt x="50006" y="1463516"/>
                      <a:pt x="59531" y="1463516"/>
                    </a:cubicBezTo>
                    <a:cubicBezTo>
                      <a:pt x="79534" y="1463516"/>
                      <a:pt x="96679" y="1448276"/>
                      <a:pt x="98584" y="1429226"/>
                    </a:cubicBezTo>
                    <a:cubicBezTo>
                      <a:pt x="98584" y="1429226"/>
                      <a:pt x="98584" y="1429226"/>
                      <a:pt x="98584" y="1429226"/>
                    </a:cubicBezTo>
                    <a:cubicBezTo>
                      <a:pt x="103346" y="1429226"/>
                      <a:pt x="108109" y="1426369"/>
                      <a:pt x="110966" y="1422559"/>
                    </a:cubicBezTo>
                    <a:cubicBezTo>
                      <a:pt x="111919" y="1422559"/>
                      <a:pt x="112871" y="1422559"/>
                      <a:pt x="112871" y="1422559"/>
                    </a:cubicBezTo>
                    <a:cubicBezTo>
                      <a:pt x="122396" y="1422559"/>
                      <a:pt x="129064" y="1414939"/>
                      <a:pt x="129064" y="1406366"/>
                    </a:cubicBezTo>
                    <a:cubicBezTo>
                      <a:pt x="129064" y="1403509"/>
                      <a:pt x="128111" y="1399699"/>
                      <a:pt x="126206" y="1397794"/>
                    </a:cubicBezTo>
                    <a:cubicBezTo>
                      <a:pt x="131921" y="1402556"/>
                      <a:pt x="138589" y="1405414"/>
                      <a:pt x="146209" y="1405414"/>
                    </a:cubicBezTo>
                    <a:cubicBezTo>
                      <a:pt x="158591" y="1405414"/>
                      <a:pt x="169069" y="1398746"/>
                      <a:pt x="173831" y="1388269"/>
                    </a:cubicBezTo>
                    <a:cubicBezTo>
                      <a:pt x="174784" y="1388269"/>
                      <a:pt x="175736" y="1388269"/>
                      <a:pt x="176689" y="1388269"/>
                    </a:cubicBezTo>
                    <a:cubicBezTo>
                      <a:pt x="176689" y="1388269"/>
                      <a:pt x="177641" y="1388269"/>
                      <a:pt x="177641" y="1388269"/>
                    </a:cubicBezTo>
                    <a:cubicBezTo>
                      <a:pt x="184309" y="1401604"/>
                      <a:pt x="197644" y="1410176"/>
                      <a:pt x="212884" y="1410176"/>
                    </a:cubicBezTo>
                    <a:cubicBezTo>
                      <a:pt x="227171" y="1410176"/>
                      <a:pt x="239554" y="1402556"/>
                      <a:pt x="246221" y="1391126"/>
                    </a:cubicBezTo>
                    <a:cubicBezTo>
                      <a:pt x="246221" y="1391126"/>
                      <a:pt x="247174" y="1391126"/>
                      <a:pt x="247174" y="1391126"/>
                    </a:cubicBezTo>
                    <a:cubicBezTo>
                      <a:pt x="250984" y="1391126"/>
                      <a:pt x="253841" y="1388269"/>
                      <a:pt x="253841" y="1383506"/>
                    </a:cubicBezTo>
                    <a:cubicBezTo>
                      <a:pt x="253841" y="1380649"/>
                      <a:pt x="252889" y="1378744"/>
                      <a:pt x="250984" y="1377791"/>
                    </a:cubicBezTo>
                    <a:cubicBezTo>
                      <a:pt x="251936" y="1374934"/>
                      <a:pt x="251936" y="1373029"/>
                      <a:pt x="251936" y="1370171"/>
                    </a:cubicBezTo>
                    <a:cubicBezTo>
                      <a:pt x="251936" y="1348264"/>
                      <a:pt x="234791" y="1331119"/>
                      <a:pt x="212884" y="1331119"/>
                    </a:cubicBezTo>
                    <a:cubicBezTo>
                      <a:pt x="210979" y="1331119"/>
                      <a:pt x="208121" y="1331119"/>
                      <a:pt x="206216" y="1332071"/>
                    </a:cubicBezTo>
                    <a:cubicBezTo>
                      <a:pt x="204311" y="1331119"/>
                      <a:pt x="201454" y="1331119"/>
                      <a:pt x="199549" y="1331119"/>
                    </a:cubicBezTo>
                    <a:cubicBezTo>
                      <a:pt x="199549" y="1325404"/>
                      <a:pt x="194786" y="1320641"/>
                      <a:pt x="188119" y="1320641"/>
                    </a:cubicBezTo>
                    <a:cubicBezTo>
                      <a:pt x="181451" y="1320641"/>
                      <a:pt x="176689" y="1325404"/>
                      <a:pt x="176689" y="1332071"/>
                    </a:cubicBezTo>
                    <a:cubicBezTo>
                      <a:pt x="176689" y="1332071"/>
                      <a:pt x="176689" y="1333024"/>
                      <a:pt x="176689" y="1333024"/>
                    </a:cubicBezTo>
                    <a:cubicBezTo>
                      <a:pt x="172879" y="1331119"/>
                      <a:pt x="169069" y="1329214"/>
                      <a:pt x="165259" y="1329214"/>
                    </a:cubicBezTo>
                    <a:cubicBezTo>
                      <a:pt x="159544" y="1329214"/>
                      <a:pt x="154781" y="1331119"/>
                      <a:pt x="150019" y="1334929"/>
                    </a:cubicBezTo>
                    <a:cubicBezTo>
                      <a:pt x="149066" y="1334929"/>
                      <a:pt x="148114" y="1333976"/>
                      <a:pt x="147161" y="1333976"/>
                    </a:cubicBezTo>
                    <a:cubicBezTo>
                      <a:pt x="144304" y="1333976"/>
                      <a:pt x="141446" y="1334929"/>
                      <a:pt x="139541" y="1336834"/>
                    </a:cubicBezTo>
                    <a:cubicBezTo>
                      <a:pt x="147161" y="1329214"/>
                      <a:pt x="150971" y="1319689"/>
                      <a:pt x="150971" y="1308259"/>
                    </a:cubicBezTo>
                    <a:cubicBezTo>
                      <a:pt x="150971" y="1306354"/>
                      <a:pt x="150971" y="1305401"/>
                      <a:pt x="150019" y="1303496"/>
                    </a:cubicBezTo>
                    <a:cubicBezTo>
                      <a:pt x="150971" y="1303496"/>
                      <a:pt x="150971" y="1303496"/>
                      <a:pt x="151924" y="1303496"/>
                    </a:cubicBezTo>
                    <a:cubicBezTo>
                      <a:pt x="165259" y="1303496"/>
                      <a:pt x="176689" y="1293019"/>
                      <a:pt x="176689" y="1278731"/>
                    </a:cubicBezTo>
                    <a:cubicBezTo>
                      <a:pt x="176689" y="1266349"/>
                      <a:pt x="167164" y="1255871"/>
                      <a:pt x="153829" y="1254919"/>
                    </a:cubicBezTo>
                    <a:cubicBezTo>
                      <a:pt x="153829" y="1253966"/>
                      <a:pt x="153829" y="1253014"/>
                      <a:pt x="152876" y="1253014"/>
                    </a:cubicBezTo>
                    <a:cubicBezTo>
                      <a:pt x="154781" y="1252061"/>
                      <a:pt x="155734" y="1251109"/>
                      <a:pt x="156686" y="1249204"/>
                    </a:cubicBezTo>
                    <a:cubicBezTo>
                      <a:pt x="164306" y="1247299"/>
                      <a:pt x="170021" y="1240631"/>
                      <a:pt x="170021" y="1233011"/>
                    </a:cubicBezTo>
                    <a:cubicBezTo>
                      <a:pt x="170021" y="1230154"/>
                      <a:pt x="169069" y="1227296"/>
                      <a:pt x="168116" y="1224439"/>
                    </a:cubicBezTo>
                    <a:cubicBezTo>
                      <a:pt x="172879" y="1223486"/>
                      <a:pt x="176689" y="1219676"/>
                      <a:pt x="176689" y="1213961"/>
                    </a:cubicBezTo>
                    <a:cubicBezTo>
                      <a:pt x="176689" y="1209199"/>
                      <a:pt x="173831" y="1206341"/>
                      <a:pt x="170021" y="1204436"/>
                    </a:cubicBezTo>
                    <a:cubicBezTo>
                      <a:pt x="176689" y="1198721"/>
                      <a:pt x="180499" y="1190149"/>
                      <a:pt x="180499" y="1181576"/>
                    </a:cubicBezTo>
                    <a:cubicBezTo>
                      <a:pt x="180499" y="1167289"/>
                      <a:pt x="170974" y="1155859"/>
                      <a:pt x="158591" y="1152049"/>
                    </a:cubicBezTo>
                    <a:cubicBezTo>
                      <a:pt x="160496" y="1152049"/>
                      <a:pt x="162401" y="1153001"/>
                      <a:pt x="165259" y="1153001"/>
                    </a:cubicBezTo>
                    <a:cubicBezTo>
                      <a:pt x="166211" y="1153001"/>
                      <a:pt x="167164" y="1153001"/>
                      <a:pt x="169069" y="1153001"/>
                    </a:cubicBezTo>
                    <a:cubicBezTo>
                      <a:pt x="169069" y="1153001"/>
                      <a:pt x="169069" y="1153001"/>
                      <a:pt x="169069" y="1153001"/>
                    </a:cubicBezTo>
                    <a:cubicBezTo>
                      <a:pt x="169069" y="1157764"/>
                      <a:pt x="172879" y="1161574"/>
                      <a:pt x="177641" y="1161574"/>
                    </a:cubicBezTo>
                    <a:cubicBezTo>
                      <a:pt x="177641" y="1161574"/>
                      <a:pt x="177641" y="1161574"/>
                      <a:pt x="178594" y="1161574"/>
                    </a:cubicBezTo>
                    <a:cubicBezTo>
                      <a:pt x="178594" y="1161574"/>
                      <a:pt x="178594" y="1161574"/>
                      <a:pt x="178594" y="1162526"/>
                    </a:cubicBezTo>
                    <a:cubicBezTo>
                      <a:pt x="178594" y="1170146"/>
                      <a:pt x="182404" y="1176814"/>
                      <a:pt x="188119" y="1180624"/>
                    </a:cubicBezTo>
                    <a:cubicBezTo>
                      <a:pt x="186214" y="1184434"/>
                      <a:pt x="185261" y="1188244"/>
                      <a:pt x="185261" y="1193006"/>
                    </a:cubicBezTo>
                    <a:cubicBezTo>
                      <a:pt x="185261" y="1207294"/>
                      <a:pt x="195739" y="1219676"/>
                      <a:pt x="210026" y="1221581"/>
                    </a:cubicBezTo>
                    <a:cubicBezTo>
                      <a:pt x="207169" y="1222534"/>
                      <a:pt x="205264" y="1226344"/>
                      <a:pt x="205264" y="1229201"/>
                    </a:cubicBezTo>
                    <a:cubicBezTo>
                      <a:pt x="205264" y="1233964"/>
                      <a:pt x="209074" y="1237774"/>
                      <a:pt x="213836" y="1237774"/>
                    </a:cubicBezTo>
                    <a:cubicBezTo>
                      <a:pt x="218599" y="1237774"/>
                      <a:pt x="222409" y="1233964"/>
                      <a:pt x="222409" y="1229201"/>
                    </a:cubicBezTo>
                    <a:cubicBezTo>
                      <a:pt x="222409" y="1225391"/>
                      <a:pt x="220504" y="1222534"/>
                      <a:pt x="217646" y="1221581"/>
                    </a:cubicBezTo>
                    <a:cubicBezTo>
                      <a:pt x="218599" y="1221581"/>
                      <a:pt x="218599" y="1221581"/>
                      <a:pt x="219551" y="1221581"/>
                    </a:cubicBezTo>
                    <a:cubicBezTo>
                      <a:pt x="221456" y="1222534"/>
                      <a:pt x="223361" y="1223486"/>
                      <a:pt x="226219" y="1223486"/>
                    </a:cubicBezTo>
                    <a:cubicBezTo>
                      <a:pt x="233839" y="1223486"/>
                      <a:pt x="239554" y="1217771"/>
                      <a:pt x="239554" y="1210151"/>
                    </a:cubicBezTo>
                    <a:cubicBezTo>
                      <a:pt x="239554" y="1210151"/>
                      <a:pt x="239554" y="1209199"/>
                      <a:pt x="239554" y="1209199"/>
                    </a:cubicBezTo>
                    <a:cubicBezTo>
                      <a:pt x="242411" y="1205389"/>
                      <a:pt x="243364" y="1201579"/>
                      <a:pt x="244316" y="1196816"/>
                    </a:cubicBezTo>
                    <a:cubicBezTo>
                      <a:pt x="245269" y="1196816"/>
                      <a:pt x="245269" y="1196816"/>
                      <a:pt x="246221" y="1196816"/>
                    </a:cubicBezTo>
                    <a:cubicBezTo>
                      <a:pt x="250984" y="1196816"/>
                      <a:pt x="254794" y="1193006"/>
                      <a:pt x="254794" y="1188244"/>
                    </a:cubicBezTo>
                    <a:cubicBezTo>
                      <a:pt x="254794" y="1185386"/>
                      <a:pt x="252889" y="1183481"/>
                      <a:pt x="250984" y="1181576"/>
                    </a:cubicBezTo>
                    <a:cubicBezTo>
                      <a:pt x="255746" y="1180624"/>
                      <a:pt x="259556" y="1176814"/>
                      <a:pt x="259556" y="1172051"/>
                    </a:cubicBezTo>
                    <a:cubicBezTo>
                      <a:pt x="259556" y="1167289"/>
                      <a:pt x="256699" y="1164431"/>
                      <a:pt x="252889" y="1162526"/>
                    </a:cubicBezTo>
                    <a:cubicBezTo>
                      <a:pt x="254794" y="1159669"/>
                      <a:pt x="255746" y="1156811"/>
                      <a:pt x="255746" y="1153001"/>
                    </a:cubicBezTo>
                    <a:cubicBezTo>
                      <a:pt x="255746" y="1144429"/>
                      <a:pt x="249079" y="1136809"/>
                      <a:pt x="239554" y="1136809"/>
                    </a:cubicBezTo>
                    <a:cubicBezTo>
                      <a:pt x="230981" y="1136809"/>
                      <a:pt x="223361" y="1143476"/>
                      <a:pt x="223361" y="1153001"/>
                    </a:cubicBezTo>
                    <a:cubicBezTo>
                      <a:pt x="223361" y="1161574"/>
                      <a:pt x="230029" y="1169194"/>
                      <a:pt x="239554" y="1169194"/>
                    </a:cubicBezTo>
                    <a:cubicBezTo>
                      <a:pt x="239554" y="1169194"/>
                      <a:pt x="240506" y="1169194"/>
                      <a:pt x="240506" y="1169194"/>
                    </a:cubicBezTo>
                    <a:cubicBezTo>
                      <a:pt x="240506" y="1170146"/>
                      <a:pt x="239554" y="1171099"/>
                      <a:pt x="239554" y="1172051"/>
                    </a:cubicBezTo>
                    <a:cubicBezTo>
                      <a:pt x="239554" y="1175861"/>
                      <a:pt x="241459" y="1178719"/>
                      <a:pt x="244316" y="1180624"/>
                    </a:cubicBezTo>
                    <a:cubicBezTo>
                      <a:pt x="243364" y="1180624"/>
                      <a:pt x="242411" y="1180624"/>
                      <a:pt x="241459" y="1181576"/>
                    </a:cubicBezTo>
                    <a:cubicBezTo>
                      <a:pt x="237649" y="1173956"/>
                      <a:pt x="231934" y="1168241"/>
                      <a:pt x="223361" y="1165384"/>
                    </a:cubicBezTo>
                    <a:cubicBezTo>
                      <a:pt x="223361" y="1164431"/>
                      <a:pt x="223361" y="1163479"/>
                      <a:pt x="223361" y="1162526"/>
                    </a:cubicBezTo>
                    <a:cubicBezTo>
                      <a:pt x="223361" y="1150144"/>
                      <a:pt x="213836" y="1140619"/>
                      <a:pt x="201454" y="1140619"/>
                    </a:cubicBezTo>
                    <a:cubicBezTo>
                      <a:pt x="197644" y="1140619"/>
                      <a:pt x="193834" y="1141571"/>
                      <a:pt x="190976" y="1143476"/>
                    </a:cubicBezTo>
                    <a:cubicBezTo>
                      <a:pt x="196691" y="1136809"/>
                      <a:pt x="201454" y="1128236"/>
                      <a:pt x="201454" y="1118711"/>
                    </a:cubicBezTo>
                    <a:cubicBezTo>
                      <a:pt x="201454" y="1115854"/>
                      <a:pt x="201454" y="1113949"/>
                      <a:pt x="200501" y="1111091"/>
                    </a:cubicBezTo>
                    <a:cubicBezTo>
                      <a:pt x="203359" y="1111091"/>
                      <a:pt x="205264" y="1108234"/>
                      <a:pt x="205264" y="1105376"/>
                    </a:cubicBezTo>
                    <a:cubicBezTo>
                      <a:pt x="205264" y="1102519"/>
                      <a:pt x="202406" y="1099661"/>
                      <a:pt x="199549" y="1099661"/>
                    </a:cubicBezTo>
                    <a:cubicBezTo>
                      <a:pt x="198596" y="1099661"/>
                      <a:pt x="197644" y="1099661"/>
                      <a:pt x="196691" y="1100614"/>
                    </a:cubicBezTo>
                    <a:cubicBezTo>
                      <a:pt x="195739" y="1098709"/>
                      <a:pt x="194786" y="1097756"/>
                      <a:pt x="193834" y="1096804"/>
                    </a:cubicBezTo>
                    <a:cubicBezTo>
                      <a:pt x="200501" y="1093946"/>
                      <a:pt x="205264" y="1088231"/>
                      <a:pt x="207169" y="1081564"/>
                    </a:cubicBezTo>
                    <a:cubicBezTo>
                      <a:pt x="219551" y="1077754"/>
                      <a:pt x="228124" y="1066324"/>
                      <a:pt x="228124" y="1052989"/>
                    </a:cubicBezTo>
                    <a:cubicBezTo>
                      <a:pt x="228124" y="1051084"/>
                      <a:pt x="228124" y="1049179"/>
                      <a:pt x="227171" y="1048226"/>
                    </a:cubicBezTo>
                    <a:cubicBezTo>
                      <a:pt x="230029" y="1049179"/>
                      <a:pt x="232886" y="1050131"/>
                      <a:pt x="236696" y="1050131"/>
                    </a:cubicBezTo>
                    <a:cubicBezTo>
                      <a:pt x="245269" y="1050131"/>
                      <a:pt x="251936" y="1047274"/>
                      <a:pt x="257651" y="1042511"/>
                    </a:cubicBezTo>
                    <a:cubicBezTo>
                      <a:pt x="259556" y="1043464"/>
                      <a:pt x="261461" y="1043464"/>
                      <a:pt x="263366" y="1043464"/>
                    </a:cubicBezTo>
                    <a:cubicBezTo>
                      <a:pt x="273844" y="1043464"/>
                      <a:pt x="282416" y="1034891"/>
                      <a:pt x="282416" y="1024414"/>
                    </a:cubicBezTo>
                    <a:cubicBezTo>
                      <a:pt x="282416" y="1020604"/>
                      <a:pt x="281464" y="1016794"/>
                      <a:pt x="279559" y="1013936"/>
                    </a:cubicBezTo>
                    <a:cubicBezTo>
                      <a:pt x="287179" y="1012984"/>
                      <a:pt x="292894" y="1007269"/>
                      <a:pt x="295751" y="1000601"/>
                    </a:cubicBezTo>
                    <a:cubicBezTo>
                      <a:pt x="294799" y="1002506"/>
                      <a:pt x="294799" y="1004411"/>
                      <a:pt x="294799" y="1006316"/>
                    </a:cubicBezTo>
                    <a:cubicBezTo>
                      <a:pt x="294799" y="1007269"/>
                      <a:pt x="294799" y="1008221"/>
                      <a:pt x="294799" y="1009174"/>
                    </a:cubicBezTo>
                    <a:cubicBezTo>
                      <a:pt x="293846" y="1011079"/>
                      <a:pt x="293846" y="1012984"/>
                      <a:pt x="293846" y="1015841"/>
                    </a:cubicBezTo>
                    <a:cubicBezTo>
                      <a:pt x="293846" y="1019651"/>
                      <a:pt x="295751" y="1023461"/>
                      <a:pt x="297656" y="1026319"/>
                    </a:cubicBezTo>
                    <a:cubicBezTo>
                      <a:pt x="290036" y="1032034"/>
                      <a:pt x="284321" y="1040606"/>
                      <a:pt x="284321" y="1051084"/>
                    </a:cubicBezTo>
                    <a:cubicBezTo>
                      <a:pt x="284321" y="1052036"/>
                      <a:pt x="284321" y="1052036"/>
                      <a:pt x="284321" y="1052989"/>
                    </a:cubicBezTo>
                    <a:cubicBezTo>
                      <a:pt x="283369" y="1052036"/>
                      <a:pt x="281464" y="1052036"/>
                      <a:pt x="280511" y="1052036"/>
                    </a:cubicBezTo>
                    <a:cubicBezTo>
                      <a:pt x="273844" y="1052036"/>
                      <a:pt x="268129" y="1057751"/>
                      <a:pt x="268129" y="1064419"/>
                    </a:cubicBezTo>
                    <a:cubicBezTo>
                      <a:pt x="268129" y="1070134"/>
                      <a:pt x="271939" y="1074896"/>
                      <a:pt x="277654" y="1075849"/>
                    </a:cubicBezTo>
                    <a:cubicBezTo>
                      <a:pt x="277654" y="1075849"/>
                      <a:pt x="277654" y="1076801"/>
                      <a:pt x="277654" y="1076801"/>
                    </a:cubicBezTo>
                    <a:cubicBezTo>
                      <a:pt x="277654" y="1086326"/>
                      <a:pt x="285274" y="1094899"/>
                      <a:pt x="295751" y="1094899"/>
                    </a:cubicBezTo>
                    <a:cubicBezTo>
                      <a:pt x="298609" y="1094899"/>
                      <a:pt x="300514" y="1093946"/>
                      <a:pt x="303371" y="1092994"/>
                    </a:cubicBezTo>
                    <a:cubicBezTo>
                      <a:pt x="301466" y="1094899"/>
                      <a:pt x="300514" y="1097756"/>
                      <a:pt x="300514" y="1100614"/>
                    </a:cubicBezTo>
                    <a:cubicBezTo>
                      <a:pt x="300514" y="1104424"/>
                      <a:pt x="301466" y="1107281"/>
                      <a:pt x="304324" y="1110139"/>
                    </a:cubicBezTo>
                    <a:cubicBezTo>
                      <a:pt x="304324" y="1110139"/>
                      <a:pt x="303371" y="1110139"/>
                      <a:pt x="303371" y="1110139"/>
                    </a:cubicBezTo>
                    <a:cubicBezTo>
                      <a:pt x="285274" y="1110139"/>
                      <a:pt x="270986" y="1124426"/>
                      <a:pt x="270986" y="1142524"/>
                    </a:cubicBezTo>
                    <a:cubicBezTo>
                      <a:pt x="270986" y="1153954"/>
                      <a:pt x="276701" y="1163479"/>
                      <a:pt x="285274" y="1169194"/>
                    </a:cubicBezTo>
                    <a:cubicBezTo>
                      <a:pt x="286226" y="1171099"/>
                      <a:pt x="287179" y="1173004"/>
                      <a:pt x="288131" y="1174909"/>
                    </a:cubicBezTo>
                    <a:cubicBezTo>
                      <a:pt x="283369" y="1179671"/>
                      <a:pt x="280511" y="1187291"/>
                      <a:pt x="280511" y="1193959"/>
                    </a:cubicBezTo>
                    <a:cubicBezTo>
                      <a:pt x="272891" y="1194911"/>
                      <a:pt x="266224" y="1201579"/>
                      <a:pt x="266224" y="1210151"/>
                    </a:cubicBezTo>
                    <a:cubicBezTo>
                      <a:pt x="266224" y="1213009"/>
                      <a:pt x="267176" y="1216819"/>
                      <a:pt x="269081" y="1218724"/>
                    </a:cubicBezTo>
                    <a:cubicBezTo>
                      <a:pt x="265271" y="1217771"/>
                      <a:pt x="262414" y="1216819"/>
                      <a:pt x="258604" y="1216819"/>
                    </a:cubicBezTo>
                    <a:cubicBezTo>
                      <a:pt x="241459" y="1216819"/>
                      <a:pt x="227171" y="1231106"/>
                      <a:pt x="227171" y="1248251"/>
                    </a:cubicBezTo>
                    <a:cubicBezTo>
                      <a:pt x="227171" y="1265396"/>
                      <a:pt x="241459" y="1279684"/>
                      <a:pt x="258604" y="1279684"/>
                    </a:cubicBezTo>
                    <a:cubicBezTo>
                      <a:pt x="270034" y="1279684"/>
                      <a:pt x="279559" y="1273969"/>
                      <a:pt x="285274" y="1264444"/>
                    </a:cubicBezTo>
                    <a:cubicBezTo>
                      <a:pt x="288131" y="1265396"/>
                      <a:pt x="290989" y="1266349"/>
                      <a:pt x="293846" y="1266349"/>
                    </a:cubicBezTo>
                    <a:cubicBezTo>
                      <a:pt x="303371" y="1266349"/>
                      <a:pt x="311944" y="1261586"/>
                      <a:pt x="316706" y="1253966"/>
                    </a:cubicBezTo>
                    <a:cubicBezTo>
                      <a:pt x="318611" y="1253014"/>
                      <a:pt x="320516" y="1251109"/>
                      <a:pt x="321469" y="1249204"/>
                    </a:cubicBezTo>
                    <a:cubicBezTo>
                      <a:pt x="321469" y="1254919"/>
                      <a:pt x="323374" y="1259681"/>
                      <a:pt x="326231" y="1263491"/>
                    </a:cubicBezTo>
                    <a:cubicBezTo>
                      <a:pt x="326231" y="1263491"/>
                      <a:pt x="326231" y="1264444"/>
                      <a:pt x="326231" y="1264444"/>
                    </a:cubicBezTo>
                    <a:cubicBezTo>
                      <a:pt x="326231" y="1268254"/>
                      <a:pt x="327184" y="1272064"/>
                      <a:pt x="328136" y="1275874"/>
                    </a:cubicBezTo>
                    <a:cubicBezTo>
                      <a:pt x="325279" y="1278731"/>
                      <a:pt x="323374" y="1281589"/>
                      <a:pt x="322421" y="1285399"/>
                    </a:cubicBezTo>
                    <a:cubicBezTo>
                      <a:pt x="319564" y="1282541"/>
                      <a:pt x="315754" y="1280636"/>
                      <a:pt x="310991" y="1279684"/>
                    </a:cubicBezTo>
                    <a:cubicBezTo>
                      <a:pt x="310991" y="1275874"/>
                      <a:pt x="308134" y="1273016"/>
                      <a:pt x="304324" y="1273016"/>
                    </a:cubicBezTo>
                    <a:cubicBezTo>
                      <a:pt x="300514" y="1273016"/>
                      <a:pt x="297656" y="1275874"/>
                      <a:pt x="297656" y="1279684"/>
                    </a:cubicBezTo>
                    <a:cubicBezTo>
                      <a:pt x="297656" y="1281589"/>
                      <a:pt x="298609" y="1282541"/>
                      <a:pt x="299561" y="1284446"/>
                    </a:cubicBezTo>
                    <a:cubicBezTo>
                      <a:pt x="296704" y="1287304"/>
                      <a:pt x="294799" y="1292066"/>
                      <a:pt x="294799" y="1296829"/>
                    </a:cubicBezTo>
                    <a:cubicBezTo>
                      <a:pt x="294799" y="1300639"/>
                      <a:pt x="295751" y="1304449"/>
                      <a:pt x="298609" y="1307306"/>
                    </a:cubicBezTo>
                    <a:cubicBezTo>
                      <a:pt x="298609" y="1307306"/>
                      <a:pt x="298609" y="1307306"/>
                      <a:pt x="298609" y="1307306"/>
                    </a:cubicBezTo>
                    <a:cubicBezTo>
                      <a:pt x="298609" y="1312069"/>
                      <a:pt x="302419" y="1316831"/>
                      <a:pt x="308134" y="1316831"/>
                    </a:cubicBezTo>
                    <a:cubicBezTo>
                      <a:pt x="310991" y="1316831"/>
                      <a:pt x="312896" y="1315879"/>
                      <a:pt x="314801" y="1313974"/>
                    </a:cubicBezTo>
                    <a:cubicBezTo>
                      <a:pt x="320516" y="1313021"/>
                      <a:pt x="326231" y="1308259"/>
                      <a:pt x="328136" y="1302544"/>
                    </a:cubicBezTo>
                    <a:cubicBezTo>
                      <a:pt x="331946" y="1307306"/>
                      <a:pt x="336709" y="1310164"/>
                      <a:pt x="343376" y="1310164"/>
                    </a:cubicBezTo>
                    <a:cubicBezTo>
                      <a:pt x="347186" y="1310164"/>
                      <a:pt x="350996" y="1309211"/>
                      <a:pt x="353854" y="1306354"/>
                    </a:cubicBezTo>
                    <a:cubicBezTo>
                      <a:pt x="353854" y="1306354"/>
                      <a:pt x="353854" y="1307306"/>
                      <a:pt x="353854" y="1307306"/>
                    </a:cubicBezTo>
                    <a:cubicBezTo>
                      <a:pt x="353854" y="1315879"/>
                      <a:pt x="360521" y="1322546"/>
                      <a:pt x="369094" y="1322546"/>
                    </a:cubicBezTo>
                    <a:cubicBezTo>
                      <a:pt x="371951" y="1322546"/>
                      <a:pt x="373856" y="1321594"/>
                      <a:pt x="376714" y="1320641"/>
                    </a:cubicBezTo>
                    <a:cubicBezTo>
                      <a:pt x="378619" y="1322546"/>
                      <a:pt x="381476" y="1323499"/>
                      <a:pt x="384334" y="1323499"/>
                    </a:cubicBezTo>
                    <a:cubicBezTo>
                      <a:pt x="391001" y="1323499"/>
                      <a:pt x="396716" y="1317784"/>
                      <a:pt x="396716" y="1311116"/>
                    </a:cubicBezTo>
                    <a:cubicBezTo>
                      <a:pt x="396716" y="1310164"/>
                      <a:pt x="396716" y="1310164"/>
                      <a:pt x="396716" y="1309211"/>
                    </a:cubicBezTo>
                    <a:cubicBezTo>
                      <a:pt x="402431" y="1306354"/>
                      <a:pt x="406241" y="1300639"/>
                      <a:pt x="406241" y="1293971"/>
                    </a:cubicBezTo>
                    <a:cubicBezTo>
                      <a:pt x="406241" y="1287304"/>
                      <a:pt x="402431" y="1281589"/>
                      <a:pt x="397669" y="1278731"/>
                    </a:cubicBezTo>
                    <a:cubicBezTo>
                      <a:pt x="397669" y="1278731"/>
                      <a:pt x="397669" y="1278731"/>
                      <a:pt x="397669" y="1278731"/>
                    </a:cubicBezTo>
                    <a:cubicBezTo>
                      <a:pt x="399574" y="1279684"/>
                      <a:pt x="401479" y="1280636"/>
                      <a:pt x="404336" y="1280636"/>
                    </a:cubicBezTo>
                    <a:cubicBezTo>
                      <a:pt x="405289" y="1280636"/>
                      <a:pt x="407194" y="1280636"/>
                      <a:pt x="408146" y="1279684"/>
                    </a:cubicBezTo>
                    <a:cubicBezTo>
                      <a:pt x="411956" y="1283494"/>
                      <a:pt x="415766" y="1287304"/>
                      <a:pt x="421481" y="1288256"/>
                    </a:cubicBezTo>
                    <a:cubicBezTo>
                      <a:pt x="424339" y="1293971"/>
                      <a:pt x="431006" y="1296829"/>
                      <a:pt x="437674" y="1296829"/>
                    </a:cubicBezTo>
                    <a:cubicBezTo>
                      <a:pt x="448151" y="1296829"/>
                      <a:pt x="456724" y="1288256"/>
                      <a:pt x="456724" y="1277779"/>
                    </a:cubicBezTo>
                    <a:cubicBezTo>
                      <a:pt x="456724" y="1277779"/>
                      <a:pt x="456724" y="1276826"/>
                      <a:pt x="456724" y="1276826"/>
                    </a:cubicBezTo>
                    <a:cubicBezTo>
                      <a:pt x="460534" y="1279684"/>
                      <a:pt x="465296" y="1282541"/>
                      <a:pt x="471011" y="1284446"/>
                    </a:cubicBezTo>
                    <a:cubicBezTo>
                      <a:pt x="473869" y="1288256"/>
                      <a:pt x="479584" y="1291114"/>
                      <a:pt x="485299" y="1291114"/>
                    </a:cubicBezTo>
                    <a:cubicBezTo>
                      <a:pt x="491014" y="1291114"/>
                      <a:pt x="496729" y="1288256"/>
                      <a:pt x="499586" y="1283494"/>
                    </a:cubicBezTo>
                    <a:cubicBezTo>
                      <a:pt x="499586" y="1283494"/>
                      <a:pt x="500539" y="1284446"/>
                      <a:pt x="500539" y="1284446"/>
                    </a:cubicBezTo>
                    <a:cubicBezTo>
                      <a:pt x="499586" y="1285399"/>
                      <a:pt x="499586" y="1285399"/>
                      <a:pt x="498634" y="1286351"/>
                    </a:cubicBezTo>
                    <a:cubicBezTo>
                      <a:pt x="494824" y="1288256"/>
                      <a:pt x="491014" y="1293019"/>
                      <a:pt x="491014" y="1297781"/>
                    </a:cubicBezTo>
                    <a:cubicBezTo>
                      <a:pt x="486251" y="1301591"/>
                      <a:pt x="483394" y="1307306"/>
                      <a:pt x="483394" y="1313974"/>
                    </a:cubicBezTo>
                    <a:cubicBezTo>
                      <a:pt x="481489" y="1314926"/>
                      <a:pt x="478631" y="1315879"/>
                      <a:pt x="477679" y="1317784"/>
                    </a:cubicBezTo>
                    <a:cubicBezTo>
                      <a:pt x="475774" y="1316831"/>
                      <a:pt x="473869" y="1315879"/>
                      <a:pt x="471011" y="1315879"/>
                    </a:cubicBezTo>
                    <a:cubicBezTo>
                      <a:pt x="463391" y="1315879"/>
                      <a:pt x="457676" y="1321594"/>
                      <a:pt x="457676" y="1329214"/>
                    </a:cubicBezTo>
                    <a:cubicBezTo>
                      <a:pt x="457676" y="1336834"/>
                      <a:pt x="463391" y="1342549"/>
                      <a:pt x="471011" y="1342549"/>
                    </a:cubicBezTo>
                    <a:cubicBezTo>
                      <a:pt x="472916" y="1342549"/>
                      <a:pt x="473869" y="1342549"/>
                      <a:pt x="475774" y="1341596"/>
                    </a:cubicBezTo>
                    <a:cubicBezTo>
                      <a:pt x="475774" y="1341596"/>
                      <a:pt x="475774" y="1341596"/>
                      <a:pt x="475774" y="1341596"/>
                    </a:cubicBezTo>
                    <a:cubicBezTo>
                      <a:pt x="465296" y="1344454"/>
                      <a:pt x="456724" y="1352074"/>
                      <a:pt x="451961" y="1361599"/>
                    </a:cubicBezTo>
                    <a:cubicBezTo>
                      <a:pt x="450056" y="1359694"/>
                      <a:pt x="447199" y="1357789"/>
                      <a:pt x="444341" y="1356836"/>
                    </a:cubicBezTo>
                    <a:cubicBezTo>
                      <a:pt x="445294" y="1354931"/>
                      <a:pt x="446246" y="1352074"/>
                      <a:pt x="446246" y="1349216"/>
                    </a:cubicBezTo>
                    <a:cubicBezTo>
                      <a:pt x="446246" y="1339691"/>
                      <a:pt x="438626" y="1333024"/>
                      <a:pt x="430054" y="1333024"/>
                    </a:cubicBezTo>
                    <a:cubicBezTo>
                      <a:pt x="425291" y="1333024"/>
                      <a:pt x="421481" y="1334929"/>
                      <a:pt x="417671" y="1337786"/>
                    </a:cubicBezTo>
                    <a:cubicBezTo>
                      <a:pt x="415766" y="1334929"/>
                      <a:pt x="411956" y="1333024"/>
                      <a:pt x="408146" y="1333024"/>
                    </a:cubicBezTo>
                    <a:cubicBezTo>
                      <a:pt x="401479" y="1333024"/>
                      <a:pt x="395764" y="1338739"/>
                      <a:pt x="395764" y="1345406"/>
                    </a:cubicBezTo>
                    <a:cubicBezTo>
                      <a:pt x="395764" y="1350169"/>
                      <a:pt x="398621" y="1353979"/>
                      <a:pt x="401479" y="1355884"/>
                    </a:cubicBezTo>
                    <a:cubicBezTo>
                      <a:pt x="392906" y="1358741"/>
                      <a:pt x="386239" y="1366361"/>
                      <a:pt x="386239" y="1375886"/>
                    </a:cubicBezTo>
                    <a:cubicBezTo>
                      <a:pt x="386239" y="1376839"/>
                      <a:pt x="386239" y="1377791"/>
                      <a:pt x="386239" y="1379696"/>
                    </a:cubicBezTo>
                    <a:cubicBezTo>
                      <a:pt x="385286" y="1382554"/>
                      <a:pt x="385286" y="1384459"/>
                      <a:pt x="384334" y="1387316"/>
                    </a:cubicBezTo>
                    <a:cubicBezTo>
                      <a:pt x="382429" y="1389221"/>
                      <a:pt x="380524" y="1392079"/>
                      <a:pt x="379571" y="1394936"/>
                    </a:cubicBezTo>
                    <a:cubicBezTo>
                      <a:pt x="379571" y="1394936"/>
                      <a:pt x="378619" y="1394936"/>
                      <a:pt x="378619" y="1394936"/>
                    </a:cubicBezTo>
                    <a:cubicBezTo>
                      <a:pt x="378619" y="1394936"/>
                      <a:pt x="378619" y="1394936"/>
                      <a:pt x="378619" y="1394936"/>
                    </a:cubicBezTo>
                    <a:cubicBezTo>
                      <a:pt x="378619" y="1393031"/>
                      <a:pt x="379571" y="1391126"/>
                      <a:pt x="379571" y="1389221"/>
                    </a:cubicBezTo>
                    <a:cubicBezTo>
                      <a:pt x="379571" y="1388269"/>
                      <a:pt x="379571" y="1387316"/>
                      <a:pt x="379571" y="1386364"/>
                    </a:cubicBezTo>
                    <a:cubicBezTo>
                      <a:pt x="383381" y="1383506"/>
                      <a:pt x="386239" y="1379696"/>
                      <a:pt x="386239" y="1373981"/>
                    </a:cubicBezTo>
                    <a:cubicBezTo>
                      <a:pt x="386239" y="1366361"/>
                      <a:pt x="379571" y="1359694"/>
                      <a:pt x="371951" y="1359694"/>
                    </a:cubicBezTo>
                    <a:cubicBezTo>
                      <a:pt x="367189" y="1359694"/>
                      <a:pt x="363379" y="1361599"/>
                      <a:pt x="360521" y="1365409"/>
                    </a:cubicBezTo>
                    <a:cubicBezTo>
                      <a:pt x="358616" y="1364456"/>
                      <a:pt x="356711" y="1364456"/>
                      <a:pt x="354806" y="1364456"/>
                    </a:cubicBezTo>
                    <a:cubicBezTo>
                      <a:pt x="349091" y="1364456"/>
                      <a:pt x="343376" y="1366361"/>
                      <a:pt x="339566" y="1370171"/>
                    </a:cubicBezTo>
                    <a:cubicBezTo>
                      <a:pt x="337661" y="1367314"/>
                      <a:pt x="333851" y="1365409"/>
                      <a:pt x="330041" y="1365409"/>
                    </a:cubicBezTo>
                    <a:cubicBezTo>
                      <a:pt x="324326" y="1365409"/>
                      <a:pt x="320516" y="1369219"/>
                      <a:pt x="318611" y="1373981"/>
                    </a:cubicBezTo>
                    <a:cubicBezTo>
                      <a:pt x="316706" y="1374934"/>
                      <a:pt x="314801" y="1375886"/>
                      <a:pt x="313849" y="1377791"/>
                    </a:cubicBezTo>
                    <a:cubicBezTo>
                      <a:pt x="311944" y="1376839"/>
                      <a:pt x="310039" y="1376839"/>
                      <a:pt x="308134" y="1376839"/>
                    </a:cubicBezTo>
                    <a:cubicBezTo>
                      <a:pt x="301466" y="1376839"/>
                      <a:pt x="295751" y="1382554"/>
                      <a:pt x="295751" y="1389221"/>
                    </a:cubicBezTo>
                    <a:cubicBezTo>
                      <a:pt x="295751" y="1395889"/>
                      <a:pt x="301466" y="1401604"/>
                      <a:pt x="308134" y="1401604"/>
                    </a:cubicBezTo>
                    <a:cubicBezTo>
                      <a:pt x="314801" y="1401604"/>
                      <a:pt x="319564" y="1396841"/>
                      <a:pt x="320516" y="1390174"/>
                    </a:cubicBezTo>
                    <a:cubicBezTo>
                      <a:pt x="320516" y="1390174"/>
                      <a:pt x="320516" y="1390174"/>
                      <a:pt x="320516" y="1390174"/>
                    </a:cubicBezTo>
                    <a:cubicBezTo>
                      <a:pt x="322421" y="1390174"/>
                      <a:pt x="324326" y="1389221"/>
                      <a:pt x="325279" y="1388269"/>
                    </a:cubicBezTo>
                    <a:cubicBezTo>
                      <a:pt x="326231" y="1388269"/>
                      <a:pt x="328136" y="1389221"/>
                      <a:pt x="329089" y="1389221"/>
                    </a:cubicBezTo>
                    <a:cubicBezTo>
                      <a:pt x="329089" y="1389221"/>
                      <a:pt x="329089" y="1389221"/>
                      <a:pt x="329089" y="1390174"/>
                    </a:cubicBezTo>
                    <a:cubicBezTo>
                      <a:pt x="329089" y="1401604"/>
                      <a:pt x="336709" y="1411129"/>
                      <a:pt x="347186" y="1413986"/>
                    </a:cubicBezTo>
                    <a:cubicBezTo>
                      <a:pt x="347186" y="1414939"/>
                      <a:pt x="346234" y="1415891"/>
                      <a:pt x="346234" y="1417796"/>
                    </a:cubicBezTo>
                    <a:cubicBezTo>
                      <a:pt x="346234" y="1418749"/>
                      <a:pt x="346234" y="1419701"/>
                      <a:pt x="347186" y="1420654"/>
                    </a:cubicBezTo>
                    <a:cubicBezTo>
                      <a:pt x="345281" y="1424464"/>
                      <a:pt x="343376" y="1428274"/>
                      <a:pt x="343376" y="1433036"/>
                    </a:cubicBezTo>
                    <a:cubicBezTo>
                      <a:pt x="343376" y="1437799"/>
                      <a:pt x="344329" y="1442561"/>
                      <a:pt x="347186" y="1446371"/>
                    </a:cubicBezTo>
                    <a:cubicBezTo>
                      <a:pt x="339566" y="1447324"/>
                      <a:pt x="334804" y="1453991"/>
                      <a:pt x="334804" y="1461611"/>
                    </a:cubicBezTo>
                    <a:cubicBezTo>
                      <a:pt x="334804" y="1470184"/>
                      <a:pt x="341471" y="1476851"/>
                      <a:pt x="350044" y="1476851"/>
                    </a:cubicBezTo>
                    <a:cubicBezTo>
                      <a:pt x="353854" y="1476851"/>
                      <a:pt x="356711" y="1475899"/>
                      <a:pt x="359569" y="1473994"/>
                    </a:cubicBezTo>
                    <a:cubicBezTo>
                      <a:pt x="363379" y="1480661"/>
                      <a:pt x="370046" y="1484471"/>
                      <a:pt x="377666" y="1486376"/>
                    </a:cubicBezTo>
                    <a:cubicBezTo>
                      <a:pt x="379571" y="1490186"/>
                      <a:pt x="383381" y="1492091"/>
                      <a:pt x="388144" y="1492091"/>
                    </a:cubicBezTo>
                    <a:cubicBezTo>
                      <a:pt x="394811" y="1492091"/>
                      <a:pt x="400526" y="1486376"/>
                      <a:pt x="400526" y="1479709"/>
                    </a:cubicBezTo>
                    <a:cubicBezTo>
                      <a:pt x="400526" y="1478756"/>
                      <a:pt x="400526" y="1478756"/>
                      <a:pt x="400526" y="1478756"/>
                    </a:cubicBezTo>
                    <a:cubicBezTo>
                      <a:pt x="405289" y="1473994"/>
                      <a:pt x="408146" y="1468279"/>
                      <a:pt x="408146" y="1460659"/>
                    </a:cubicBezTo>
                    <a:cubicBezTo>
                      <a:pt x="408146" y="1451134"/>
                      <a:pt x="403384" y="1443514"/>
                      <a:pt x="396716" y="1438751"/>
                    </a:cubicBezTo>
                    <a:cubicBezTo>
                      <a:pt x="396716" y="1436846"/>
                      <a:pt x="397669" y="1435894"/>
                      <a:pt x="397669" y="1433989"/>
                    </a:cubicBezTo>
                    <a:cubicBezTo>
                      <a:pt x="397669" y="1431131"/>
                      <a:pt x="396716" y="1428274"/>
                      <a:pt x="395764" y="1425416"/>
                    </a:cubicBezTo>
                    <a:cubicBezTo>
                      <a:pt x="396716" y="1424464"/>
                      <a:pt x="396716" y="1422559"/>
                      <a:pt x="396716" y="1420654"/>
                    </a:cubicBezTo>
                    <a:cubicBezTo>
                      <a:pt x="396716" y="1420654"/>
                      <a:pt x="396716" y="1420654"/>
                      <a:pt x="396716" y="1420654"/>
                    </a:cubicBezTo>
                    <a:cubicBezTo>
                      <a:pt x="397669" y="1421606"/>
                      <a:pt x="398621" y="1422559"/>
                      <a:pt x="399574" y="1423511"/>
                    </a:cubicBezTo>
                    <a:cubicBezTo>
                      <a:pt x="397669" y="1425416"/>
                      <a:pt x="395764" y="1428274"/>
                      <a:pt x="395764" y="1431131"/>
                    </a:cubicBezTo>
                    <a:cubicBezTo>
                      <a:pt x="395764" y="1436846"/>
                      <a:pt x="400526" y="1441609"/>
                      <a:pt x="406241" y="1441609"/>
                    </a:cubicBezTo>
                    <a:cubicBezTo>
                      <a:pt x="411956" y="1441609"/>
                      <a:pt x="415766" y="1437799"/>
                      <a:pt x="416719" y="1432084"/>
                    </a:cubicBezTo>
                    <a:cubicBezTo>
                      <a:pt x="418624" y="1432084"/>
                      <a:pt x="420529" y="1433036"/>
                      <a:pt x="422434" y="1433036"/>
                    </a:cubicBezTo>
                    <a:cubicBezTo>
                      <a:pt x="421481" y="1434941"/>
                      <a:pt x="420529" y="1437799"/>
                      <a:pt x="420529" y="1440656"/>
                    </a:cubicBezTo>
                    <a:cubicBezTo>
                      <a:pt x="420529" y="1446371"/>
                      <a:pt x="423386" y="1451134"/>
                      <a:pt x="427196" y="1454944"/>
                    </a:cubicBezTo>
                    <a:cubicBezTo>
                      <a:pt x="421481" y="1457801"/>
                      <a:pt x="417671" y="1463516"/>
                      <a:pt x="417671" y="1471136"/>
                    </a:cubicBezTo>
                    <a:cubicBezTo>
                      <a:pt x="417671" y="1473994"/>
                      <a:pt x="418624" y="1476851"/>
                      <a:pt x="419576" y="1478756"/>
                    </a:cubicBezTo>
                    <a:cubicBezTo>
                      <a:pt x="413861" y="1478756"/>
                      <a:pt x="408146" y="1483519"/>
                      <a:pt x="408146" y="1490186"/>
                    </a:cubicBezTo>
                    <a:cubicBezTo>
                      <a:pt x="408146" y="1493044"/>
                      <a:pt x="410051" y="1496854"/>
                      <a:pt x="411956" y="1498759"/>
                    </a:cubicBezTo>
                    <a:cubicBezTo>
                      <a:pt x="411004" y="1499711"/>
                      <a:pt x="411004" y="1500664"/>
                      <a:pt x="411004" y="1502569"/>
                    </a:cubicBezTo>
                    <a:cubicBezTo>
                      <a:pt x="409099" y="1501616"/>
                      <a:pt x="407194" y="1500664"/>
                      <a:pt x="404336" y="1500664"/>
                    </a:cubicBezTo>
                    <a:cubicBezTo>
                      <a:pt x="398621" y="1500664"/>
                      <a:pt x="393859" y="1505426"/>
                      <a:pt x="393859" y="1511141"/>
                    </a:cubicBezTo>
                    <a:cubicBezTo>
                      <a:pt x="393859" y="1514951"/>
                      <a:pt x="395764" y="1517809"/>
                      <a:pt x="399574" y="1519714"/>
                    </a:cubicBezTo>
                    <a:cubicBezTo>
                      <a:pt x="392906" y="1521619"/>
                      <a:pt x="387191" y="1528286"/>
                      <a:pt x="387191" y="1535906"/>
                    </a:cubicBezTo>
                    <a:cubicBezTo>
                      <a:pt x="387191" y="1538764"/>
                      <a:pt x="388144" y="1541621"/>
                      <a:pt x="389096" y="1544479"/>
                    </a:cubicBezTo>
                    <a:cubicBezTo>
                      <a:pt x="387191" y="1544479"/>
                      <a:pt x="386239" y="1544479"/>
                      <a:pt x="384334" y="1545431"/>
                    </a:cubicBezTo>
                    <a:cubicBezTo>
                      <a:pt x="383381" y="1536859"/>
                      <a:pt x="375761" y="1530191"/>
                      <a:pt x="367189" y="1530191"/>
                    </a:cubicBezTo>
                    <a:cubicBezTo>
                      <a:pt x="357664" y="1530191"/>
                      <a:pt x="350044" y="1537811"/>
                      <a:pt x="350044" y="1547336"/>
                    </a:cubicBezTo>
                    <a:cubicBezTo>
                      <a:pt x="350044" y="1554956"/>
                      <a:pt x="354806" y="1560671"/>
                      <a:pt x="361474" y="1563529"/>
                    </a:cubicBezTo>
                    <a:cubicBezTo>
                      <a:pt x="360521" y="1565434"/>
                      <a:pt x="359569" y="1566386"/>
                      <a:pt x="359569" y="1568291"/>
                    </a:cubicBezTo>
                    <a:cubicBezTo>
                      <a:pt x="357664" y="1566386"/>
                      <a:pt x="355759" y="1565434"/>
                      <a:pt x="352901" y="1565434"/>
                    </a:cubicBezTo>
                    <a:cubicBezTo>
                      <a:pt x="348139" y="1565434"/>
                      <a:pt x="344329" y="1569244"/>
                      <a:pt x="344329" y="1574006"/>
                    </a:cubicBezTo>
                    <a:cubicBezTo>
                      <a:pt x="344329" y="1575911"/>
                      <a:pt x="345281" y="1577816"/>
                      <a:pt x="346234" y="1578769"/>
                    </a:cubicBezTo>
                    <a:cubicBezTo>
                      <a:pt x="341471" y="1582579"/>
                      <a:pt x="338614" y="1588294"/>
                      <a:pt x="338614" y="1594961"/>
                    </a:cubicBezTo>
                    <a:cubicBezTo>
                      <a:pt x="338614" y="1605439"/>
                      <a:pt x="347186" y="1614964"/>
                      <a:pt x="357664" y="1615916"/>
                    </a:cubicBezTo>
                    <a:cubicBezTo>
                      <a:pt x="358616" y="1617821"/>
                      <a:pt x="359569" y="1619726"/>
                      <a:pt x="361474" y="1620679"/>
                    </a:cubicBezTo>
                    <a:cubicBezTo>
                      <a:pt x="364331" y="1628299"/>
                      <a:pt x="369094" y="1634014"/>
                      <a:pt x="375761" y="1637824"/>
                    </a:cubicBezTo>
                    <a:cubicBezTo>
                      <a:pt x="375761" y="1638776"/>
                      <a:pt x="376714" y="1639729"/>
                      <a:pt x="376714" y="1640681"/>
                    </a:cubicBezTo>
                    <a:cubicBezTo>
                      <a:pt x="367189" y="1644491"/>
                      <a:pt x="358616" y="1653064"/>
                      <a:pt x="355759" y="1662589"/>
                    </a:cubicBezTo>
                    <a:cubicBezTo>
                      <a:pt x="353854" y="1660684"/>
                      <a:pt x="350996" y="1658779"/>
                      <a:pt x="347186" y="1657826"/>
                    </a:cubicBezTo>
                    <a:cubicBezTo>
                      <a:pt x="353854" y="1654016"/>
                      <a:pt x="358616" y="1646396"/>
                      <a:pt x="358616" y="1637824"/>
                    </a:cubicBezTo>
                    <a:cubicBezTo>
                      <a:pt x="358616" y="1627346"/>
                      <a:pt x="350996" y="1617821"/>
                      <a:pt x="341471" y="1614964"/>
                    </a:cubicBezTo>
                    <a:cubicBezTo>
                      <a:pt x="340519" y="1603534"/>
                      <a:pt x="333851" y="1594009"/>
                      <a:pt x="324326" y="1589246"/>
                    </a:cubicBezTo>
                    <a:cubicBezTo>
                      <a:pt x="323374" y="1586389"/>
                      <a:pt x="322421" y="1582579"/>
                      <a:pt x="321469" y="1579721"/>
                    </a:cubicBezTo>
                    <a:cubicBezTo>
                      <a:pt x="321469" y="1578769"/>
                      <a:pt x="322421" y="1577816"/>
                      <a:pt x="322421" y="1575911"/>
                    </a:cubicBezTo>
                    <a:cubicBezTo>
                      <a:pt x="322421" y="1569244"/>
                      <a:pt x="316706" y="1562576"/>
                      <a:pt x="309086" y="1562576"/>
                    </a:cubicBezTo>
                    <a:cubicBezTo>
                      <a:pt x="308134" y="1562576"/>
                      <a:pt x="307181" y="1562576"/>
                      <a:pt x="306229" y="1562576"/>
                    </a:cubicBezTo>
                    <a:cubicBezTo>
                      <a:pt x="306229" y="1561624"/>
                      <a:pt x="306229" y="1559719"/>
                      <a:pt x="306229" y="1558766"/>
                    </a:cubicBezTo>
                    <a:cubicBezTo>
                      <a:pt x="306229" y="1556861"/>
                      <a:pt x="306229" y="1554004"/>
                      <a:pt x="305276" y="1552099"/>
                    </a:cubicBezTo>
                    <a:cubicBezTo>
                      <a:pt x="306229" y="1551146"/>
                      <a:pt x="307181" y="1551146"/>
                      <a:pt x="308134" y="1550194"/>
                    </a:cubicBezTo>
                    <a:cubicBezTo>
                      <a:pt x="310039" y="1553051"/>
                      <a:pt x="312896" y="1554956"/>
                      <a:pt x="316706" y="1554956"/>
                    </a:cubicBezTo>
                    <a:cubicBezTo>
                      <a:pt x="316706" y="1554956"/>
                      <a:pt x="316706" y="1554956"/>
                      <a:pt x="317659" y="1554956"/>
                    </a:cubicBezTo>
                    <a:cubicBezTo>
                      <a:pt x="316706" y="1555909"/>
                      <a:pt x="316706" y="1557814"/>
                      <a:pt x="316706" y="1558766"/>
                    </a:cubicBezTo>
                    <a:cubicBezTo>
                      <a:pt x="316706" y="1564481"/>
                      <a:pt x="321469" y="1569244"/>
                      <a:pt x="327184" y="1569244"/>
                    </a:cubicBezTo>
                    <a:cubicBezTo>
                      <a:pt x="332899" y="1569244"/>
                      <a:pt x="337661" y="1564481"/>
                      <a:pt x="337661" y="1558766"/>
                    </a:cubicBezTo>
                    <a:cubicBezTo>
                      <a:pt x="337661" y="1553051"/>
                      <a:pt x="332899" y="1548289"/>
                      <a:pt x="327184" y="1548289"/>
                    </a:cubicBezTo>
                    <a:cubicBezTo>
                      <a:pt x="327184" y="1548289"/>
                      <a:pt x="327184" y="1548289"/>
                      <a:pt x="326231" y="1548289"/>
                    </a:cubicBezTo>
                    <a:cubicBezTo>
                      <a:pt x="326231" y="1547336"/>
                      <a:pt x="327184" y="1545431"/>
                      <a:pt x="327184" y="1544479"/>
                    </a:cubicBezTo>
                    <a:cubicBezTo>
                      <a:pt x="327184" y="1538764"/>
                      <a:pt x="322421" y="1534001"/>
                      <a:pt x="316706" y="1534001"/>
                    </a:cubicBezTo>
                    <a:cubicBezTo>
                      <a:pt x="315754" y="1534001"/>
                      <a:pt x="314801" y="1534001"/>
                      <a:pt x="313849" y="1534954"/>
                    </a:cubicBezTo>
                    <a:cubicBezTo>
                      <a:pt x="313849" y="1534001"/>
                      <a:pt x="313849" y="1533049"/>
                      <a:pt x="312896" y="1533049"/>
                    </a:cubicBezTo>
                    <a:cubicBezTo>
                      <a:pt x="326231" y="1530191"/>
                      <a:pt x="335756" y="1518761"/>
                      <a:pt x="335756" y="1505426"/>
                    </a:cubicBezTo>
                    <a:cubicBezTo>
                      <a:pt x="335756" y="1500664"/>
                      <a:pt x="334804" y="1495901"/>
                      <a:pt x="331946" y="1492091"/>
                    </a:cubicBezTo>
                    <a:cubicBezTo>
                      <a:pt x="331946" y="1491139"/>
                      <a:pt x="332899" y="1490186"/>
                      <a:pt x="332899" y="1488281"/>
                    </a:cubicBezTo>
                    <a:cubicBezTo>
                      <a:pt x="332899" y="1483519"/>
                      <a:pt x="329089" y="1479709"/>
                      <a:pt x="324326" y="1479709"/>
                    </a:cubicBezTo>
                    <a:cubicBezTo>
                      <a:pt x="323374" y="1479709"/>
                      <a:pt x="321469" y="1479709"/>
                      <a:pt x="320516" y="1480661"/>
                    </a:cubicBezTo>
                    <a:cubicBezTo>
                      <a:pt x="316706" y="1478756"/>
                      <a:pt x="312896" y="1477804"/>
                      <a:pt x="308134" y="1477804"/>
                    </a:cubicBezTo>
                    <a:cubicBezTo>
                      <a:pt x="297656" y="1477804"/>
                      <a:pt x="288131" y="1483519"/>
                      <a:pt x="283369" y="1492091"/>
                    </a:cubicBezTo>
                    <a:cubicBezTo>
                      <a:pt x="282416" y="1492091"/>
                      <a:pt x="280511" y="1491139"/>
                      <a:pt x="279559" y="1491139"/>
                    </a:cubicBezTo>
                    <a:cubicBezTo>
                      <a:pt x="272891" y="1491139"/>
                      <a:pt x="267176" y="1494949"/>
                      <a:pt x="265271" y="1500664"/>
                    </a:cubicBezTo>
                    <a:cubicBezTo>
                      <a:pt x="262414" y="1502569"/>
                      <a:pt x="260509" y="1505426"/>
                      <a:pt x="258604" y="1508284"/>
                    </a:cubicBezTo>
                    <a:cubicBezTo>
                      <a:pt x="255746" y="1507331"/>
                      <a:pt x="252889" y="1506379"/>
                      <a:pt x="250031" y="1506379"/>
                    </a:cubicBezTo>
                    <a:cubicBezTo>
                      <a:pt x="239554" y="1506379"/>
                      <a:pt x="231934" y="1514951"/>
                      <a:pt x="231934" y="1524476"/>
                    </a:cubicBezTo>
                    <a:cubicBezTo>
                      <a:pt x="231934" y="1532096"/>
                      <a:pt x="236696" y="1538764"/>
                      <a:pt x="243364" y="1541621"/>
                    </a:cubicBezTo>
                    <a:cubicBezTo>
                      <a:pt x="243364" y="1542574"/>
                      <a:pt x="242411" y="1542574"/>
                      <a:pt x="242411" y="1543526"/>
                    </a:cubicBezTo>
                    <a:cubicBezTo>
                      <a:pt x="241459" y="1543526"/>
                      <a:pt x="240506" y="1543526"/>
                      <a:pt x="239554" y="1543526"/>
                    </a:cubicBezTo>
                    <a:cubicBezTo>
                      <a:pt x="233839" y="1543526"/>
                      <a:pt x="229076" y="1545431"/>
                      <a:pt x="225266" y="1548289"/>
                    </a:cubicBezTo>
                    <a:cubicBezTo>
                      <a:pt x="220504" y="1545431"/>
                      <a:pt x="215741" y="1544479"/>
                      <a:pt x="210026" y="1544479"/>
                    </a:cubicBezTo>
                    <a:cubicBezTo>
                      <a:pt x="202406" y="1544479"/>
                      <a:pt x="194786" y="1547336"/>
                      <a:pt x="189071" y="1553051"/>
                    </a:cubicBezTo>
                    <a:cubicBezTo>
                      <a:pt x="185261" y="1547336"/>
                      <a:pt x="178594" y="1543526"/>
                      <a:pt x="170974" y="1543526"/>
                    </a:cubicBezTo>
                    <a:cubicBezTo>
                      <a:pt x="168116" y="1543526"/>
                      <a:pt x="165259" y="1544479"/>
                      <a:pt x="162401" y="1545431"/>
                    </a:cubicBezTo>
                    <a:cubicBezTo>
                      <a:pt x="161449" y="1541621"/>
                      <a:pt x="157639" y="1537811"/>
                      <a:pt x="152876" y="1537811"/>
                    </a:cubicBezTo>
                    <a:cubicBezTo>
                      <a:pt x="147161" y="1537811"/>
                      <a:pt x="143351" y="1542574"/>
                      <a:pt x="143351" y="1547336"/>
                    </a:cubicBezTo>
                    <a:cubicBezTo>
                      <a:pt x="143351" y="1552099"/>
                      <a:pt x="146209" y="1555909"/>
                      <a:pt x="150971" y="1556861"/>
                    </a:cubicBezTo>
                    <a:cubicBezTo>
                      <a:pt x="150019" y="1559719"/>
                      <a:pt x="149066" y="1562576"/>
                      <a:pt x="149066" y="1566386"/>
                    </a:cubicBezTo>
                    <a:cubicBezTo>
                      <a:pt x="149066" y="1572101"/>
                      <a:pt x="150971" y="1576864"/>
                      <a:pt x="153829" y="1580674"/>
                    </a:cubicBezTo>
                    <a:cubicBezTo>
                      <a:pt x="148114" y="1581626"/>
                      <a:pt x="143351" y="1586389"/>
                      <a:pt x="143351" y="1593056"/>
                    </a:cubicBezTo>
                    <a:cubicBezTo>
                      <a:pt x="143351" y="1599724"/>
                      <a:pt x="149066" y="1605439"/>
                      <a:pt x="155734" y="1605439"/>
                    </a:cubicBezTo>
                    <a:cubicBezTo>
                      <a:pt x="162401" y="1605439"/>
                      <a:pt x="168116" y="1599724"/>
                      <a:pt x="168116" y="1593056"/>
                    </a:cubicBezTo>
                    <a:cubicBezTo>
                      <a:pt x="168116" y="1592104"/>
                      <a:pt x="168116" y="1590199"/>
                      <a:pt x="167164" y="1589246"/>
                    </a:cubicBezTo>
                    <a:cubicBezTo>
                      <a:pt x="168116" y="1589246"/>
                      <a:pt x="170021" y="1589246"/>
                      <a:pt x="170974" y="1589246"/>
                    </a:cubicBezTo>
                    <a:cubicBezTo>
                      <a:pt x="174784" y="1589246"/>
                      <a:pt x="178594" y="1588294"/>
                      <a:pt x="182404" y="1586389"/>
                    </a:cubicBezTo>
                    <a:cubicBezTo>
                      <a:pt x="183356" y="1587341"/>
                      <a:pt x="183356" y="1588294"/>
                      <a:pt x="184309" y="1589246"/>
                    </a:cubicBezTo>
                    <a:cubicBezTo>
                      <a:pt x="183356" y="1592104"/>
                      <a:pt x="183356" y="1594961"/>
                      <a:pt x="183356" y="1597819"/>
                    </a:cubicBezTo>
                    <a:cubicBezTo>
                      <a:pt x="183356" y="1607344"/>
                      <a:pt x="188119" y="1615916"/>
                      <a:pt x="195739" y="1620679"/>
                    </a:cubicBezTo>
                    <a:cubicBezTo>
                      <a:pt x="195739" y="1620679"/>
                      <a:pt x="195739" y="1620679"/>
                      <a:pt x="195739" y="1620679"/>
                    </a:cubicBezTo>
                    <a:cubicBezTo>
                      <a:pt x="195739" y="1623536"/>
                      <a:pt x="198596" y="1626394"/>
                      <a:pt x="201454" y="1626394"/>
                    </a:cubicBezTo>
                    <a:cubicBezTo>
                      <a:pt x="203359" y="1626394"/>
                      <a:pt x="204311" y="1625441"/>
                      <a:pt x="206216" y="1624489"/>
                    </a:cubicBezTo>
                    <a:cubicBezTo>
                      <a:pt x="207169" y="1624489"/>
                      <a:pt x="209074" y="1624489"/>
                      <a:pt x="210026" y="1624489"/>
                    </a:cubicBezTo>
                    <a:cubicBezTo>
                      <a:pt x="223361" y="1624489"/>
                      <a:pt x="234791" y="1614011"/>
                      <a:pt x="236696" y="1600676"/>
                    </a:cubicBezTo>
                    <a:cubicBezTo>
                      <a:pt x="240506" y="1602581"/>
                      <a:pt x="244316" y="1604486"/>
                      <a:pt x="249079" y="1604486"/>
                    </a:cubicBezTo>
                    <a:cubicBezTo>
                      <a:pt x="248126" y="1607344"/>
                      <a:pt x="247174" y="1611154"/>
                      <a:pt x="247174" y="1614011"/>
                    </a:cubicBezTo>
                    <a:cubicBezTo>
                      <a:pt x="247174" y="1615916"/>
                      <a:pt x="247174" y="1617821"/>
                      <a:pt x="248126" y="1619726"/>
                    </a:cubicBezTo>
                    <a:cubicBezTo>
                      <a:pt x="248126" y="1619726"/>
                      <a:pt x="248126" y="1619726"/>
                      <a:pt x="247174" y="1619726"/>
                    </a:cubicBezTo>
                    <a:cubicBezTo>
                      <a:pt x="239554" y="1619726"/>
                      <a:pt x="233839" y="1625441"/>
                      <a:pt x="233839" y="1633061"/>
                    </a:cubicBezTo>
                    <a:cubicBezTo>
                      <a:pt x="233839" y="1639729"/>
                      <a:pt x="239554" y="1645444"/>
                      <a:pt x="246221" y="1646396"/>
                    </a:cubicBezTo>
                    <a:cubicBezTo>
                      <a:pt x="246221" y="1653064"/>
                      <a:pt x="251936" y="1657826"/>
                      <a:pt x="258604" y="1657826"/>
                    </a:cubicBezTo>
                    <a:cubicBezTo>
                      <a:pt x="265271" y="1657826"/>
                      <a:pt x="270986" y="1652111"/>
                      <a:pt x="270986" y="1645444"/>
                    </a:cubicBezTo>
                    <a:cubicBezTo>
                      <a:pt x="270986" y="1642586"/>
                      <a:pt x="270034" y="1640681"/>
                      <a:pt x="268129" y="1637824"/>
                    </a:cubicBezTo>
                    <a:cubicBezTo>
                      <a:pt x="269081" y="1637824"/>
                      <a:pt x="270034" y="1637824"/>
                      <a:pt x="270034" y="1637824"/>
                    </a:cubicBezTo>
                    <a:cubicBezTo>
                      <a:pt x="273844" y="1637824"/>
                      <a:pt x="277654" y="1636871"/>
                      <a:pt x="281464" y="1634966"/>
                    </a:cubicBezTo>
                    <a:cubicBezTo>
                      <a:pt x="284321" y="1638776"/>
                      <a:pt x="288131" y="1641634"/>
                      <a:pt x="291941" y="1644491"/>
                    </a:cubicBezTo>
                    <a:cubicBezTo>
                      <a:pt x="290989" y="1646396"/>
                      <a:pt x="290036" y="1648301"/>
                      <a:pt x="290036" y="1651159"/>
                    </a:cubicBezTo>
                    <a:cubicBezTo>
                      <a:pt x="290036" y="1658779"/>
                      <a:pt x="295751" y="1664494"/>
                      <a:pt x="303371" y="1664494"/>
                    </a:cubicBezTo>
                    <a:cubicBezTo>
                      <a:pt x="307181" y="1664494"/>
                      <a:pt x="310991" y="1662589"/>
                      <a:pt x="312896" y="1660684"/>
                    </a:cubicBezTo>
                    <a:cubicBezTo>
                      <a:pt x="312896" y="1661636"/>
                      <a:pt x="311944" y="1663541"/>
                      <a:pt x="311944" y="1664494"/>
                    </a:cubicBezTo>
                    <a:cubicBezTo>
                      <a:pt x="311944" y="1671161"/>
                      <a:pt x="317659" y="1676876"/>
                      <a:pt x="324326" y="1676876"/>
                    </a:cubicBezTo>
                    <a:cubicBezTo>
                      <a:pt x="326231" y="1676876"/>
                      <a:pt x="328136" y="1675924"/>
                      <a:pt x="330041" y="1675924"/>
                    </a:cubicBezTo>
                    <a:cubicBezTo>
                      <a:pt x="331946" y="1680686"/>
                      <a:pt x="336709" y="1683544"/>
                      <a:pt x="342424" y="1683544"/>
                    </a:cubicBezTo>
                    <a:cubicBezTo>
                      <a:pt x="346234" y="1683544"/>
                      <a:pt x="349091" y="1681639"/>
                      <a:pt x="351949" y="1679734"/>
                    </a:cubicBezTo>
                    <a:cubicBezTo>
                      <a:pt x="353854" y="1685449"/>
                      <a:pt x="356711" y="1691164"/>
                      <a:pt x="360521" y="1694974"/>
                    </a:cubicBezTo>
                    <a:cubicBezTo>
                      <a:pt x="359569" y="1694974"/>
                      <a:pt x="359569" y="1694974"/>
                      <a:pt x="358616" y="1694974"/>
                    </a:cubicBezTo>
                    <a:cubicBezTo>
                      <a:pt x="352901" y="1694974"/>
                      <a:pt x="348139" y="1699736"/>
                      <a:pt x="348139" y="1705451"/>
                    </a:cubicBezTo>
                    <a:cubicBezTo>
                      <a:pt x="348139" y="1710214"/>
                      <a:pt x="350996" y="1713071"/>
                      <a:pt x="354806" y="1714976"/>
                    </a:cubicBezTo>
                    <a:cubicBezTo>
                      <a:pt x="349091" y="1716881"/>
                      <a:pt x="345281" y="1722596"/>
                      <a:pt x="345281" y="1729264"/>
                    </a:cubicBezTo>
                    <a:cubicBezTo>
                      <a:pt x="345281" y="1737836"/>
                      <a:pt x="351949" y="1744504"/>
                      <a:pt x="360521" y="1744504"/>
                    </a:cubicBezTo>
                    <a:cubicBezTo>
                      <a:pt x="369094" y="1744504"/>
                      <a:pt x="375761" y="1737836"/>
                      <a:pt x="375761" y="1729264"/>
                    </a:cubicBezTo>
                    <a:cubicBezTo>
                      <a:pt x="375761" y="1721644"/>
                      <a:pt x="370046" y="1715929"/>
                      <a:pt x="363379" y="1714024"/>
                    </a:cubicBezTo>
                    <a:cubicBezTo>
                      <a:pt x="366236" y="1712119"/>
                      <a:pt x="368141" y="1709261"/>
                      <a:pt x="368141" y="1705451"/>
                    </a:cubicBezTo>
                    <a:cubicBezTo>
                      <a:pt x="368141" y="1704499"/>
                      <a:pt x="368141" y="1702594"/>
                      <a:pt x="367189" y="1701641"/>
                    </a:cubicBezTo>
                    <a:cubicBezTo>
                      <a:pt x="369094" y="1702594"/>
                      <a:pt x="371951" y="1704499"/>
                      <a:pt x="374809" y="1704499"/>
                    </a:cubicBezTo>
                    <a:cubicBezTo>
                      <a:pt x="376714" y="1706404"/>
                      <a:pt x="378619" y="1707356"/>
                      <a:pt x="381476" y="1707356"/>
                    </a:cubicBezTo>
                    <a:cubicBezTo>
                      <a:pt x="382429" y="1707356"/>
                      <a:pt x="384334" y="1707356"/>
                      <a:pt x="385286" y="1706404"/>
                    </a:cubicBezTo>
                    <a:cubicBezTo>
                      <a:pt x="385286" y="1706404"/>
                      <a:pt x="385286" y="1706404"/>
                      <a:pt x="386239" y="1706404"/>
                    </a:cubicBezTo>
                    <a:cubicBezTo>
                      <a:pt x="399574" y="1706404"/>
                      <a:pt x="411004" y="1698784"/>
                      <a:pt x="416719" y="1688306"/>
                    </a:cubicBezTo>
                    <a:cubicBezTo>
                      <a:pt x="419576" y="1687354"/>
                      <a:pt x="421481" y="1685449"/>
                      <a:pt x="421481" y="1681639"/>
                    </a:cubicBezTo>
                    <a:cubicBezTo>
                      <a:pt x="421481" y="1680686"/>
                      <a:pt x="421481" y="1679734"/>
                      <a:pt x="420529" y="1678781"/>
                    </a:cubicBezTo>
                    <a:cubicBezTo>
                      <a:pt x="420529" y="1677829"/>
                      <a:pt x="420529" y="1676876"/>
                      <a:pt x="420529" y="1675924"/>
                    </a:cubicBezTo>
                    <a:cubicBezTo>
                      <a:pt x="424339" y="1677829"/>
                      <a:pt x="429101" y="1678781"/>
                      <a:pt x="433864" y="1679734"/>
                    </a:cubicBezTo>
                    <a:cubicBezTo>
                      <a:pt x="434816" y="1681639"/>
                      <a:pt x="435769" y="1684496"/>
                      <a:pt x="436721" y="1686401"/>
                    </a:cubicBezTo>
                    <a:cubicBezTo>
                      <a:pt x="427196" y="1688306"/>
                      <a:pt x="419576" y="1694021"/>
                      <a:pt x="415766" y="1702594"/>
                    </a:cubicBezTo>
                    <a:cubicBezTo>
                      <a:pt x="415766" y="1702594"/>
                      <a:pt x="414814" y="1702594"/>
                      <a:pt x="414814" y="1702594"/>
                    </a:cubicBezTo>
                    <a:cubicBezTo>
                      <a:pt x="411956" y="1702594"/>
                      <a:pt x="409099" y="1705451"/>
                      <a:pt x="409099" y="1708309"/>
                    </a:cubicBezTo>
                    <a:cubicBezTo>
                      <a:pt x="409099" y="1709261"/>
                      <a:pt x="409099" y="1710214"/>
                      <a:pt x="409099" y="1710214"/>
                    </a:cubicBezTo>
                    <a:cubicBezTo>
                      <a:pt x="408146" y="1710214"/>
                      <a:pt x="408146" y="1711166"/>
                      <a:pt x="407194" y="1711166"/>
                    </a:cubicBezTo>
                    <a:cubicBezTo>
                      <a:pt x="406241" y="1707356"/>
                      <a:pt x="403384" y="1705451"/>
                      <a:pt x="399574" y="1705451"/>
                    </a:cubicBezTo>
                    <a:cubicBezTo>
                      <a:pt x="394811" y="1705451"/>
                      <a:pt x="391954" y="1709261"/>
                      <a:pt x="391954" y="1713071"/>
                    </a:cubicBezTo>
                    <a:cubicBezTo>
                      <a:pt x="391954" y="1717834"/>
                      <a:pt x="395764" y="1720691"/>
                      <a:pt x="399574" y="1720691"/>
                    </a:cubicBezTo>
                    <a:cubicBezTo>
                      <a:pt x="399574" y="1720691"/>
                      <a:pt x="400526" y="1720691"/>
                      <a:pt x="400526" y="1720691"/>
                    </a:cubicBezTo>
                    <a:cubicBezTo>
                      <a:pt x="400526" y="1721644"/>
                      <a:pt x="400526" y="1723549"/>
                      <a:pt x="400526" y="1724501"/>
                    </a:cubicBezTo>
                    <a:cubicBezTo>
                      <a:pt x="400526" y="1726406"/>
                      <a:pt x="400526" y="1728311"/>
                      <a:pt x="401479" y="1729264"/>
                    </a:cubicBezTo>
                    <a:cubicBezTo>
                      <a:pt x="396716" y="1732121"/>
                      <a:pt x="392906" y="1737836"/>
                      <a:pt x="392906" y="1743551"/>
                    </a:cubicBezTo>
                    <a:cubicBezTo>
                      <a:pt x="392906" y="1746409"/>
                      <a:pt x="393859" y="1749266"/>
                      <a:pt x="394811" y="1752124"/>
                    </a:cubicBezTo>
                    <a:cubicBezTo>
                      <a:pt x="390049" y="1753076"/>
                      <a:pt x="385286" y="1754029"/>
                      <a:pt x="380524" y="1756886"/>
                    </a:cubicBezTo>
                    <a:cubicBezTo>
                      <a:pt x="376714" y="1754029"/>
                      <a:pt x="371951" y="1751171"/>
                      <a:pt x="367189" y="1751171"/>
                    </a:cubicBezTo>
                    <a:cubicBezTo>
                      <a:pt x="357664" y="1751171"/>
                      <a:pt x="350044" y="1757839"/>
                      <a:pt x="348139" y="1766411"/>
                    </a:cubicBezTo>
                    <a:cubicBezTo>
                      <a:pt x="348139" y="1766411"/>
                      <a:pt x="347186" y="1767364"/>
                      <a:pt x="347186" y="1767364"/>
                    </a:cubicBezTo>
                    <a:cubicBezTo>
                      <a:pt x="348139" y="1765459"/>
                      <a:pt x="348139" y="1763554"/>
                      <a:pt x="348139" y="1761649"/>
                    </a:cubicBezTo>
                    <a:cubicBezTo>
                      <a:pt x="348139" y="1754029"/>
                      <a:pt x="341471" y="1747361"/>
                      <a:pt x="333851" y="1747361"/>
                    </a:cubicBezTo>
                    <a:cubicBezTo>
                      <a:pt x="330041" y="1747361"/>
                      <a:pt x="327184" y="1749266"/>
                      <a:pt x="324326" y="1751171"/>
                    </a:cubicBezTo>
                    <a:cubicBezTo>
                      <a:pt x="318611" y="1742599"/>
                      <a:pt x="309086" y="1736884"/>
                      <a:pt x="298609" y="1736884"/>
                    </a:cubicBezTo>
                    <a:cubicBezTo>
                      <a:pt x="282416" y="1736884"/>
                      <a:pt x="269081" y="1750219"/>
                      <a:pt x="268129" y="1766411"/>
                    </a:cubicBezTo>
                    <a:cubicBezTo>
                      <a:pt x="266224" y="1766411"/>
                      <a:pt x="264319" y="1767364"/>
                      <a:pt x="263366" y="1767364"/>
                    </a:cubicBezTo>
                    <a:cubicBezTo>
                      <a:pt x="264319" y="1764506"/>
                      <a:pt x="265271" y="1761649"/>
                      <a:pt x="265271" y="1758791"/>
                    </a:cubicBezTo>
                    <a:cubicBezTo>
                      <a:pt x="265271" y="1744504"/>
                      <a:pt x="252889" y="1732121"/>
                      <a:pt x="238601" y="1732121"/>
                    </a:cubicBezTo>
                    <a:cubicBezTo>
                      <a:pt x="224314" y="1732121"/>
                      <a:pt x="211931" y="1744504"/>
                      <a:pt x="211931" y="1758791"/>
                    </a:cubicBezTo>
                    <a:cubicBezTo>
                      <a:pt x="211931" y="1760696"/>
                      <a:pt x="211931" y="1762601"/>
                      <a:pt x="212884" y="1764506"/>
                    </a:cubicBezTo>
                    <a:cubicBezTo>
                      <a:pt x="212884" y="1764506"/>
                      <a:pt x="212884" y="1765459"/>
                      <a:pt x="212884" y="1765459"/>
                    </a:cubicBezTo>
                    <a:cubicBezTo>
                      <a:pt x="212884" y="1768316"/>
                      <a:pt x="213836" y="1771174"/>
                      <a:pt x="214789" y="1773079"/>
                    </a:cubicBezTo>
                    <a:cubicBezTo>
                      <a:pt x="210026" y="1774031"/>
                      <a:pt x="207169" y="1777841"/>
                      <a:pt x="207169" y="1781651"/>
                    </a:cubicBezTo>
                    <a:cubicBezTo>
                      <a:pt x="207169" y="1782604"/>
                      <a:pt x="207169" y="1783556"/>
                      <a:pt x="208121" y="1784509"/>
                    </a:cubicBezTo>
                    <a:cubicBezTo>
                      <a:pt x="201454" y="1791176"/>
                      <a:pt x="196691" y="1799749"/>
                      <a:pt x="195739" y="1810226"/>
                    </a:cubicBezTo>
                    <a:cubicBezTo>
                      <a:pt x="194786" y="1830229"/>
                      <a:pt x="210026" y="1846421"/>
                      <a:pt x="230029" y="1847374"/>
                    </a:cubicBezTo>
                    <a:cubicBezTo>
                      <a:pt x="242411" y="1848326"/>
                      <a:pt x="253841" y="1841659"/>
                      <a:pt x="260509" y="1832134"/>
                    </a:cubicBezTo>
                    <a:cubicBezTo>
                      <a:pt x="260509" y="1833086"/>
                      <a:pt x="260509" y="1834039"/>
                      <a:pt x="260509" y="1834991"/>
                    </a:cubicBezTo>
                    <a:cubicBezTo>
                      <a:pt x="260509" y="1836896"/>
                      <a:pt x="260509" y="1837849"/>
                      <a:pt x="261461" y="1839754"/>
                    </a:cubicBezTo>
                    <a:cubicBezTo>
                      <a:pt x="259556" y="1840706"/>
                      <a:pt x="257651" y="1842611"/>
                      <a:pt x="257651" y="1844516"/>
                    </a:cubicBezTo>
                    <a:cubicBezTo>
                      <a:pt x="257651" y="1847374"/>
                      <a:pt x="260509" y="1850231"/>
                      <a:pt x="263366" y="1850231"/>
                    </a:cubicBezTo>
                    <a:cubicBezTo>
                      <a:pt x="265271" y="1850231"/>
                      <a:pt x="266224" y="1849279"/>
                      <a:pt x="267176" y="1848326"/>
                    </a:cubicBezTo>
                    <a:cubicBezTo>
                      <a:pt x="268129" y="1849279"/>
                      <a:pt x="270034" y="1850231"/>
                      <a:pt x="270986" y="1850231"/>
                    </a:cubicBezTo>
                    <a:cubicBezTo>
                      <a:pt x="272891" y="1853089"/>
                      <a:pt x="275749" y="1855946"/>
                      <a:pt x="279559" y="1855946"/>
                    </a:cubicBezTo>
                    <a:cubicBezTo>
                      <a:pt x="283369" y="1855946"/>
                      <a:pt x="286226" y="1854041"/>
                      <a:pt x="288131" y="1850231"/>
                    </a:cubicBezTo>
                    <a:cubicBezTo>
                      <a:pt x="291941" y="1852136"/>
                      <a:pt x="295751" y="1854041"/>
                      <a:pt x="300514" y="1854041"/>
                    </a:cubicBezTo>
                    <a:cubicBezTo>
                      <a:pt x="304324" y="1854041"/>
                      <a:pt x="307181" y="1853089"/>
                      <a:pt x="310039" y="1852136"/>
                    </a:cubicBezTo>
                    <a:cubicBezTo>
                      <a:pt x="319564" y="1851184"/>
                      <a:pt x="327184" y="1843564"/>
                      <a:pt x="329089" y="1834039"/>
                    </a:cubicBezTo>
                    <a:cubicBezTo>
                      <a:pt x="330994" y="1832134"/>
                      <a:pt x="332899" y="1830229"/>
                      <a:pt x="334804" y="1828324"/>
                    </a:cubicBezTo>
                    <a:cubicBezTo>
                      <a:pt x="335756" y="1828324"/>
                      <a:pt x="336709" y="1828324"/>
                      <a:pt x="337661" y="1828324"/>
                    </a:cubicBezTo>
                    <a:cubicBezTo>
                      <a:pt x="345281" y="1828324"/>
                      <a:pt x="351949" y="1824514"/>
                      <a:pt x="356711" y="1817846"/>
                    </a:cubicBezTo>
                    <a:cubicBezTo>
                      <a:pt x="360521" y="1818799"/>
                      <a:pt x="364331" y="1819751"/>
                      <a:pt x="368141" y="1819751"/>
                    </a:cubicBezTo>
                    <a:cubicBezTo>
                      <a:pt x="371951" y="1819751"/>
                      <a:pt x="376714" y="1818799"/>
                      <a:pt x="380524" y="1817846"/>
                    </a:cubicBezTo>
                    <a:cubicBezTo>
                      <a:pt x="386239" y="1821656"/>
                      <a:pt x="392906" y="1823561"/>
                      <a:pt x="400526" y="1823561"/>
                    </a:cubicBezTo>
                    <a:cubicBezTo>
                      <a:pt x="421481" y="1823561"/>
                      <a:pt x="437674" y="1806416"/>
                      <a:pt x="437674" y="1786414"/>
                    </a:cubicBezTo>
                    <a:cubicBezTo>
                      <a:pt x="437674" y="1786414"/>
                      <a:pt x="437674" y="1786414"/>
                      <a:pt x="437674" y="1786414"/>
                    </a:cubicBezTo>
                    <a:cubicBezTo>
                      <a:pt x="438626" y="1786414"/>
                      <a:pt x="440531" y="1786414"/>
                      <a:pt x="441484" y="1786414"/>
                    </a:cubicBezTo>
                    <a:cubicBezTo>
                      <a:pt x="446246" y="1786414"/>
                      <a:pt x="451009" y="1785461"/>
                      <a:pt x="454819" y="1782604"/>
                    </a:cubicBezTo>
                    <a:cubicBezTo>
                      <a:pt x="456724" y="1783556"/>
                      <a:pt x="459581" y="1784509"/>
                      <a:pt x="461486" y="1784509"/>
                    </a:cubicBezTo>
                    <a:cubicBezTo>
                      <a:pt x="469106" y="1784509"/>
                      <a:pt x="475774" y="1777841"/>
                      <a:pt x="475774" y="1770221"/>
                    </a:cubicBezTo>
                    <a:cubicBezTo>
                      <a:pt x="475774" y="1767364"/>
                      <a:pt x="474821" y="1764506"/>
                      <a:pt x="472916" y="1762601"/>
                    </a:cubicBezTo>
                    <a:cubicBezTo>
                      <a:pt x="478631" y="1760696"/>
                      <a:pt x="484346" y="1757839"/>
                      <a:pt x="488156" y="1753076"/>
                    </a:cubicBezTo>
                    <a:cubicBezTo>
                      <a:pt x="490061" y="1752124"/>
                      <a:pt x="491966" y="1751171"/>
                      <a:pt x="493871" y="1750219"/>
                    </a:cubicBezTo>
                    <a:cubicBezTo>
                      <a:pt x="493871" y="1750219"/>
                      <a:pt x="493871" y="1750219"/>
                      <a:pt x="493871" y="1751171"/>
                    </a:cubicBezTo>
                    <a:cubicBezTo>
                      <a:pt x="493871" y="1768316"/>
                      <a:pt x="508159" y="1782604"/>
                      <a:pt x="525304" y="1782604"/>
                    </a:cubicBezTo>
                    <a:cubicBezTo>
                      <a:pt x="528161" y="1782604"/>
                      <a:pt x="531019" y="1781651"/>
                      <a:pt x="533876" y="1780699"/>
                    </a:cubicBezTo>
                    <a:cubicBezTo>
                      <a:pt x="538639" y="1783556"/>
                      <a:pt x="543401" y="1785461"/>
                      <a:pt x="550069" y="1785461"/>
                    </a:cubicBezTo>
                    <a:cubicBezTo>
                      <a:pt x="556736" y="1785461"/>
                      <a:pt x="562451" y="1783556"/>
                      <a:pt x="567214" y="1779746"/>
                    </a:cubicBezTo>
                    <a:cubicBezTo>
                      <a:pt x="570071" y="1780699"/>
                      <a:pt x="572929" y="1780699"/>
                      <a:pt x="575786" y="1780699"/>
                    </a:cubicBezTo>
                    <a:cubicBezTo>
                      <a:pt x="586264" y="1780699"/>
                      <a:pt x="595789" y="1775936"/>
                      <a:pt x="601504" y="1769269"/>
                    </a:cubicBezTo>
                    <a:cubicBezTo>
                      <a:pt x="602456" y="1769269"/>
                      <a:pt x="603409" y="1769269"/>
                      <a:pt x="604361" y="1769269"/>
                    </a:cubicBezTo>
                    <a:cubicBezTo>
                      <a:pt x="608171" y="1769269"/>
                      <a:pt x="611981" y="1768316"/>
                      <a:pt x="615791" y="1767364"/>
                    </a:cubicBezTo>
                    <a:cubicBezTo>
                      <a:pt x="621506" y="1780699"/>
                      <a:pt x="635794" y="1791176"/>
                      <a:pt x="651034" y="1791176"/>
                    </a:cubicBezTo>
                    <a:cubicBezTo>
                      <a:pt x="652939" y="1791176"/>
                      <a:pt x="653891" y="1791176"/>
                      <a:pt x="655796" y="1791176"/>
                    </a:cubicBezTo>
                    <a:cubicBezTo>
                      <a:pt x="673894" y="1794034"/>
                      <a:pt x="691039" y="1797844"/>
                      <a:pt x="705326" y="1800701"/>
                    </a:cubicBezTo>
                    <a:cubicBezTo>
                      <a:pt x="758666" y="1812131"/>
                      <a:pt x="911066" y="1835944"/>
                      <a:pt x="1004411" y="1796891"/>
                    </a:cubicBezTo>
                    <a:cubicBezTo>
                      <a:pt x="1106329" y="1754029"/>
                      <a:pt x="1104424" y="1693069"/>
                      <a:pt x="1087279" y="1637824"/>
                    </a:cubicBezTo>
                    <a:cubicBezTo>
                      <a:pt x="1072039" y="1586389"/>
                      <a:pt x="1057751" y="1581626"/>
                      <a:pt x="1076801" y="1550194"/>
                    </a:cubicBezTo>
                    <a:cubicBezTo>
                      <a:pt x="1088231" y="1533049"/>
                      <a:pt x="1138714" y="1535906"/>
                      <a:pt x="1153001" y="1512094"/>
                    </a:cubicBezTo>
                    <a:cubicBezTo>
                      <a:pt x="1167289" y="1488281"/>
                      <a:pt x="1159669" y="1456849"/>
                      <a:pt x="1149191" y="1437799"/>
                    </a:cubicBezTo>
                    <a:cubicBezTo>
                      <a:pt x="1138714" y="1418749"/>
                      <a:pt x="1079659" y="1413986"/>
                      <a:pt x="1078706" y="1408271"/>
                    </a:cubicBezTo>
                    <a:cubicBezTo>
                      <a:pt x="1077754" y="1402556"/>
                      <a:pt x="1132999" y="1377791"/>
                      <a:pt x="1161574" y="1366361"/>
                    </a:cubicBezTo>
                    <a:cubicBezTo>
                      <a:pt x="1198721" y="1351121"/>
                      <a:pt x="1194911" y="1305401"/>
                      <a:pt x="1186339" y="1283494"/>
                    </a:cubicBezTo>
                    <a:cubicBezTo>
                      <a:pt x="1177766" y="1261586"/>
                      <a:pt x="1153954" y="1255871"/>
                      <a:pt x="1138714" y="1235869"/>
                    </a:cubicBezTo>
                    <a:cubicBezTo>
                      <a:pt x="1123474" y="1215866"/>
                      <a:pt x="1137761" y="1171099"/>
                      <a:pt x="1159669" y="1165384"/>
                    </a:cubicBezTo>
                    <a:cubicBezTo>
                      <a:pt x="1181576" y="1159669"/>
                      <a:pt x="1219676" y="1142524"/>
                      <a:pt x="1240631" y="1103471"/>
                    </a:cubicBezTo>
                    <a:cubicBezTo>
                      <a:pt x="1254919" y="1067276"/>
                      <a:pt x="1213961" y="1007269"/>
                      <a:pt x="1172051" y="974884"/>
                    </a:cubicBezTo>
                    <a:close/>
                    <a:moveTo>
                      <a:pt x="584359" y="250984"/>
                    </a:moveTo>
                    <a:cubicBezTo>
                      <a:pt x="583406" y="251936"/>
                      <a:pt x="582454" y="251936"/>
                      <a:pt x="581501" y="252889"/>
                    </a:cubicBezTo>
                    <a:cubicBezTo>
                      <a:pt x="578644" y="250984"/>
                      <a:pt x="575786" y="250031"/>
                      <a:pt x="572929" y="250031"/>
                    </a:cubicBezTo>
                    <a:cubicBezTo>
                      <a:pt x="572929" y="250031"/>
                      <a:pt x="572929" y="250031"/>
                      <a:pt x="571976" y="250031"/>
                    </a:cubicBezTo>
                    <a:cubicBezTo>
                      <a:pt x="571024" y="250031"/>
                      <a:pt x="571024" y="249079"/>
                      <a:pt x="570071" y="249079"/>
                    </a:cubicBezTo>
                    <a:cubicBezTo>
                      <a:pt x="570071" y="248126"/>
                      <a:pt x="570071" y="247174"/>
                      <a:pt x="570071" y="246221"/>
                    </a:cubicBezTo>
                    <a:cubicBezTo>
                      <a:pt x="570071" y="245269"/>
                      <a:pt x="570071" y="244316"/>
                      <a:pt x="570071" y="243364"/>
                    </a:cubicBezTo>
                    <a:cubicBezTo>
                      <a:pt x="575786" y="241459"/>
                      <a:pt x="580549" y="238601"/>
                      <a:pt x="585311" y="234791"/>
                    </a:cubicBezTo>
                    <a:cubicBezTo>
                      <a:pt x="587216" y="238601"/>
                      <a:pt x="591026" y="242411"/>
                      <a:pt x="595789" y="244316"/>
                    </a:cubicBezTo>
                    <a:cubicBezTo>
                      <a:pt x="590074" y="244316"/>
                      <a:pt x="586264" y="247174"/>
                      <a:pt x="584359" y="250984"/>
                    </a:cubicBezTo>
                    <a:close/>
                    <a:moveTo>
                      <a:pt x="596741" y="201454"/>
                    </a:moveTo>
                    <a:cubicBezTo>
                      <a:pt x="596741" y="200501"/>
                      <a:pt x="596741" y="199549"/>
                      <a:pt x="596741" y="198596"/>
                    </a:cubicBezTo>
                    <a:cubicBezTo>
                      <a:pt x="597694" y="198596"/>
                      <a:pt x="598646" y="199549"/>
                      <a:pt x="598646" y="199549"/>
                    </a:cubicBezTo>
                    <a:cubicBezTo>
                      <a:pt x="597694" y="200501"/>
                      <a:pt x="597694" y="200501"/>
                      <a:pt x="596741" y="201454"/>
                    </a:cubicBezTo>
                    <a:close/>
                    <a:moveTo>
                      <a:pt x="606266" y="250031"/>
                    </a:moveTo>
                    <a:cubicBezTo>
                      <a:pt x="605314" y="248126"/>
                      <a:pt x="603409" y="247174"/>
                      <a:pt x="602456" y="245269"/>
                    </a:cubicBezTo>
                    <a:cubicBezTo>
                      <a:pt x="603409" y="245269"/>
                      <a:pt x="604361" y="245269"/>
                      <a:pt x="605314" y="245269"/>
                    </a:cubicBezTo>
                    <a:cubicBezTo>
                      <a:pt x="606266" y="245269"/>
                      <a:pt x="608171" y="245269"/>
                      <a:pt x="609124" y="245269"/>
                    </a:cubicBezTo>
                    <a:cubicBezTo>
                      <a:pt x="607219" y="247174"/>
                      <a:pt x="607219" y="248126"/>
                      <a:pt x="606266" y="250031"/>
                    </a:cubicBezTo>
                    <a:close/>
                    <a:moveTo>
                      <a:pt x="557689" y="407194"/>
                    </a:moveTo>
                    <a:cubicBezTo>
                      <a:pt x="556736" y="407194"/>
                      <a:pt x="556736" y="407194"/>
                      <a:pt x="555784" y="407194"/>
                    </a:cubicBezTo>
                    <a:cubicBezTo>
                      <a:pt x="555784" y="406241"/>
                      <a:pt x="555784" y="406241"/>
                      <a:pt x="555784" y="405289"/>
                    </a:cubicBezTo>
                    <a:cubicBezTo>
                      <a:pt x="555784" y="403384"/>
                      <a:pt x="555784" y="402431"/>
                      <a:pt x="554831" y="400526"/>
                    </a:cubicBezTo>
                    <a:cubicBezTo>
                      <a:pt x="555784" y="403384"/>
                      <a:pt x="557689" y="405289"/>
                      <a:pt x="559594" y="407194"/>
                    </a:cubicBezTo>
                    <a:cubicBezTo>
                      <a:pt x="560546" y="407194"/>
                      <a:pt x="559594" y="407194"/>
                      <a:pt x="557689" y="407194"/>
                    </a:cubicBezTo>
                    <a:close/>
                    <a:moveTo>
                      <a:pt x="637699" y="305276"/>
                    </a:moveTo>
                    <a:cubicBezTo>
                      <a:pt x="638651" y="307181"/>
                      <a:pt x="640556" y="308134"/>
                      <a:pt x="641509" y="309086"/>
                    </a:cubicBezTo>
                    <a:cubicBezTo>
                      <a:pt x="640556" y="309086"/>
                      <a:pt x="639604" y="310039"/>
                      <a:pt x="638651" y="310039"/>
                    </a:cubicBezTo>
                    <a:cubicBezTo>
                      <a:pt x="637699" y="308134"/>
                      <a:pt x="637699" y="307181"/>
                      <a:pt x="636746" y="306229"/>
                    </a:cubicBezTo>
                    <a:cubicBezTo>
                      <a:pt x="636746" y="305276"/>
                      <a:pt x="637699" y="305276"/>
                      <a:pt x="637699" y="305276"/>
                    </a:cubicBezTo>
                    <a:close/>
                    <a:moveTo>
                      <a:pt x="591979" y="417671"/>
                    </a:moveTo>
                    <a:cubicBezTo>
                      <a:pt x="598646" y="416719"/>
                      <a:pt x="604361" y="413861"/>
                      <a:pt x="609124" y="409099"/>
                    </a:cubicBezTo>
                    <a:cubicBezTo>
                      <a:pt x="607219" y="411956"/>
                      <a:pt x="606266" y="415766"/>
                      <a:pt x="606266" y="418624"/>
                    </a:cubicBezTo>
                    <a:cubicBezTo>
                      <a:pt x="606266" y="418624"/>
                      <a:pt x="606266" y="418624"/>
                      <a:pt x="606266" y="418624"/>
                    </a:cubicBezTo>
                    <a:cubicBezTo>
                      <a:pt x="603409" y="419576"/>
                      <a:pt x="600551" y="422434"/>
                      <a:pt x="598646" y="426244"/>
                    </a:cubicBezTo>
                    <a:cubicBezTo>
                      <a:pt x="596741" y="423386"/>
                      <a:pt x="593884" y="421481"/>
                      <a:pt x="591026" y="420529"/>
                    </a:cubicBezTo>
                    <a:cubicBezTo>
                      <a:pt x="591979" y="419576"/>
                      <a:pt x="591979" y="418624"/>
                      <a:pt x="591979" y="417671"/>
                    </a:cubicBezTo>
                    <a:close/>
                    <a:moveTo>
                      <a:pt x="594836" y="511016"/>
                    </a:moveTo>
                    <a:cubicBezTo>
                      <a:pt x="593884" y="511016"/>
                      <a:pt x="592931" y="510064"/>
                      <a:pt x="591979" y="510064"/>
                    </a:cubicBezTo>
                    <a:cubicBezTo>
                      <a:pt x="591026" y="510064"/>
                      <a:pt x="590074" y="510064"/>
                      <a:pt x="590074" y="510064"/>
                    </a:cubicBezTo>
                    <a:cubicBezTo>
                      <a:pt x="589121" y="509111"/>
                      <a:pt x="588169" y="509111"/>
                      <a:pt x="587216" y="508159"/>
                    </a:cubicBezTo>
                    <a:cubicBezTo>
                      <a:pt x="591026" y="507206"/>
                      <a:pt x="593884" y="505301"/>
                      <a:pt x="597694" y="503396"/>
                    </a:cubicBezTo>
                    <a:cubicBezTo>
                      <a:pt x="597694" y="504349"/>
                      <a:pt x="597694" y="505301"/>
                      <a:pt x="598646" y="505301"/>
                    </a:cubicBezTo>
                    <a:cubicBezTo>
                      <a:pt x="595789" y="507206"/>
                      <a:pt x="594836" y="509111"/>
                      <a:pt x="594836" y="511016"/>
                    </a:cubicBezTo>
                    <a:close/>
                    <a:moveTo>
                      <a:pt x="633889" y="447199"/>
                    </a:moveTo>
                    <a:cubicBezTo>
                      <a:pt x="630079" y="451009"/>
                      <a:pt x="628174" y="455771"/>
                      <a:pt x="627221" y="461486"/>
                    </a:cubicBezTo>
                    <a:cubicBezTo>
                      <a:pt x="627221" y="461486"/>
                      <a:pt x="626269" y="461486"/>
                      <a:pt x="626269" y="461486"/>
                    </a:cubicBezTo>
                    <a:cubicBezTo>
                      <a:pt x="615791" y="461486"/>
                      <a:pt x="608171" y="470059"/>
                      <a:pt x="608171" y="479584"/>
                    </a:cubicBezTo>
                    <a:cubicBezTo>
                      <a:pt x="608171" y="481489"/>
                      <a:pt x="608171" y="482441"/>
                      <a:pt x="609124" y="484346"/>
                    </a:cubicBezTo>
                    <a:cubicBezTo>
                      <a:pt x="609124" y="484346"/>
                      <a:pt x="608171" y="484346"/>
                      <a:pt x="608171" y="485299"/>
                    </a:cubicBezTo>
                    <a:cubicBezTo>
                      <a:pt x="608171" y="484346"/>
                      <a:pt x="608171" y="484346"/>
                      <a:pt x="608171" y="483394"/>
                    </a:cubicBezTo>
                    <a:cubicBezTo>
                      <a:pt x="608171" y="472916"/>
                      <a:pt x="602456" y="464344"/>
                      <a:pt x="593884" y="459581"/>
                    </a:cubicBezTo>
                    <a:cubicBezTo>
                      <a:pt x="600551" y="456724"/>
                      <a:pt x="604361" y="451009"/>
                      <a:pt x="606266" y="444341"/>
                    </a:cubicBezTo>
                    <a:cubicBezTo>
                      <a:pt x="608171" y="446246"/>
                      <a:pt x="611029" y="447199"/>
                      <a:pt x="614839" y="447199"/>
                    </a:cubicBezTo>
                    <a:cubicBezTo>
                      <a:pt x="619601" y="447199"/>
                      <a:pt x="624364" y="444341"/>
                      <a:pt x="626269" y="440531"/>
                    </a:cubicBezTo>
                    <a:cubicBezTo>
                      <a:pt x="627221" y="440531"/>
                      <a:pt x="629126" y="440531"/>
                      <a:pt x="630079" y="440531"/>
                    </a:cubicBezTo>
                    <a:cubicBezTo>
                      <a:pt x="631031" y="440531"/>
                      <a:pt x="631031" y="440531"/>
                      <a:pt x="631984" y="440531"/>
                    </a:cubicBezTo>
                    <a:cubicBezTo>
                      <a:pt x="632936" y="442436"/>
                      <a:pt x="634841" y="443389"/>
                      <a:pt x="636746" y="444341"/>
                    </a:cubicBezTo>
                    <a:cubicBezTo>
                      <a:pt x="633889" y="445294"/>
                      <a:pt x="633889" y="446246"/>
                      <a:pt x="633889" y="447199"/>
                    </a:cubicBezTo>
                    <a:cubicBezTo>
                      <a:pt x="633889" y="447199"/>
                      <a:pt x="633889" y="447199"/>
                      <a:pt x="633889" y="447199"/>
                    </a:cubicBezTo>
                    <a:close/>
                    <a:moveTo>
                      <a:pt x="639604" y="402431"/>
                    </a:moveTo>
                    <a:cubicBezTo>
                      <a:pt x="636746" y="400526"/>
                      <a:pt x="634841" y="399574"/>
                      <a:pt x="631031" y="399574"/>
                    </a:cubicBezTo>
                    <a:cubicBezTo>
                      <a:pt x="631031" y="395764"/>
                      <a:pt x="628174" y="392906"/>
                      <a:pt x="625316" y="391001"/>
                    </a:cubicBezTo>
                    <a:cubicBezTo>
                      <a:pt x="625316" y="390049"/>
                      <a:pt x="626269" y="389096"/>
                      <a:pt x="626269" y="388144"/>
                    </a:cubicBezTo>
                    <a:cubicBezTo>
                      <a:pt x="626269" y="385286"/>
                      <a:pt x="623411" y="382429"/>
                      <a:pt x="620554" y="382429"/>
                    </a:cubicBezTo>
                    <a:cubicBezTo>
                      <a:pt x="620554" y="379571"/>
                      <a:pt x="619601" y="376714"/>
                      <a:pt x="619601" y="374809"/>
                    </a:cubicBezTo>
                    <a:cubicBezTo>
                      <a:pt x="621506" y="375761"/>
                      <a:pt x="623411" y="375761"/>
                      <a:pt x="625316" y="375761"/>
                    </a:cubicBezTo>
                    <a:cubicBezTo>
                      <a:pt x="627221" y="375761"/>
                      <a:pt x="629126" y="374809"/>
                      <a:pt x="631031" y="373856"/>
                    </a:cubicBezTo>
                    <a:cubicBezTo>
                      <a:pt x="632936" y="377666"/>
                      <a:pt x="637699" y="380524"/>
                      <a:pt x="642461" y="380524"/>
                    </a:cubicBezTo>
                    <a:cubicBezTo>
                      <a:pt x="642461" y="385286"/>
                      <a:pt x="644366" y="390049"/>
                      <a:pt x="647224" y="394811"/>
                    </a:cubicBezTo>
                    <a:cubicBezTo>
                      <a:pt x="643414" y="396716"/>
                      <a:pt x="641509" y="399574"/>
                      <a:pt x="639604" y="402431"/>
                    </a:cubicBezTo>
                    <a:close/>
                    <a:moveTo>
                      <a:pt x="343376" y="758666"/>
                    </a:moveTo>
                    <a:cubicBezTo>
                      <a:pt x="343376" y="757714"/>
                      <a:pt x="343376" y="757714"/>
                      <a:pt x="343376" y="758666"/>
                    </a:cubicBezTo>
                    <a:cubicBezTo>
                      <a:pt x="343376" y="755809"/>
                      <a:pt x="342424" y="753904"/>
                      <a:pt x="341471" y="751999"/>
                    </a:cubicBezTo>
                    <a:cubicBezTo>
                      <a:pt x="343376" y="752951"/>
                      <a:pt x="345281" y="752951"/>
                      <a:pt x="346234" y="752951"/>
                    </a:cubicBezTo>
                    <a:cubicBezTo>
                      <a:pt x="345281" y="754856"/>
                      <a:pt x="344329" y="756761"/>
                      <a:pt x="343376" y="758666"/>
                    </a:cubicBezTo>
                    <a:close/>
                    <a:moveTo>
                      <a:pt x="109061" y="1225391"/>
                    </a:moveTo>
                    <a:cubicBezTo>
                      <a:pt x="106204" y="1221581"/>
                      <a:pt x="101441" y="1218724"/>
                      <a:pt x="95726" y="1217771"/>
                    </a:cubicBezTo>
                    <a:cubicBezTo>
                      <a:pt x="99536" y="1216819"/>
                      <a:pt x="103346" y="1213961"/>
                      <a:pt x="104299" y="1210151"/>
                    </a:cubicBezTo>
                    <a:cubicBezTo>
                      <a:pt x="111919" y="1208246"/>
                      <a:pt x="118586" y="1202531"/>
                      <a:pt x="122396" y="1195864"/>
                    </a:cubicBezTo>
                    <a:cubicBezTo>
                      <a:pt x="124301" y="1197769"/>
                      <a:pt x="126206" y="1199674"/>
                      <a:pt x="129064" y="1201579"/>
                    </a:cubicBezTo>
                    <a:cubicBezTo>
                      <a:pt x="118586" y="1204436"/>
                      <a:pt x="110014" y="1213961"/>
                      <a:pt x="109061" y="1225391"/>
                    </a:cubicBezTo>
                    <a:close/>
                    <a:moveTo>
                      <a:pt x="151924" y="1208246"/>
                    </a:moveTo>
                    <a:cubicBezTo>
                      <a:pt x="150971" y="1207294"/>
                      <a:pt x="150971" y="1207294"/>
                      <a:pt x="150019" y="1206341"/>
                    </a:cubicBezTo>
                    <a:cubicBezTo>
                      <a:pt x="150971" y="1206341"/>
                      <a:pt x="151924" y="1206341"/>
                      <a:pt x="151924" y="1206341"/>
                    </a:cubicBezTo>
                    <a:cubicBezTo>
                      <a:pt x="152876" y="1207294"/>
                      <a:pt x="151924" y="1208246"/>
                      <a:pt x="151924" y="1208246"/>
                    </a:cubicBezTo>
                    <a:close/>
                    <a:moveTo>
                      <a:pt x="290989" y="992981"/>
                    </a:moveTo>
                    <a:cubicBezTo>
                      <a:pt x="291941" y="991076"/>
                      <a:pt x="291941" y="989171"/>
                      <a:pt x="291941" y="986314"/>
                    </a:cubicBezTo>
                    <a:cubicBezTo>
                      <a:pt x="291941" y="986314"/>
                      <a:pt x="291941" y="986314"/>
                      <a:pt x="291941" y="986314"/>
                    </a:cubicBezTo>
                    <a:cubicBezTo>
                      <a:pt x="292894" y="986314"/>
                      <a:pt x="293846" y="987266"/>
                      <a:pt x="294799" y="987266"/>
                    </a:cubicBezTo>
                    <a:cubicBezTo>
                      <a:pt x="293846" y="989171"/>
                      <a:pt x="291941" y="991076"/>
                      <a:pt x="290989" y="992981"/>
                    </a:cubicBezTo>
                    <a:close/>
                    <a:moveTo>
                      <a:pt x="309086" y="1652111"/>
                    </a:moveTo>
                    <a:cubicBezTo>
                      <a:pt x="309086" y="1651159"/>
                      <a:pt x="309086" y="1650206"/>
                      <a:pt x="310039" y="1649254"/>
                    </a:cubicBezTo>
                    <a:cubicBezTo>
                      <a:pt x="310039" y="1649254"/>
                      <a:pt x="310991" y="1650206"/>
                      <a:pt x="310991" y="1650206"/>
                    </a:cubicBezTo>
                    <a:cubicBezTo>
                      <a:pt x="310991" y="1651159"/>
                      <a:pt x="310039" y="1651159"/>
                      <a:pt x="309086" y="1652111"/>
                    </a:cubicBezTo>
                    <a:close/>
                    <a:moveTo>
                      <a:pt x="259556" y="1822609"/>
                    </a:moveTo>
                    <a:cubicBezTo>
                      <a:pt x="260509" y="1820704"/>
                      <a:pt x="260509" y="1818799"/>
                      <a:pt x="261461" y="1816894"/>
                    </a:cubicBezTo>
                    <a:cubicBezTo>
                      <a:pt x="262414" y="1816894"/>
                      <a:pt x="264319" y="1816894"/>
                      <a:pt x="265271" y="1816894"/>
                    </a:cubicBezTo>
                    <a:cubicBezTo>
                      <a:pt x="265271" y="1817846"/>
                      <a:pt x="266224" y="1817846"/>
                      <a:pt x="266224" y="1817846"/>
                    </a:cubicBezTo>
                    <a:cubicBezTo>
                      <a:pt x="263366" y="1819751"/>
                      <a:pt x="261461" y="1820704"/>
                      <a:pt x="259556" y="1822609"/>
                    </a:cubicBezTo>
                    <a:close/>
                    <a:moveTo>
                      <a:pt x="330994" y="1783556"/>
                    </a:moveTo>
                    <a:cubicBezTo>
                      <a:pt x="330041" y="1783556"/>
                      <a:pt x="330041" y="1783556"/>
                      <a:pt x="329089" y="1783556"/>
                    </a:cubicBezTo>
                    <a:cubicBezTo>
                      <a:pt x="328136" y="1782604"/>
                      <a:pt x="327184" y="1781651"/>
                      <a:pt x="326231" y="1781651"/>
                    </a:cubicBezTo>
                    <a:cubicBezTo>
                      <a:pt x="324326" y="1779746"/>
                      <a:pt x="323374" y="1778794"/>
                      <a:pt x="321469" y="1777841"/>
                    </a:cubicBezTo>
                    <a:cubicBezTo>
                      <a:pt x="322421" y="1775936"/>
                      <a:pt x="322421" y="1774031"/>
                      <a:pt x="323374" y="1772126"/>
                    </a:cubicBezTo>
                    <a:cubicBezTo>
                      <a:pt x="325279" y="1773079"/>
                      <a:pt x="327184" y="1773079"/>
                      <a:pt x="329089" y="1773079"/>
                    </a:cubicBezTo>
                    <a:cubicBezTo>
                      <a:pt x="331946" y="1773079"/>
                      <a:pt x="333851" y="1772126"/>
                      <a:pt x="335756" y="1771174"/>
                    </a:cubicBezTo>
                    <a:cubicBezTo>
                      <a:pt x="333851" y="1774984"/>
                      <a:pt x="331946" y="1778794"/>
                      <a:pt x="330994" y="1783556"/>
                    </a:cubicBezTo>
                    <a:close/>
                    <a:moveTo>
                      <a:pt x="442436" y="1450181"/>
                    </a:moveTo>
                    <a:cubicBezTo>
                      <a:pt x="444341" y="1453991"/>
                      <a:pt x="447199" y="1456849"/>
                      <a:pt x="451009" y="1458754"/>
                    </a:cubicBezTo>
                    <a:cubicBezTo>
                      <a:pt x="448151" y="1460659"/>
                      <a:pt x="446246" y="1462564"/>
                      <a:pt x="444341" y="1465421"/>
                    </a:cubicBezTo>
                    <a:cubicBezTo>
                      <a:pt x="443389" y="1461611"/>
                      <a:pt x="440531" y="1457801"/>
                      <a:pt x="437674" y="1454944"/>
                    </a:cubicBezTo>
                    <a:cubicBezTo>
                      <a:pt x="438626" y="1453039"/>
                      <a:pt x="440531" y="1452086"/>
                      <a:pt x="442436" y="1450181"/>
                    </a:cubicBezTo>
                    <a:close/>
                    <a:moveTo>
                      <a:pt x="426244" y="1592104"/>
                    </a:moveTo>
                    <a:cubicBezTo>
                      <a:pt x="425291" y="1589246"/>
                      <a:pt x="423386" y="1587341"/>
                      <a:pt x="420529" y="1587341"/>
                    </a:cubicBezTo>
                    <a:cubicBezTo>
                      <a:pt x="420529" y="1587341"/>
                      <a:pt x="419576" y="1587341"/>
                      <a:pt x="419576" y="1587341"/>
                    </a:cubicBezTo>
                    <a:cubicBezTo>
                      <a:pt x="420529" y="1584484"/>
                      <a:pt x="421481" y="1580674"/>
                      <a:pt x="421481" y="1576864"/>
                    </a:cubicBezTo>
                    <a:cubicBezTo>
                      <a:pt x="421481" y="1575911"/>
                      <a:pt x="421481" y="1575911"/>
                      <a:pt x="421481" y="1574959"/>
                    </a:cubicBezTo>
                    <a:cubicBezTo>
                      <a:pt x="421481" y="1574959"/>
                      <a:pt x="422434" y="1574959"/>
                      <a:pt x="422434" y="1574959"/>
                    </a:cubicBezTo>
                    <a:cubicBezTo>
                      <a:pt x="423386" y="1575911"/>
                      <a:pt x="425291" y="1576864"/>
                      <a:pt x="426244" y="1577816"/>
                    </a:cubicBezTo>
                    <a:cubicBezTo>
                      <a:pt x="426244" y="1578769"/>
                      <a:pt x="426244" y="1579721"/>
                      <a:pt x="426244" y="1580674"/>
                    </a:cubicBezTo>
                    <a:cubicBezTo>
                      <a:pt x="426244" y="1585436"/>
                      <a:pt x="427196" y="1589246"/>
                      <a:pt x="430054" y="1593056"/>
                    </a:cubicBezTo>
                    <a:cubicBezTo>
                      <a:pt x="428149" y="1592104"/>
                      <a:pt x="427196" y="1592104"/>
                      <a:pt x="426244" y="1592104"/>
                    </a:cubicBezTo>
                    <a:close/>
                    <a:moveTo>
                      <a:pt x="431959" y="1518761"/>
                    </a:moveTo>
                    <a:cubicBezTo>
                      <a:pt x="430054" y="1517809"/>
                      <a:pt x="427196" y="1517809"/>
                      <a:pt x="425291" y="1517809"/>
                    </a:cubicBezTo>
                    <a:cubicBezTo>
                      <a:pt x="422434" y="1517809"/>
                      <a:pt x="418624" y="1518761"/>
                      <a:pt x="415766" y="1519714"/>
                    </a:cubicBezTo>
                    <a:cubicBezTo>
                      <a:pt x="415766" y="1518761"/>
                      <a:pt x="416719" y="1517809"/>
                      <a:pt x="416719" y="1515904"/>
                    </a:cubicBezTo>
                    <a:cubicBezTo>
                      <a:pt x="416719" y="1513046"/>
                      <a:pt x="415766" y="1510189"/>
                      <a:pt x="413861" y="1508284"/>
                    </a:cubicBezTo>
                    <a:cubicBezTo>
                      <a:pt x="417671" y="1507331"/>
                      <a:pt x="419576" y="1503521"/>
                      <a:pt x="419576" y="1499711"/>
                    </a:cubicBezTo>
                    <a:cubicBezTo>
                      <a:pt x="419576" y="1497806"/>
                      <a:pt x="418624" y="1496854"/>
                      <a:pt x="418624" y="1494949"/>
                    </a:cubicBezTo>
                    <a:cubicBezTo>
                      <a:pt x="420529" y="1493044"/>
                      <a:pt x="422434" y="1490186"/>
                      <a:pt x="422434" y="1486376"/>
                    </a:cubicBezTo>
                    <a:cubicBezTo>
                      <a:pt x="422434" y="1485424"/>
                      <a:pt x="422434" y="1485424"/>
                      <a:pt x="422434" y="1484471"/>
                    </a:cubicBezTo>
                    <a:cubicBezTo>
                      <a:pt x="422434" y="1484471"/>
                      <a:pt x="422434" y="1484471"/>
                      <a:pt x="422434" y="1484471"/>
                    </a:cubicBezTo>
                    <a:cubicBezTo>
                      <a:pt x="424339" y="1488281"/>
                      <a:pt x="428149" y="1491139"/>
                      <a:pt x="431959" y="1491139"/>
                    </a:cubicBezTo>
                    <a:cubicBezTo>
                      <a:pt x="432911" y="1491139"/>
                      <a:pt x="434816" y="1491139"/>
                      <a:pt x="435769" y="1490186"/>
                    </a:cubicBezTo>
                    <a:cubicBezTo>
                      <a:pt x="435769" y="1491139"/>
                      <a:pt x="436721" y="1492091"/>
                      <a:pt x="436721" y="1493044"/>
                    </a:cubicBezTo>
                    <a:cubicBezTo>
                      <a:pt x="432911" y="1495901"/>
                      <a:pt x="430054" y="1499711"/>
                      <a:pt x="430054" y="1505426"/>
                    </a:cubicBezTo>
                    <a:cubicBezTo>
                      <a:pt x="430054" y="1509236"/>
                      <a:pt x="431959" y="1513046"/>
                      <a:pt x="434816" y="1515904"/>
                    </a:cubicBezTo>
                    <a:cubicBezTo>
                      <a:pt x="432911" y="1518761"/>
                      <a:pt x="431959" y="1518761"/>
                      <a:pt x="431959" y="1518761"/>
                    </a:cubicBezTo>
                    <a:close/>
                    <a:moveTo>
                      <a:pt x="445294" y="1609249"/>
                    </a:moveTo>
                    <a:cubicBezTo>
                      <a:pt x="442436" y="1606391"/>
                      <a:pt x="439579" y="1604486"/>
                      <a:pt x="435769" y="1603534"/>
                    </a:cubicBezTo>
                    <a:cubicBezTo>
                      <a:pt x="435769" y="1603534"/>
                      <a:pt x="435769" y="1603534"/>
                      <a:pt x="435769" y="1603534"/>
                    </a:cubicBezTo>
                    <a:cubicBezTo>
                      <a:pt x="435769" y="1601629"/>
                      <a:pt x="435769" y="1600676"/>
                      <a:pt x="434816" y="1598771"/>
                    </a:cubicBezTo>
                    <a:cubicBezTo>
                      <a:pt x="438626" y="1601629"/>
                      <a:pt x="443389" y="1603534"/>
                      <a:pt x="449104" y="1603534"/>
                    </a:cubicBezTo>
                    <a:cubicBezTo>
                      <a:pt x="449104" y="1603534"/>
                      <a:pt x="449104" y="1603534"/>
                      <a:pt x="450056" y="1603534"/>
                    </a:cubicBezTo>
                    <a:cubicBezTo>
                      <a:pt x="451009" y="1604486"/>
                      <a:pt x="451009" y="1605439"/>
                      <a:pt x="451961" y="1606391"/>
                    </a:cubicBezTo>
                    <a:cubicBezTo>
                      <a:pt x="449104" y="1607344"/>
                      <a:pt x="447199" y="1608296"/>
                      <a:pt x="445294" y="1609249"/>
                    </a:cubicBezTo>
                    <a:close/>
                    <a:moveTo>
                      <a:pt x="452914" y="1518761"/>
                    </a:moveTo>
                    <a:cubicBezTo>
                      <a:pt x="452914" y="1518761"/>
                      <a:pt x="451961" y="1517809"/>
                      <a:pt x="451961" y="1517809"/>
                    </a:cubicBezTo>
                    <a:cubicBezTo>
                      <a:pt x="451961" y="1517809"/>
                      <a:pt x="452914" y="1516856"/>
                      <a:pt x="452914" y="1516856"/>
                    </a:cubicBezTo>
                    <a:cubicBezTo>
                      <a:pt x="453866" y="1516856"/>
                      <a:pt x="453866" y="1517809"/>
                      <a:pt x="454819" y="1517809"/>
                    </a:cubicBezTo>
                    <a:cubicBezTo>
                      <a:pt x="452914" y="1518761"/>
                      <a:pt x="452914" y="1518761"/>
                      <a:pt x="452914" y="1518761"/>
                    </a:cubicBezTo>
                    <a:close/>
                    <a:moveTo>
                      <a:pt x="666274" y="511969"/>
                    </a:moveTo>
                    <a:cubicBezTo>
                      <a:pt x="667226" y="511016"/>
                      <a:pt x="667226" y="510064"/>
                      <a:pt x="668179" y="509111"/>
                    </a:cubicBezTo>
                    <a:lnTo>
                      <a:pt x="668179" y="511969"/>
                    </a:lnTo>
                    <a:cubicBezTo>
                      <a:pt x="667226" y="511969"/>
                      <a:pt x="666274" y="511969"/>
                      <a:pt x="666274" y="511969"/>
                    </a:cubicBezTo>
                    <a:close/>
                    <a:moveTo>
                      <a:pt x="657701" y="574834"/>
                    </a:moveTo>
                    <a:cubicBezTo>
                      <a:pt x="658654" y="574834"/>
                      <a:pt x="659606" y="573881"/>
                      <a:pt x="659606" y="572929"/>
                    </a:cubicBezTo>
                    <a:lnTo>
                      <a:pt x="659606" y="575786"/>
                    </a:lnTo>
                    <a:cubicBezTo>
                      <a:pt x="658654" y="575786"/>
                      <a:pt x="658654" y="575786"/>
                      <a:pt x="657701" y="574834"/>
                    </a:cubicBezTo>
                    <a:close/>
                    <a:moveTo>
                      <a:pt x="502444" y="1197769"/>
                    </a:moveTo>
                    <a:cubicBezTo>
                      <a:pt x="504349" y="1198721"/>
                      <a:pt x="505301" y="1198721"/>
                      <a:pt x="507206" y="1198721"/>
                    </a:cubicBezTo>
                    <a:cubicBezTo>
                      <a:pt x="509111" y="1198721"/>
                      <a:pt x="510064" y="1198721"/>
                      <a:pt x="511969" y="1197769"/>
                    </a:cubicBezTo>
                    <a:cubicBezTo>
                      <a:pt x="512921" y="1210151"/>
                      <a:pt x="519589" y="1220629"/>
                      <a:pt x="529114" y="1227296"/>
                    </a:cubicBezTo>
                    <a:cubicBezTo>
                      <a:pt x="528161" y="1228249"/>
                      <a:pt x="527209" y="1229201"/>
                      <a:pt x="526256" y="1230154"/>
                    </a:cubicBezTo>
                    <a:cubicBezTo>
                      <a:pt x="525304" y="1230154"/>
                      <a:pt x="525304" y="1230154"/>
                      <a:pt x="524351" y="1230154"/>
                    </a:cubicBezTo>
                    <a:cubicBezTo>
                      <a:pt x="519589" y="1224439"/>
                      <a:pt x="511969" y="1220629"/>
                      <a:pt x="504349" y="1220629"/>
                    </a:cubicBezTo>
                    <a:cubicBezTo>
                      <a:pt x="504349" y="1220629"/>
                      <a:pt x="504349" y="1220629"/>
                      <a:pt x="503396" y="1220629"/>
                    </a:cubicBezTo>
                    <a:cubicBezTo>
                      <a:pt x="501491" y="1217771"/>
                      <a:pt x="499586" y="1215866"/>
                      <a:pt x="497681" y="1213961"/>
                    </a:cubicBezTo>
                    <a:cubicBezTo>
                      <a:pt x="501491" y="1212056"/>
                      <a:pt x="504349" y="1208246"/>
                      <a:pt x="504349" y="1203484"/>
                    </a:cubicBezTo>
                    <a:cubicBezTo>
                      <a:pt x="504349" y="1201579"/>
                      <a:pt x="503396" y="1199674"/>
                      <a:pt x="502444" y="1197769"/>
                    </a:cubicBezTo>
                    <a:close/>
                    <a:moveTo>
                      <a:pt x="574834" y="1231106"/>
                    </a:moveTo>
                    <a:cubicBezTo>
                      <a:pt x="574834" y="1231106"/>
                      <a:pt x="574834" y="1230154"/>
                      <a:pt x="574834" y="1231106"/>
                    </a:cubicBezTo>
                    <a:cubicBezTo>
                      <a:pt x="576739" y="1229201"/>
                      <a:pt x="578644" y="1228249"/>
                      <a:pt x="579596" y="1226344"/>
                    </a:cubicBezTo>
                    <a:lnTo>
                      <a:pt x="579596" y="1229201"/>
                    </a:lnTo>
                    <a:cubicBezTo>
                      <a:pt x="577691" y="1230154"/>
                      <a:pt x="575786" y="1230154"/>
                      <a:pt x="574834" y="1231106"/>
                    </a:cubicBezTo>
                    <a:close/>
                    <a:moveTo>
                      <a:pt x="516731" y="1371124"/>
                    </a:moveTo>
                    <a:cubicBezTo>
                      <a:pt x="517684" y="1371124"/>
                      <a:pt x="517684" y="1371124"/>
                      <a:pt x="518636" y="1371124"/>
                    </a:cubicBezTo>
                    <a:cubicBezTo>
                      <a:pt x="517684" y="1372076"/>
                      <a:pt x="517684" y="1372076"/>
                      <a:pt x="516731" y="1373029"/>
                    </a:cubicBezTo>
                    <a:cubicBezTo>
                      <a:pt x="516731" y="1372076"/>
                      <a:pt x="516731" y="1371124"/>
                      <a:pt x="516731" y="1371124"/>
                    </a:cubicBezTo>
                    <a:close/>
                    <a:moveTo>
                      <a:pt x="615791" y="838676"/>
                    </a:moveTo>
                    <a:cubicBezTo>
                      <a:pt x="618649" y="842486"/>
                      <a:pt x="622459" y="844391"/>
                      <a:pt x="627221" y="845344"/>
                    </a:cubicBezTo>
                    <a:lnTo>
                      <a:pt x="627221" y="847249"/>
                    </a:lnTo>
                    <a:cubicBezTo>
                      <a:pt x="627221" y="848201"/>
                      <a:pt x="626269" y="848201"/>
                      <a:pt x="626269" y="849154"/>
                    </a:cubicBezTo>
                    <a:cubicBezTo>
                      <a:pt x="624364" y="849154"/>
                      <a:pt x="622459" y="848201"/>
                      <a:pt x="620554" y="848201"/>
                    </a:cubicBezTo>
                    <a:cubicBezTo>
                      <a:pt x="616744" y="848201"/>
                      <a:pt x="613886" y="849154"/>
                      <a:pt x="610076" y="849154"/>
                    </a:cubicBezTo>
                    <a:cubicBezTo>
                      <a:pt x="610076" y="848201"/>
                      <a:pt x="610076" y="847249"/>
                      <a:pt x="610076" y="847249"/>
                    </a:cubicBezTo>
                    <a:cubicBezTo>
                      <a:pt x="610076" y="845344"/>
                      <a:pt x="610076" y="844391"/>
                      <a:pt x="609124" y="842486"/>
                    </a:cubicBezTo>
                    <a:cubicBezTo>
                      <a:pt x="611029" y="842486"/>
                      <a:pt x="613886" y="840581"/>
                      <a:pt x="615791" y="838676"/>
                    </a:cubicBezTo>
                    <a:close/>
                    <a:moveTo>
                      <a:pt x="571024" y="938689"/>
                    </a:moveTo>
                    <a:cubicBezTo>
                      <a:pt x="572929" y="941546"/>
                      <a:pt x="574834" y="942499"/>
                      <a:pt x="577691" y="943451"/>
                    </a:cubicBezTo>
                    <a:cubicBezTo>
                      <a:pt x="576739" y="944404"/>
                      <a:pt x="575786" y="945356"/>
                      <a:pt x="575786" y="946309"/>
                    </a:cubicBezTo>
                    <a:cubicBezTo>
                      <a:pt x="573881" y="943451"/>
                      <a:pt x="571976" y="940594"/>
                      <a:pt x="571024" y="938689"/>
                    </a:cubicBezTo>
                    <a:cubicBezTo>
                      <a:pt x="570071" y="938689"/>
                      <a:pt x="571024" y="938689"/>
                      <a:pt x="571024" y="938689"/>
                    </a:cubicBezTo>
                    <a:close/>
                    <a:moveTo>
                      <a:pt x="552926" y="718661"/>
                    </a:moveTo>
                    <a:cubicBezTo>
                      <a:pt x="558641" y="717709"/>
                      <a:pt x="562451" y="714851"/>
                      <a:pt x="566261" y="710089"/>
                    </a:cubicBezTo>
                    <a:cubicBezTo>
                      <a:pt x="567214" y="710089"/>
                      <a:pt x="567214" y="710089"/>
                      <a:pt x="568166" y="711041"/>
                    </a:cubicBezTo>
                    <a:cubicBezTo>
                      <a:pt x="567214" y="713899"/>
                      <a:pt x="567214" y="716756"/>
                      <a:pt x="567214" y="719614"/>
                    </a:cubicBezTo>
                    <a:cubicBezTo>
                      <a:pt x="567214" y="720566"/>
                      <a:pt x="567214" y="721519"/>
                      <a:pt x="567214" y="723424"/>
                    </a:cubicBezTo>
                    <a:cubicBezTo>
                      <a:pt x="566261" y="723424"/>
                      <a:pt x="565309" y="723424"/>
                      <a:pt x="565309" y="724376"/>
                    </a:cubicBezTo>
                    <a:cubicBezTo>
                      <a:pt x="561499" y="722471"/>
                      <a:pt x="557689" y="720566"/>
                      <a:pt x="552926" y="720566"/>
                    </a:cubicBezTo>
                    <a:cubicBezTo>
                      <a:pt x="552926" y="719614"/>
                      <a:pt x="552926" y="718661"/>
                      <a:pt x="552926" y="718661"/>
                    </a:cubicBezTo>
                    <a:close/>
                    <a:moveTo>
                      <a:pt x="553879" y="816769"/>
                    </a:moveTo>
                    <a:cubicBezTo>
                      <a:pt x="556736" y="812959"/>
                      <a:pt x="558641" y="809149"/>
                      <a:pt x="559594" y="804386"/>
                    </a:cubicBezTo>
                    <a:cubicBezTo>
                      <a:pt x="560546" y="804386"/>
                      <a:pt x="560546" y="804386"/>
                      <a:pt x="561499" y="804386"/>
                    </a:cubicBezTo>
                    <a:cubicBezTo>
                      <a:pt x="563404" y="806291"/>
                      <a:pt x="566261" y="807244"/>
                      <a:pt x="569119" y="808196"/>
                    </a:cubicBezTo>
                    <a:cubicBezTo>
                      <a:pt x="568166" y="810101"/>
                      <a:pt x="568166" y="812006"/>
                      <a:pt x="568166" y="813911"/>
                    </a:cubicBezTo>
                    <a:cubicBezTo>
                      <a:pt x="565309" y="815816"/>
                      <a:pt x="563404" y="818674"/>
                      <a:pt x="563404" y="822484"/>
                    </a:cubicBezTo>
                    <a:cubicBezTo>
                      <a:pt x="563404" y="823436"/>
                      <a:pt x="563404" y="823436"/>
                      <a:pt x="563404" y="824389"/>
                    </a:cubicBezTo>
                    <a:cubicBezTo>
                      <a:pt x="558641" y="824389"/>
                      <a:pt x="553879" y="825341"/>
                      <a:pt x="550069" y="828199"/>
                    </a:cubicBezTo>
                    <a:cubicBezTo>
                      <a:pt x="552926" y="824389"/>
                      <a:pt x="553879" y="820579"/>
                      <a:pt x="553879" y="816769"/>
                    </a:cubicBezTo>
                    <a:close/>
                    <a:moveTo>
                      <a:pt x="547211" y="968216"/>
                    </a:moveTo>
                    <a:cubicBezTo>
                      <a:pt x="547211" y="969169"/>
                      <a:pt x="547211" y="969169"/>
                      <a:pt x="547211" y="970121"/>
                    </a:cubicBezTo>
                    <a:cubicBezTo>
                      <a:pt x="547211" y="972979"/>
                      <a:pt x="550069" y="975836"/>
                      <a:pt x="552926" y="975836"/>
                    </a:cubicBezTo>
                    <a:cubicBezTo>
                      <a:pt x="555784" y="975836"/>
                      <a:pt x="557689" y="973931"/>
                      <a:pt x="558641" y="972026"/>
                    </a:cubicBezTo>
                    <a:cubicBezTo>
                      <a:pt x="558641" y="972026"/>
                      <a:pt x="558641" y="972026"/>
                      <a:pt x="558641" y="972026"/>
                    </a:cubicBezTo>
                    <a:cubicBezTo>
                      <a:pt x="560546" y="972026"/>
                      <a:pt x="561499" y="972026"/>
                      <a:pt x="563404" y="971074"/>
                    </a:cubicBezTo>
                    <a:cubicBezTo>
                      <a:pt x="563404" y="972026"/>
                      <a:pt x="562451" y="972979"/>
                      <a:pt x="562451" y="973931"/>
                    </a:cubicBezTo>
                    <a:cubicBezTo>
                      <a:pt x="562451" y="976789"/>
                      <a:pt x="564356" y="979646"/>
                      <a:pt x="567214" y="980599"/>
                    </a:cubicBezTo>
                    <a:cubicBezTo>
                      <a:pt x="568166" y="984409"/>
                      <a:pt x="569119" y="988219"/>
                      <a:pt x="571024" y="991076"/>
                    </a:cubicBezTo>
                    <a:cubicBezTo>
                      <a:pt x="570071" y="991076"/>
                      <a:pt x="568166" y="992029"/>
                      <a:pt x="567214" y="992029"/>
                    </a:cubicBezTo>
                    <a:cubicBezTo>
                      <a:pt x="565309" y="990124"/>
                      <a:pt x="562451" y="989171"/>
                      <a:pt x="559594" y="989171"/>
                    </a:cubicBezTo>
                    <a:cubicBezTo>
                      <a:pt x="553879" y="989171"/>
                      <a:pt x="550069" y="992981"/>
                      <a:pt x="548164" y="996791"/>
                    </a:cubicBezTo>
                    <a:cubicBezTo>
                      <a:pt x="547211" y="997744"/>
                      <a:pt x="546259" y="999649"/>
                      <a:pt x="545306" y="1001554"/>
                    </a:cubicBezTo>
                    <a:cubicBezTo>
                      <a:pt x="543401" y="998696"/>
                      <a:pt x="539591" y="995839"/>
                      <a:pt x="536734" y="994886"/>
                    </a:cubicBezTo>
                    <a:cubicBezTo>
                      <a:pt x="536734" y="993934"/>
                      <a:pt x="537686" y="992981"/>
                      <a:pt x="537686" y="992029"/>
                    </a:cubicBezTo>
                    <a:cubicBezTo>
                      <a:pt x="537686" y="988219"/>
                      <a:pt x="534829" y="985361"/>
                      <a:pt x="531019" y="985361"/>
                    </a:cubicBezTo>
                    <a:cubicBezTo>
                      <a:pt x="527209" y="985361"/>
                      <a:pt x="524351" y="988219"/>
                      <a:pt x="524351" y="992029"/>
                    </a:cubicBezTo>
                    <a:cubicBezTo>
                      <a:pt x="524351" y="992981"/>
                      <a:pt x="524351" y="992981"/>
                      <a:pt x="524351" y="993934"/>
                    </a:cubicBezTo>
                    <a:cubicBezTo>
                      <a:pt x="518636" y="995839"/>
                      <a:pt x="513874" y="999649"/>
                      <a:pt x="511016" y="1004411"/>
                    </a:cubicBezTo>
                    <a:cubicBezTo>
                      <a:pt x="509111" y="1002506"/>
                      <a:pt x="507206" y="1000601"/>
                      <a:pt x="504349" y="1000601"/>
                    </a:cubicBezTo>
                    <a:cubicBezTo>
                      <a:pt x="504349" y="1000601"/>
                      <a:pt x="504349" y="1000601"/>
                      <a:pt x="503396" y="1000601"/>
                    </a:cubicBezTo>
                    <a:cubicBezTo>
                      <a:pt x="503396" y="998696"/>
                      <a:pt x="502444" y="996791"/>
                      <a:pt x="501491" y="995839"/>
                    </a:cubicBezTo>
                    <a:cubicBezTo>
                      <a:pt x="501491" y="995839"/>
                      <a:pt x="501491" y="995839"/>
                      <a:pt x="502444" y="995839"/>
                    </a:cubicBezTo>
                    <a:cubicBezTo>
                      <a:pt x="514826" y="995839"/>
                      <a:pt x="524351" y="986314"/>
                      <a:pt x="524351" y="973931"/>
                    </a:cubicBezTo>
                    <a:cubicBezTo>
                      <a:pt x="524351" y="973931"/>
                      <a:pt x="524351" y="972979"/>
                      <a:pt x="524351" y="972979"/>
                    </a:cubicBezTo>
                    <a:cubicBezTo>
                      <a:pt x="525304" y="973931"/>
                      <a:pt x="527209" y="973931"/>
                      <a:pt x="529114" y="973931"/>
                    </a:cubicBezTo>
                    <a:cubicBezTo>
                      <a:pt x="535781" y="973931"/>
                      <a:pt x="541496" y="968216"/>
                      <a:pt x="541496" y="961549"/>
                    </a:cubicBezTo>
                    <a:cubicBezTo>
                      <a:pt x="541496" y="954881"/>
                      <a:pt x="535781" y="949166"/>
                      <a:pt x="529114" y="949166"/>
                    </a:cubicBezTo>
                    <a:cubicBezTo>
                      <a:pt x="525304" y="949166"/>
                      <a:pt x="521494" y="951071"/>
                      <a:pt x="519589" y="954881"/>
                    </a:cubicBezTo>
                    <a:cubicBezTo>
                      <a:pt x="519589" y="953929"/>
                      <a:pt x="520541" y="952024"/>
                      <a:pt x="520541" y="951071"/>
                    </a:cubicBezTo>
                    <a:cubicBezTo>
                      <a:pt x="520541" y="940594"/>
                      <a:pt x="511969" y="931069"/>
                      <a:pt x="500539" y="931069"/>
                    </a:cubicBezTo>
                    <a:cubicBezTo>
                      <a:pt x="497681" y="931069"/>
                      <a:pt x="495776" y="932021"/>
                      <a:pt x="492919" y="932974"/>
                    </a:cubicBezTo>
                    <a:cubicBezTo>
                      <a:pt x="491966" y="929164"/>
                      <a:pt x="488156" y="926306"/>
                      <a:pt x="484346" y="925354"/>
                    </a:cubicBezTo>
                    <a:cubicBezTo>
                      <a:pt x="485299" y="923449"/>
                      <a:pt x="486251" y="920591"/>
                      <a:pt x="486251" y="917734"/>
                    </a:cubicBezTo>
                    <a:cubicBezTo>
                      <a:pt x="486251" y="915829"/>
                      <a:pt x="486251" y="914876"/>
                      <a:pt x="485299" y="912971"/>
                    </a:cubicBezTo>
                    <a:cubicBezTo>
                      <a:pt x="487204" y="911066"/>
                      <a:pt x="488156" y="909161"/>
                      <a:pt x="488156" y="906304"/>
                    </a:cubicBezTo>
                    <a:cubicBezTo>
                      <a:pt x="488156" y="904399"/>
                      <a:pt x="487204" y="903446"/>
                      <a:pt x="486251" y="901541"/>
                    </a:cubicBezTo>
                    <a:cubicBezTo>
                      <a:pt x="489109" y="899636"/>
                      <a:pt x="491014" y="896779"/>
                      <a:pt x="492919" y="893921"/>
                    </a:cubicBezTo>
                    <a:cubicBezTo>
                      <a:pt x="495776" y="899636"/>
                      <a:pt x="500539" y="904399"/>
                      <a:pt x="505301" y="907256"/>
                    </a:cubicBezTo>
                    <a:cubicBezTo>
                      <a:pt x="505301" y="907256"/>
                      <a:pt x="505301" y="907256"/>
                      <a:pt x="505301" y="907256"/>
                    </a:cubicBezTo>
                    <a:cubicBezTo>
                      <a:pt x="505301" y="921544"/>
                      <a:pt x="512921" y="934879"/>
                      <a:pt x="525304" y="941546"/>
                    </a:cubicBezTo>
                    <a:cubicBezTo>
                      <a:pt x="528161" y="945356"/>
                      <a:pt x="532924" y="947261"/>
                      <a:pt x="537686" y="947261"/>
                    </a:cubicBezTo>
                    <a:cubicBezTo>
                      <a:pt x="537686" y="947261"/>
                      <a:pt x="538639" y="947261"/>
                      <a:pt x="538639" y="947261"/>
                    </a:cubicBezTo>
                    <a:cubicBezTo>
                      <a:pt x="538639" y="947261"/>
                      <a:pt x="539591" y="947261"/>
                      <a:pt x="539591" y="948214"/>
                    </a:cubicBezTo>
                    <a:cubicBezTo>
                      <a:pt x="539591" y="949166"/>
                      <a:pt x="539591" y="951071"/>
                      <a:pt x="539591" y="952024"/>
                    </a:cubicBezTo>
                    <a:cubicBezTo>
                      <a:pt x="539591" y="959644"/>
                      <a:pt x="542449" y="964406"/>
                      <a:pt x="547211" y="968216"/>
                    </a:cubicBezTo>
                    <a:close/>
                    <a:moveTo>
                      <a:pt x="549116" y="1032986"/>
                    </a:moveTo>
                    <a:cubicBezTo>
                      <a:pt x="543401" y="1036796"/>
                      <a:pt x="539591" y="1041559"/>
                      <a:pt x="536734" y="1048226"/>
                    </a:cubicBezTo>
                    <a:cubicBezTo>
                      <a:pt x="535781" y="1048226"/>
                      <a:pt x="534829" y="1048226"/>
                      <a:pt x="532924" y="1048226"/>
                    </a:cubicBezTo>
                    <a:cubicBezTo>
                      <a:pt x="531971" y="1048226"/>
                      <a:pt x="531971" y="1048226"/>
                      <a:pt x="531019" y="1048226"/>
                    </a:cubicBezTo>
                    <a:cubicBezTo>
                      <a:pt x="531019" y="1048226"/>
                      <a:pt x="531019" y="1048226"/>
                      <a:pt x="531019" y="1047274"/>
                    </a:cubicBezTo>
                    <a:cubicBezTo>
                      <a:pt x="533876" y="1044416"/>
                      <a:pt x="535781" y="1041559"/>
                      <a:pt x="535781" y="1036796"/>
                    </a:cubicBezTo>
                    <a:cubicBezTo>
                      <a:pt x="535781" y="1035844"/>
                      <a:pt x="535781" y="1034891"/>
                      <a:pt x="534829" y="1032986"/>
                    </a:cubicBezTo>
                    <a:cubicBezTo>
                      <a:pt x="540544" y="1031081"/>
                      <a:pt x="545306" y="1025366"/>
                      <a:pt x="547211" y="1018699"/>
                    </a:cubicBezTo>
                    <a:cubicBezTo>
                      <a:pt x="547211" y="1018699"/>
                      <a:pt x="548164" y="1019651"/>
                      <a:pt x="548164" y="1019651"/>
                    </a:cubicBezTo>
                    <a:cubicBezTo>
                      <a:pt x="547211" y="1021556"/>
                      <a:pt x="547211" y="1024414"/>
                      <a:pt x="547211" y="1026319"/>
                    </a:cubicBezTo>
                    <a:cubicBezTo>
                      <a:pt x="548164" y="1029176"/>
                      <a:pt x="548164" y="1031081"/>
                      <a:pt x="549116" y="1032986"/>
                    </a:cubicBezTo>
                    <a:close/>
                    <a:moveTo>
                      <a:pt x="506254" y="814864"/>
                    </a:moveTo>
                    <a:cubicBezTo>
                      <a:pt x="503396" y="813911"/>
                      <a:pt x="500539" y="812959"/>
                      <a:pt x="497681" y="812959"/>
                    </a:cubicBezTo>
                    <a:cubicBezTo>
                      <a:pt x="497681" y="812959"/>
                      <a:pt x="497681" y="812959"/>
                      <a:pt x="497681" y="812959"/>
                    </a:cubicBezTo>
                    <a:cubicBezTo>
                      <a:pt x="501491" y="812006"/>
                      <a:pt x="504349" y="809149"/>
                      <a:pt x="507206" y="806291"/>
                    </a:cubicBezTo>
                    <a:cubicBezTo>
                      <a:pt x="508159" y="806291"/>
                      <a:pt x="508159" y="805339"/>
                      <a:pt x="509111" y="805339"/>
                    </a:cubicBezTo>
                    <a:cubicBezTo>
                      <a:pt x="509111" y="805339"/>
                      <a:pt x="509111" y="805339"/>
                      <a:pt x="509111" y="806291"/>
                    </a:cubicBezTo>
                    <a:cubicBezTo>
                      <a:pt x="507206" y="808196"/>
                      <a:pt x="506254" y="810101"/>
                      <a:pt x="506254" y="812959"/>
                    </a:cubicBezTo>
                    <a:cubicBezTo>
                      <a:pt x="506254" y="812959"/>
                      <a:pt x="506254" y="813911"/>
                      <a:pt x="506254" y="814864"/>
                    </a:cubicBezTo>
                    <a:close/>
                    <a:moveTo>
                      <a:pt x="521494" y="822484"/>
                    </a:moveTo>
                    <a:cubicBezTo>
                      <a:pt x="524351" y="828199"/>
                      <a:pt x="530066" y="832961"/>
                      <a:pt x="536734" y="832961"/>
                    </a:cubicBezTo>
                    <a:cubicBezTo>
                      <a:pt x="538639" y="832961"/>
                      <a:pt x="541496" y="832961"/>
                      <a:pt x="543401" y="832009"/>
                    </a:cubicBezTo>
                    <a:cubicBezTo>
                      <a:pt x="540544" y="834866"/>
                      <a:pt x="538639" y="838676"/>
                      <a:pt x="536734" y="842486"/>
                    </a:cubicBezTo>
                    <a:cubicBezTo>
                      <a:pt x="535781" y="842486"/>
                      <a:pt x="534829" y="842486"/>
                      <a:pt x="533876" y="842486"/>
                    </a:cubicBezTo>
                    <a:cubicBezTo>
                      <a:pt x="526256" y="842486"/>
                      <a:pt x="519589" y="848201"/>
                      <a:pt x="517684" y="854869"/>
                    </a:cubicBezTo>
                    <a:cubicBezTo>
                      <a:pt x="517684" y="854869"/>
                      <a:pt x="517684" y="854869"/>
                      <a:pt x="517684" y="854869"/>
                    </a:cubicBezTo>
                    <a:cubicBezTo>
                      <a:pt x="516731" y="854869"/>
                      <a:pt x="516731" y="854869"/>
                      <a:pt x="515779" y="854869"/>
                    </a:cubicBezTo>
                    <a:cubicBezTo>
                      <a:pt x="519589" y="850106"/>
                      <a:pt x="522446" y="844391"/>
                      <a:pt x="522446" y="838676"/>
                    </a:cubicBezTo>
                    <a:cubicBezTo>
                      <a:pt x="522446" y="832009"/>
                      <a:pt x="519589" y="825341"/>
                      <a:pt x="514826" y="820579"/>
                    </a:cubicBezTo>
                    <a:cubicBezTo>
                      <a:pt x="515779" y="820579"/>
                      <a:pt x="516731" y="820579"/>
                      <a:pt x="516731" y="819626"/>
                    </a:cubicBezTo>
                    <a:cubicBezTo>
                      <a:pt x="518636" y="820579"/>
                      <a:pt x="519589" y="821531"/>
                      <a:pt x="521494" y="822484"/>
                    </a:cubicBezTo>
                    <a:close/>
                    <a:moveTo>
                      <a:pt x="487204" y="723424"/>
                    </a:moveTo>
                    <a:cubicBezTo>
                      <a:pt x="488156" y="725329"/>
                      <a:pt x="489109" y="726281"/>
                      <a:pt x="490061" y="728186"/>
                    </a:cubicBezTo>
                    <a:cubicBezTo>
                      <a:pt x="489109" y="729139"/>
                      <a:pt x="487204" y="730091"/>
                      <a:pt x="486251" y="731996"/>
                    </a:cubicBezTo>
                    <a:cubicBezTo>
                      <a:pt x="487204" y="729139"/>
                      <a:pt x="487204" y="727234"/>
                      <a:pt x="487204" y="723424"/>
                    </a:cubicBezTo>
                    <a:cubicBezTo>
                      <a:pt x="487204" y="724376"/>
                      <a:pt x="487204" y="723424"/>
                      <a:pt x="487204" y="723424"/>
                    </a:cubicBezTo>
                    <a:close/>
                    <a:moveTo>
                      <a:pt x="362426" y="708184"/>
                    </a:moveTo>
                    <a:cubicBezTo>
                      <a:pt x="370999" y="708184"/>
                      <a:pt x="377666" y="703421"/>
                      <a:pt x="380524" y="695801"/>
                    </a:cubicBezTo>
                    <a:cubicBezTo>
                      <a:pt x="381476" y="695801"/>
                      <a:pt x="382429" y="694849"/>
                      <a:pt x="383381" y="694849"/>
                    </a:cubicBezTo>
                    <a:cubicBezTo>
                      <a:pt x="385286" y="699611"/>
                      <a:pt x="389096" y="702469"/>
                      <a:pt x="392906" y="705326"/>
                    </a:cubicBezTo>
                    <a:cubicBezTo>
                      <a:pt x="383381" y="710089"/>
                      <a:pt x="376714" y="716756"/>
                      <a:pt x="371951" y="726281"/>
                    </a:cubicBezTo>
                    <a:cubicBezTo>
                      <a:pt x="370999" y="718661"/>
                      <a:pt x="366236" y="711994"/>
                      <a:pt x="360521" y="708184"/>
                    </a:cubicBezTo>
                    <a:cubicBezTo>
                      <a:pt x="361474" y="708184"/>
                      <a:pt x="361474" y="708184"/>
                      <a:pt x="362426" y="708184"/>
                    </a:cubicBezTo>
                    <a:close/>
                    <a:moveTo>
                      <a:pt x="453866" y="781526"/>
                    </a:moveTo>
                    <a:cubicBezTo>
                      <a:pt x="448151" y="781526"/>
                      <a:pt x="443389" y="786289"/>
                      <a:pt x="443389" y="791051"/>
                    </a:cubicBezTo>
                    <a:cubicBezTo>
                      <a:pt x="443389" y="795814"/>
                      <a:pt x="446246" y="798671"/>
                      <a:pt x="450056" y="800576"/>
                    </a:cubicBezTo>
                    <a:cubicBezTo>
                      <a:pt x="445294" y="802481"/>
                      <a:pt x="441484" y="805339"/>
                      <a:pt x="438626" y="809149"/>
                    </a:cubicBezTo>
                    <a:cubicBezTo>
                      <a:pt x="428149" y="810101"/>
                      <a:pt x="419576" y="818674"/>
                      <a:pt x="419576" y="830104"/>
                    </a:cubicBezTo>
                    <a:cubicBezTo>
                      <a:pt x="419576" y="835819"/>
                      <a:pt x="421481" y="840581"/>
                      <a:pt x="425291" y="844391"/>
                    </a:cubicBezTo>
                    <a:cubicBezTo>
                      <a:pt x="424339" y="845344"/>
                      <a:pt x="424339" y="845344"/>
                      <a:pt x="423386" y="846296"/>
                    </a:cubicBezTo>
                    <a:cubicBezTo>
                      <a:pt x="418624" y="839629"/>
                      <a:pt x="411956" y="833914"/>
                      <a:pt x="404336" y="832009"/>
                    </a:cubicBezTo>
                    <a:cubicBezTo>
                      <a:pt x="401479" y="830104"/>
                      <a:pt x="398621" y="828199"/>
                      <a:pt x="394811" y="828199"/>
                    </a:cubicBezTo>
                    <a:cubicBezTo>
                      <a:pt x="391954" y="828199"/>
                      <a:pt x="389096" y="829151"/>
                      <a:pt x="386239" y="831056"/>
                    </a:cubicBezTo>
                    <a:cubicBezTo>
                      <a:pt x="378619" y="832961"/>
                      <a:pt x="372904" y="836771"/>
                      <a:pt x="368141" y="842486"/>
                    </a:cubicBezTo>
                    <a:cubicBezTo>
                      <a:pt x="367189" y="840581"/>
                      <a:pt x="365284" y="838676"/>
                      <a:pt x="363379" y="837724"/>
                    </a:cubicBezTo>
                    <a:cubicBezTo>
                      <a:pt x="362426" y="832961"/>
                      <a:pt x="360521" y="829151"/>
                      <a:pt x="357664" y="826294"/>
                    </a:cubicBezTo>
                    <a:cubicBezTo>
                      <a:pt x="365284" y="822484"/>
                      <a:pt x="370046" y="815816"/>
                      <a:pt x="370046" y="807244"/>
                    </a:cubicBezTo>
                    <a:cubicBezTo>
                      <a:pt x="370999" y="807244"/>
                      <a:pt x="371951" y="807244"/>
                      <a:pt x="372904" y="807244"/>
                    </a:cubicBezTo>
                    <a:cubicBezTo>
                      <a:pt x="378619" y="807244"/>
                      <a:pt x="383381" y="806291"/>
                      <a:pt x="388144" y="803434"/>
                    </a:cubicBezTo>
                    <a:cubicBezTo>
                      <a:pt x="386239" y="805339"/>
                      <a:pt x="385286" y="808196"/>
                      <a:pt x="385286" y="811054"/>
                    </a:cubicBezTo>
                    <a:cubicBezTo>
                      <a:pt x="385286" y="817721"/>
                      <a:pt x="391001" y="823436"/>
                      <a:pt x="397669" y="823436"/>
                    </a:cubicBezTo>
                    <a:cubicBezTo>
                      <a:pt x="404336" y="823436"/>
                      <a:pt x="410051" y="817721"/>
                      <a:pt x="410051" y="811054"/>
                    </a:cubicBezTo>
                    <a:cubicBezTo>
                      <a:pt x="410051" y="804386"/>
                      <a:pt x="404336" y="798671"/>
                      <a:pt x="397669" y="798671"/>
                    </a:cubicBezTo>
                    <a:cubicBezTo>
                      <a:pt x="396716" y="798671"/>
                      <a:pt x="395764" y="798671"/>
                      <a:pt x="394811" y="799624"/>
                    </a:cubicBezTo>
                    <a:cubicBezTo>
                      <a:pt x="395764" y="798671"/>
                      <a:pt x="396716" y="797719"/>
                      <a:pt x="398621" y="795814"/>
                    </a:cubicBezTo>
                    <a:cubicBezTo>
                      <a:pt x="406241" y="795814"/>
                      <a:pt x="412909" y="792004"/>
                      <a:pt x="416719" y="787241"/>
                    </a:cubicBezTo>
                    <a:cubicBezTo>
                      <a:pt x="419576" y="788194"/>
                      <a:pt x="421481" y="788194"/>
                      <a:pt x="424339" y="788194"/>
                    </a:cubicBezTo>
                    <a:cubicBezTo>
                      <a:pt x="441484" y="788194"/>
                      <a:pt x="454819" y="775811"/>
                      <a:pt x="456724" y="759619"/>
                    </a:cubicBezTo>
                    <a:cubicBezTo>
                      <a:pt x="457676" y="759619"/>
                      <a:pt x="459581" y="759619"/>
                      <a:pt x="460534" y="759619"/>
                    </a:cubicBezTo>
                    <a:cubicBezTo>
                      <a:pt x="471011" y="759619"/>
                      <a:pt x="479584" y="752951"/>
                      <a:pt x="482441" y="743426"/>
                    </a:cubicBezTo>
                    <a:cubicBezTo>
                      <a:pt x="483394" y="751999"/>
                      <a:pt x="490061" y="757714"/>
                      <a:pt x="498634" y="757714"/>
                    </a:cubicBezTo>
                    <a:cubicBezTo>
                      <a:pt x="507206" y="757714"/>
                      <a:pt x="513874" y="751046"/>
                      <a:pt x="514826" y="742474"/>
                    </a:cubicBezTo>
                    <a:cubicBezTo>
                      <a:pt x="514826" y="742474"/>
                      <a:pt x="515779" y="742474"/>
                      <a:pt x="515779" y="742474"/>
                    </a:cubicBezTo>
                    <a:cubicBezTo>
                      <a:pt x="514826" y="745331"/>
                      <a:pt x="513874" y="749141"/>
                      <a:pt x="513874" y="751999"/>
                    </a:cubicBezTo>
                    <a:cubicBezTo>
                      <a:pt x="513874" y="752951"/>
                      <a:pt x="513874" y="753904"/>
                      <a:pt x="513874" y="755809"/>
                    </a:cubicBezTo>
                    <a:cubicBezTo>
                      <a:pt x="511016" y="759619"/>
                      <a:pt x="509111" y="763429"/>
                      <a:pt x="509111" y="768191"/>
                    </a:cubicBezTo>
                    <a:cubicBezTo>
                      <a:pt x="509111" y="773906"/>
                      <a:pt x="511016" y="778669"/>
                      <a:pt x="514826" y="781526"/>
                    </a:cubicBezTo>
                    <a:cubicBezTo>
                      <a:pt x="512921" y="783431"/>
                      <a:pt x="511016" y="785336"/>
                      <a:pt x="510064" y="788194"/>
                    </a:cubicBezTo>
                    <a:cubicBezTo>
                      <a:pt x="508159" y="785336"/>
                      <a:pt x="505301" y="783431"/>
                      <a:pt x="501491" y="783431"/>
                    </a:cubicBezTo>
                    <a:cubicBezTo>
                      <a:pt x="498634" y="781526"/>
                      <a:pt x="495776" y="780574"/>
                      <a:pt x="491966" y="780574"/>
                    </a:cubicBezTo>
                    <a:cubicBezTo>
                      <a:pt x="491014" y="780574"/>
                      <a:pt x="490061" y="780574"/>
                      <a:pt x="490061" y="780574"/>
                    </a:cubicBezTo>
                    <a:cubicBezTo>
                      <a:pt x="490061" y="780574"/>
                      <a:pt x="490061" y="779621"/>
                      <a:pt x="490061" y="779621"/>
                    </a:cubicBezTo>
                    <a:cubicBezTo>
                      <a:pt x="490061" y="772954"/>
                      <a:pt x="484346" y="767239"/>
                      <a:pt x="477679" y="767239"/>
                    </a:cubicBezTo>
                    <a:cubicBezTo>
                      <a:pt x="471011" y="767239"/>
                      <a:pt x="465296" y="772954"/>
                      <a:pt x="465296" y="779621"/>
                    </a:cubicBezTo>
                    <a:cubicBezTo>
                      <a:pt x="465296" y="784384"/>
                      <a:pt x="468154" y="787241"/>
                      <a:pt x="471011" y="790099"/>
                    </a:cubicBezTo>
                    <a:cubicBezTo>
                      <a:pt x="465296" y="792004"/>
                      <a:pt x="461486" y="794861"/>
                      <a:pt x="458629" y="799624"/>
                    </a:cubicBezTo>
                    <a:cubicBezTo>
                      <a:pt x="458629" y="799624"/>
                      <a:pt x="457676" y="799624"/>
                      <a:pt x="457676" y="799624"/>
                    </a:cubicBezTo>
                    <a:cubicBezTo>
                      <a:pt x="460534" y="797719"/>
                      <a:pt x="462439" y="794861"/>
                      <a:pt x="462439" y="791051"/>
                    </a:cubicBezTo>
                    <a:cubicBezTo>
                      <a:pt x="463391" y="786289"/>
                      <a:pt x="459581" y="781526"/>
                      <a:pt x="453866" y="781526"/>
                    </a:cubicBezTo>
                    <a:close/>
                    <a:moveTo>
                      <a:pt x="481489" y="946309"/>
                    </a:moveTo>
                    <a:cubicBezTo>
                      <a:pt x="480536" y="948214"/>
                      <a:pt x="480536" y="950119"/>
                      <a:pt x="480536" y="951071"/>
                    </a:cubicBezTo>
                    <a:cubicBezTo>
                      <a:pt x="478631" y="945356"/>
                      <a:pt x="474821" y="940594"/>
                      <a:pt x="470059" y="936784"/>
                    </a:cubicBezTo>
                    <a:cubicBezTo>
                      <a:pt x="471011" y="936784"/>
                      <a:pt x="472916" y="935831"/>
                      <a:pt x="473869" y="935831"/>
                    </a:cubicBezTo>
                    <a:cubicBezTo>
                      <a:pt x="473869" y="935831"/>
                      <a:pt x="473869" y="935831"/>
                      <a:pt x="473869" y="935831"/>
                    </a:cubicBezTo>
                    <a:cubicBezTo>
                      <a:pt x="472916" y="941546"/>
                      <a:pt x="476726" y="945356"/>
                      <a:pt x="481489" y="946309"/>
                    </a:cubicBezTo>
                    <a:close/>
                    <a:moveTo>
                      <a:pt x="345281" y="1095851"/>
                    </a:moveTo>
                    <a:cubicBezTo>
                      <a:pt x="345281" y="1095851"/>
                      <a:pt x="345281" y="1095851"/>
                      <a:pt x="345281" y="1095851"/>
                    </a:cubicBezTo>
                    <a:cubicBezTo>
                      <a:pt x="345281" y="1095851"/>
                      <a:pt x="345281" y="1095851"/>
                      <a:pt x="345281" y="1095851"/>
                    </a:cubicBezTo>
                    <a:cubicBezTo>
                      <a:pt x="345281" y="1095851"/>
                      <a:pt x="345281" y="1095851"/>
                      <a:pt x="345281" y="1095851"/>
                    </a:cubicBezTo>
                    <a:close/>
                    <a:moveTo>
                      <a:pt x="423386" y="1187291"/>
                    </a:moveTo>
                    <a:cubicBezTo>
                      <a:pt x="422434" y="1187291"/>
                      <a:pt x="421481" y="1187291"/>
                      <a:pt x="421481" y="1188244"/>
                    </a:cubicBezTo>
                    <a:cubicBezTo>
                      <a:pt x="422434" y="1186339"/>
                      <a:pt x="423386" y="1183481"/>
                      <a:pt x="423386" y="1181576"/>
                    </a:cubicBezTo>
                    <a:cubicBezTo>
                      <a:pt x="424339" y="1181576"/>
                      <a:pt x="425291" y="1182529"/>
                      <a:pt x="426244" y="1182529"/>
                    </a:cubicBezTo>
                    <a:cubicBezTo>
                      <a:pt x="427196" y="1183481"/>
                      <a:pt x="428149" y="1184434"/>
                      <a:pt x="430054" y="1185386"/>
                    </a:cubicBezTo>
                    <a:cubicBezTo>
                      <a:pt x="427196" y="1185386"/>
                      <a:pt x="425291" y="1186339"/>
                      <a:pt x="423386" y="1187291"/>
                    </a:cubicBezTo>
                    <a:close/>
                    <a:moveTo>
                      <a:pt x="432911" y="1183481"/>
                    </a:moveTo>
                    <a:cubicBezTo>
                      <a:pt x="432911" y="1183481"/>
                      <a:pt x="432911" y="1183481"/>
                      <a:pt x="432911" y="1183481"/>
                    </a:cubicBezTo>
                    <a:cubicBezTo>
                      <a:pt x="433864" y="1183481"/>
                      <a:pt x="433864" y="1183481"/>
                      <a:pt x="432911" y="1183481"/>
                    </a:cubicBezTo>
                    <a:cubicBezTo>
                      <a:pt x="433864" y="1183481"/>
                      <a:pt x="432911" y="1183481"/>
                      <a:pt x="432911" y="1183481"/>
                    </a:cubicBezTo>
                    <a:close/>
                    <a:moveTo>
                      <a:pt x="455771" y="1106329"/>
                    </a:moveTo>
                    <a:cubicBezTo>
                      <a:pt x="450056" y="1108234"/>
                      <a:pt x="445294" y="1112044"/>
                      <a:pt x="443389" y="1117759"/>
                    </a:cubicBezTo>
                    <a:cubicBezTo>
                      <a:pt x="440531" y="1116806"/>
                      <a:pt x="437674" y="1115854"/>
                      <a:pt x="433864" y="1115854"/>
                    </a:cubicBezTo>
                    <a:cubicBezTo>
                      <a:pt x="415766" y="1115854"/>
                      <a:pt x="400526" y="1131094"/>
                      <a:pt x="400526" y="1149191"/>
                    </a:cubicBezTo>
                    <a:cubicBezTo>
                      <a:pt x="400526" y="1153954"/>
                      <a:pt x="401479" y="1158716"/>
                      <a:pt x="403384" y="1162526"/>
                    </a:cubicBezTo>
                    <a:cubicBezTo>
                      <a:pt x="393859" y="1163479"/>
                      <a:pt x="387191" y="1171099"/>
                      <a:pt x="387191" y="1179671"/>
                    </a:cubicBezTo>
                    <a:cubicBezTo>
                      <a:pt x="387191" y="1185386"/>
                      <a:pt x="390049" y="1191101"/>
                      <a:pt x="394811" y="1193959"/>
                    </a:cubicBezTo>
                    <a:cubicBezTo>
                      <a:pt x="391001" y="1196816"/>
                      <a:pt x="389096" y="1201579"/>
                      <a:pt x="389096" y="1206341"/>
                    </a:cubicBezTo>
                    <a:cubicBezTo>
                      <a:pt x="389096" y="1213009"/>
                      <a:pt x="392906" y="1218724"/>
                      <a:pt x="399574" y="1221581"/>
                    </a:cubicBezTo>
                    <a:cubicBezTo>
                      <a:pt x="400526" y="1226344"/>
                      <a:pt x="404336" y="1230154"/>
                      <a:pt x="409099" y="1231106"/>
                    </a:cubicBezTo>
                    <a:cubicBezTo>
                      <a:pt x="401479" y="1234916"/>
                      <a:pt x="394811" y="1241584"/>
                      <a:pt x="392906" y="1250156"/>
                    </a:cubicBezTo>
                    <a:cubicBezTo>
                      <a:pt x="391954" y="1250156"/>
                      <a:pt x="391001" y="1250156"/>
                      <a:pt x="390049" y="1251109"/>
                    </a:cubicBezTo>
                    <a:cubicBezTo>
                      <a:pt x="390049" y="1249204"/>
                      <a:pt x="389096" y="1247299"/>
                      <a:pt x="388144" y="1245394"/>
                    </a:cubicBezTo>
                    <a:cubicBezTo>
                      <a:pt x="389096" y="1244441"/>
                      <a:pt x="389096" y="1243489"/>
                      <a:pt x="390049" y="1241584"/>
                    </a:cubicBezTo>
                    <a:cubicBezTo>
                      <a:pt x="393859" y="1239679"/>
                      <a:pt x="396716" y="1234916"/>
                      <a:pt x="396716" y="1230154"/>
                    </a:cubicBezTo>
                    <a:cubicBezTo>
                      <a:pt x="396716" y="1224439"/>
                      <a:pt x="392906" y="1219676"/>
                      <a:pt x="388144" y="1217771"/>
                    </a:cubicBezTo>
                    <a:cubicBezTo>
                      <a:pt x="386239" y="1213961"/>
                      <a:pt x="382429" y="1210151"/>
                      <a:pt x="378619" y="1207294"/>
                    </a:cubicBezTo>
                    <a:cubicBezTo>
                      <a:pt x="374809" y="1202531"/>
                      <a:pt x="369094" y="1199674"/>
                      <a:pt x="362426" y="1199674"/>
                    </a:cubicBezTo>
                    <a:cubicBezTo>
                      <a:pt x="353854" y="1199674"/>
                      <a:pt x="346234" y="1204436"/>
                      <a:pt x="343376" y="1212056"/>
                    </a:cubicBezTo>
                    <a:cubicBezTo>
                      <a:pt x="342424" y="1213961"/>
                      <a:pt x="340519" y="1214914"/>
                      <a:pt x="339566" y="1216819"/>
                    </a:cubicBezTo>
                    <a:cubicBezTo>
                      <a:pt x="329089" y="1216819"/>
                      <a:pt x="319564" y="1224439"/>
                      <a:pt x="316706" y="1233964"/>
                    </a:cubicBezTo>
                    <a:cubicBezTo>
                      <a:pt x="316706" y="1233011"/>
                      <a:pt x="316706" y="1232059"/>
                      <a:pt x="315754" y="1231106"/>
                    </a:cubicBezTo>
                    <a:cubicBezTo>
                      <a:pt x="315754" y="1230154"/>
                      <a:pt x="315754" y="1230154"/>
                      <a:pt x="315754" y="1229201"/>
                    </a:cubicBezTo>
                    <a:cubicBezTo>
                      <a:pt x="315754" y="1223486"/>
                      <a:pt x="313849" y="1217771"/>
                      <a:pt x="310991" y="1213961"/>
                    </a:cubicBezTo>
                    <a:cubicBezTo>
                      <a:pt x="322421" y="1210151"/>
                      <a:pt x="331946" y="1199674"/>
                      <a:pt x="331946" y="1186339"/>
                    </a:cubicBezTo>
                    <a:cubicBezTo>
                      <a:pt x="331946" y="1174909"/>
                      <a:pt x="325279" y="1166336"/>
                      <a:pt x="316706" y="1161574"/>
                    </a:cubicBezTo>
                    <a:cubicBezTo>
                      <a:pt x="316706" y="1161574"/>
                      <a:pt x="316706" y="1160621"/>
                      <a:pt x="316706" y="1160621"/>
                    </a:cubicBezTo>
                    <a:cubicBezTo>
                      <a:pt x="318611" y="1159669"/>
                      <a:pt x="319564" y="1158716"/>
                      <a:pt x="320516" y="1156811"/>
                    </a:cubicBezTo>
                    <a:cubicBezTo>
                      <a:pt x="321469" y="1156811"/>
                      <a:pt x="322421" y="1157764"/>
                      <a:pt x="323374" y="1157764"/>
                    </a:cubicBezTo>
                    <a:cubicBezTo>
                      <a:pt x="322421" y="1158716"/>
                      <a:pt x="322421" y="1159669"/>
                      <a:pt x="322421" y="1160621"/>
                    </a:cubicBezTo>
                    <a:cubicBezTo>
                      <a:pt x="322421" y="1163479"/>
                      <a:pt x="325279" y="1166336"/>
                      <a:pt x="328136" y="1166336"/>
                    </a:cubicBezTo>
                    <a:cubicBezTo>
                      <a:pt x="329089" y="1166336"/>
                      <a:pt x="330041" y="1166336"/>
                      <a:pt x="330041" y="1166336"/>
                    </a:cubicBezTo>
                    <a:cubicBezTo>
                      <a:pt x="331946" y="1167289"/>
                      <a:pt x="333851" y="1168241"/>
                      <a:pt x="335756" y="1168241"/>
                    </a:cubicBezTo>
                    <a:cubicBezTo>
                      <a:pt x="341471" y="1168241"/>
                      <a:pt x="346234" y="1163479"/>
                      <a:pt x="346234" y="1157764"/>
                    </a:cubicBezTo>
                    <a:cubicBezTo>
                      <a:pt x="346234" y="1156811"/>
                      <a:pt x="346234" y="1154906"/>
                      <a:pt x="345281" y="1153954"/>
                    </a:cubicBezTo>
                    <a:cubicBezTo>
                      <a:pt x="348139" y="1152049"/>
                      <a:pt x="350996" y="1149191"/>
                      <a:pt x="353854" y="1146334"/>
                    </a:cubicBezTo>
                    <a:cubicBezTo>
                      <a:pt x="356711" y="1149191"/>
                      <a:pt x="361474" y="1151096"/>
                      <a:pt x="366236" y="1151096"/>
                    </a:cubicBezTo>
                    <a:cubicBezTo>
                      <a:pt x="373856" y="1151096"/>
                      <a:pt x="380524" y="1146334"/>
                      <a:pt x="382429" y="1140619"/>
                    </a:cubicBezTo>
                    <a:cubicBezTo>
                      <a:pt x="383381" y="1141571"/>
                      <a:pt x="384334" y="1142524"/>
                      <a:pt x="386239" y="1142524"/>
                    </a:cubicBezTo>
                    <a:cubicBezTo>
                      <a:pt x="389096" y="1142524"/>
                      <a:pt x="391001" y="1140619"/>
                      <a:pt x="391001" y="1137761"/>
                    </a:cubicBezTo>
                    <a:cubicBezTo>
                      <a:pt x="391001" y="1134904"/>
                      <a:pt x="389096" y="1132999"/>
                      <a:pt x="386239" y="1132999"/>
                    </a:cubicBezTo>
                    <a:cubicBezTo>
                      <a:pt x="385286" y="1132999"/>
                      <a:pt x="384334" y="1132999"/>
                      <a:pt x="384334" y="1133951"/>
                    </a:cubicBezTo>
                    <a:cubicBezTo>
                      <a:pt x="384334" y="1133951"/>
                      <a:pt x="384334" y="1133951"/>
                      <a:pt x="384334" y="1133951"/>
                    </a:cubicBezTo>
                    <a:cubicBezTo>
                      <a:pt x="384334" y="1132046"/>
                      <a:pt x="384334" y="1130141"/>
                      <a:pt x="383381" y="1129189"/>
                    </a:cubicBezTo>
                    <a:cubicBezTo>
                      <a:pt x="384334" y="1127284"/>
                      <a:pt x="385286" y="1124426"/>
                      <a:pt x="385286" y="1122521"/>
                    </a:cubicBezTo>
                    <a:cubicBezTo>
                      <a:pt x="385286" y="1116806"/>
                      <a:pt x="382429" y="1112044"/>
                      <a:pt x="378619" y="1109186"/>
                    </a:cubicBezTo>
                    <a:cubicBezTo>
                      <a:pt x="382429" y="1108234"/>
                      <a:pt x="386239" y="1105376"/>
                      <a:pt x="388144" y="1101566"/>
                    </a:cubicBezTo>
                    <a:cubicBezTo>
                      <a:pt x="389096" y="1101566"/>
                      <a:pt x="390049" y="1101566"/>
                      <a:pt x="390049" y="1100614"/>
                    </a:cubicBezTo>
                    <a:cubicBezTo>
                      <a:pt x="393859" y="1108234"/>
                      <a:pt x="402431" y="1113949"/>
                      <a:pt x="411004" y="1113949"/>
                    </a:cubicBezTo>
                    <a:cubicBezTo>
                      <a:pt x="424339" y="1113949"/>
                      <a:pt x="434816" y="1103471"/>
                      <a:pt x="434816" y="1090136"/>
                    </a:cubicBezTo>
                    <a:cubicBezTo>
                      <a:pt x="434816" y="1087279"/>
                      <a:pt x="433864" y="1085374"/>
                      <a:pt x="433864" y="1083469"/>
                    </a:cubicBezTo>
                    <a:cubicBezTo>
                      <a:pt x="436721" y="1085374"/>
                      <a:pt x="439579" y="1086326"/>
                      <a:pt x="443389" y="1086326"/>
                    </a:cubicBezTo>
                    <a:cubicBezTo>
                      <a:pt x="442436" y="1087279"/>
                      <a:pt x="442436" y="1089184"/>
                      <a:pt x="442436" y="1090136"/>
                    </a:cubicBezTo>
                    <a:cubicBezTo>
                      <a:pt x="442436" y="1093946"/>
                      <a:pt x="446246" y="1097756"/>
                      <a:pt x="450056" y="1097756"/>
                    </a:cubicBezTo>
                    <a:cubicBezTo>
                      <a:pt x="453866" y="1097756"/>
                      <a:pt x="457676" y="1093946"/>
                      <a:pt x="457676" y="1090136"/>
                    </a:cubicBezTo>
                    <a:cubicBezTo>
                      <a:pt x="457676" y="1088231"/>
                      <a:pt x="456724" y="1086326"/>
                      <a:pt x="454819" y="1084421"/>
                    </a:cubicBezTo>
                    <a:cubicBezTo>
                      <a:pt x="459581" y="1082516"/>
                      <a:pt x="463391" y="1078706"/>
                      <a:pt x="466249" y="1073944"/>
                    </a:cubicBezTo>
                    <a:cubicBezTo>
                      <a:pt x="468154" y="1075849"/>
                      <a:pt x="471011" y="1076801"/>
                      <a:pt x="473869" y="1076801"/>
                    </a:cubicBezTo>
                    <a:cubicBezTo>
                      <a:pt x="475774" y="1076801"/>
                      <a:pt x="477679" y="1075849"/>
                      <a:pt x="479584" y="1074896"/>
                    </a:cubicBezTo>
                    <a:cubicBezTo>
                      <a:pt x="479584" y="1074896"/>
                      <a:pt x="480536" y="1074896"/>
                      <a:pt x="480536" y="1075849"/>
                    </a:cubicBezTo>
                    <a:cubicBezTo>
                      <a:pt x="481489" y="1081564"/>
                      <a:pt x="485299" y="1085374"/>
                      <a:pt x="491014" y="1085374"/>
                    </a:cubicBezTo>
                    <a:cubicBezTo>
                      <a:pt x="495776" y="1085374"/>
                      <a:pt x="498634" y="1082516"/>
                      <a:pt x="500539" y="1078706"/>
                    </a:cubicBezTo>
                    <a:cubicBezTo>
                      <a:pt x="502444" y="1078706"/>
                      <a:pt x="504349" y="1077754"/>
                      <a:pt x="505301" y="1077754"/>
                    </a:cubicBezTo>
                    <a:cubicBezTo>
                      <a:pt x="507206" y="1081564"/>
                      <a:pt x="511016" y="1084421"/>
                      <a:pt x="515779" y="1084421"/>
                    </a:cubicBezTo>
                    <a:cubicBezTo>
                      <a:pt x="516731" y="1084421"/>
                      <a:pt x="517684" y="1084421"/>
                      <a:pt x="518636" y="1083469"/>
                    </a:cubicBezTo>
                    <a:cubicBezTo>
                      <a:pt x="519589" y="1084421"/>
                      <a:pt x="520541" y="1085374"/>
                      <a:pt x="521494" y="1087279"/>
                    </a:cubicBezTo>
                    <a:cubicBezTo>
                      <a:pt x="521494" y="1088231"/>
                      <a:pt x="521494" y="1089184"/>
                      <a:pt x="521494" y="1090136"/>
                    </a:cubicBezTo>
                    <a:cubicBezTo>
                      <a:pt x="521494" y="1099661"/>
                      <a:pt x="529114" y="1107281"/>
                      <a:pt x="538639" y="1107281"/>
                    </a:cubicBezTo>
                    <a:cubicBezTo>
                      <a:pt x="542449" y="1107281"/>
                      <a:pt x="546259" y="1105376"/>
                      <a:pt x="549116" y="1103471"/>
                    </a:cubicBezTo>
                    <a:cubicBezTo>
                      <a:pt x="550069" y="1104424"/>
                      <a:pt x="551974" y="1105376"/>
                      <a:pt x="553879" y="1106329"/>
                    </a:cubicBezTo>
                    <a:cubicBezTo>
                      <a:pt x="555784" y="1110139"/>
                      <a:pt x="559594" y="1112996"/>
                      <a:pt x="563404" y="1113949"/>
                    </a:cubicBezTo>
                    <a:cubicBezTo>
                      <a:pt x="561499" y="1114901"/>
                      <a:pt x="560546" y="1116806"/>
                      <a:pt x="559594" y="1118711"/>
                    </a:cubicBezTo>
                    <a:cubicBezTo>
                      <a:pt x="558641" y="1118711"/>
                      <a:pt x="557689" y="1118711"/>
                      <a:pt x="557689" y="1118711"/>
                    </a:cubicBezTo>
                    <a:cubicBezTo>
                      <a:pt x="553879" y="1118711"/>
                      <a:pt x="550069" y="1119664"/>
                      <a:pt x="547211" y="1120616"/>
                    </a:cubicBezTo>
                    <a:cubicBezTo>
                      <a:pt x="546259" y="1119664"/>
                      <a:pt x="544354" y="1118711"/>
                      <a:pt x="542449" y="1118711"/>
                    </a:cubicBezTo>
                    <a:cubicBezTo>
                      <a:pt x="541496" y="1118711"/>
                      <a:pt x="539591" y="1119664"/>
                      <a:pt x="538639" y="1119664"/>
                    </a:cubicBezTo>
                    <a:cubicBezTo>
                      <a:pt x="535781" y="1111091"/>
                      <a:pt x="528161" y="1104424"/>
                      <a:pt x="518636" y="1104424"/>
                    </a:cubicBezTo>
                    <a:cubicBezTo>
                      <a:pt x="511969" y="1093946"/>
                      <a:pt x="499586" y="1087279"/>
                      <a:pt x="486251" y="1087279"/>
                    </a:cubicBezTo>
                    <a:cubicBezTo>
                      <a:pt x="473869" y="1090136"/>
                      <a:pt x="462439" y="1096804"/>
                      <a:pt x="455771" y="1106329"/>
                    </a:cubicBezTo>
                    <a:close/>
                    <a:moveTo>
                      <a:pt x="483394" y="1196816"/>
                    </a:moveTo>
                    <a:cubicBezTo>
                      <a:pt x="479584" y="1193959"/>
                      <a:pt x="473869" y="1192054"/>
                      <a:pt x="469106" y="1192054"/>
                    </a:cubicBezTo>
                    <a:cubicBezTo>
                      <a:pt x="468154" y="1192054"/>
                      <a:pt x="466249" y="1192054"/>
                      <a:pt x="465296" y="1192054"/>
                    </a:cubicBezTo>
                    <a:cubicBezTo>
                      <a:pt x="464344" y="1191101"/>
                      <a:pt x="463391" y="1190149"/>
                      <a:pt x="462439" y="1189196"/>
                    </a:cubicBezTo>
                    <a:cubicBezTo>
                      <a:pt x="465296" y="1186339"/>
                      <a:pt x="466249" y="1182529"/>
                      <a:pt x="466249" y="1178719"/>
                    </a:cubicBezTo>
                    <a:cubicBezTo>
                      <a:pt x="466249" y="1174909"/>
                      <a:pt x="464344" y="1171099"/>
                      <a:pt x="462439" y="1167289"/>
                    </a:cubicBezTo>
                    <a:cubicBezTo>
                      <a:pt x="462439" y="1167289"/>
                      <a:pt x="462439" y="1167289"/>
                      <a:pt x="462439" y="1167289"/>
                    </a:cubicBezTo>
                    <a:cubicBezTo>
                      <a:pt x="466249" y="1169194"/>
                      <a:pt x="471011" y="1170146"/>
                      <a:pt x="475774" y="1170146"/>
                    </a:cubicBezTo>
                    <a:cubicBezTo>
                      <a:pt x="481489" y="1170146"/>
                      <a:pt x="486251" y="1168241"/>
                      <a:pt x="491014" y="1165384"/>
                    </a:cubicBezTo>
                    <a:cubicBezTo>
                      <a:pt x="494824" y="1165384"/>
                      <a:pt x="498634" y="1164431"/>
                      <a:pt x="502444" y="1162526"/>
                    </a:cubicBezTo>
                    <a:cubicBezTo>
                      <a:pt x="503396" y="1164431"/>
                      <a:pt x="505301" y="1165384"/>
                      <a:pt x="507206" y="1165384"/>
                    </a:cubicBezTo>
                    <a:cubicBezTo>
                      <a:pt x="511016" y="1165384"/>
                      <a:pt x="513874" y="1162526"/>
                      <a:pt x="513874" y="1158716"/>
                    </a:cubicBezTo>
                    <a:cubicBezTo>
                      <a:pt x="513874" y="1157764"/>
                      <a:pt x="513874" y="1156811"/>
                      <a:pt x="512921" y="1155859"/>
                    </a:cubicBezTo>
                    <a:cubicBezTo>
                      <a:pt x="514826" y="1153954"/>
                      <a:pt x="516731" y="1152049"/>
                      <a:pt x="517684" y="1150144"/>
                    </a:cubicBezTo>
                    <a:cubicBezTo>
                      <a:pt x="519589" y="1152049"/>
                      <a:pt x="522446" y="1153001"/>
                      <a:pt x="525304" y="1153001"/>
                    </a:cubicBezTo>
                    <a:cubicBezTo>
                      <a:pt x="526256" y="1153001"/>
                      <a:pt x="527209" y="1153001"/>
                      <a:pt x="528161" y="1152049"/>
                    </a:cubicBezTo>
                    <a:cubicBezTo>
                      <a:pt x="527209" y="1154906"/>
                      <a:pt x="526256" y="1157764"/>
                      <a:pt x="526256" y="1160621"/>
                    </a:cubicBezTo>
                    <a:cubicBezTo>
                      <a:pt x="526256" y="1160621"/>
                      <a:pt x="526256" y="1161574"/>
                      <a:pt x="526256" y="1161574"/>
                    </a:cubicBezTo>
                    <a:cubicBezTo>
                      <a:pt x="521494" y="1166336"/>
                      <a:pt x="517684" y="1171099"/>
                      <a:pt x="514826" y="1177766"/>
                    </a:cubicBezTo>
                    <a:cubicBezTo>
                      <a:pt x="512921" y="1175861"/>
                      <a:pt x="510064" y="1174909"/>
                      <a:pt x="507206" y="1174909"/>
                    </a:cubicBezTo>
                    <a:cubicBezTo>
                      <a:pt x="500539" y="1174909"/>
                      <a:pt x="495776" y="1179671"/>
                      <a:pt x="495776" y="1186339"/>
                    </a:cubicBezTo>
                    <a:cubicBezTo>
                      <a:pt x="495776" y="1188244"/>
                      <a:pt x="496729" y="1190149"/>
                      <a:pt x="497681" y="1192054"/>
                    </a:cubicBezTo>
                    <a:cubicBezTo>
                      <a:pt x="495776" y="1191101"/>
                      <a:pt x="493871" y="1190149"/>
                      <a:pt x="491966" y="1190149"/>
                    </a:cubicBezTo>
                    <a:cubicBezTo>
                      <a:pt x="489109" y="1192054"/>
                      <a:pt x="485299" y="1193959"/>
                      <a:pt x="483394" y="1196816"/>
                    </a:cubicBezTo>
                    <a:close/>
                    <a:moveTo>
                      <a:pt x="507206" y="1716881"/>
                    </a:moveTo>
                    <a:cubicBezTo>
                      <a:pt x="507206" y="1715929"/>
                      <a:pt x="506254" y="1715929"/>
                      <a:pt x="506254" y="1714976"/>
                    </a:cubicBezTo>
                    <a:cubicBezTo>
                      <a:pt x="507206" y="1714976"/>
                      <a:pt x="507206" y="1714976"/>
                      <a:pt x="508159" y="1714976"/>
                    </a:cubicBezTo>
                    <a:cubicBezTo>
                      <a:pt x="509111" y="1714976"/>
                      <a:pt x="509111" y="1714976"/>
                      <a:pt x="510064" y="1714976"/>
                    </a:cubicBezTo>
                    <a:cubicBezTo>
                      <a:pt x="510064" y="1714976"/>
                      <a:pt x="510064" y="1714976"/>
                      <a:pt x="510064" y="1714976"/>
                    </a:cubicBezTo>
                    <a:cubicBezTo>
                      <a:pt x="508159" y="1714976"/>
                      <a:pt x="507206" y="1715929"/>
                      <a:pt x="507206" y="1716881"/>
                    </a:cubicBezTo>
                    <a:close/>
                  </a:path>
                </a:pathLst>
              </a:custGeom>
              <a:grpFill/>
              <a:ln w="9525" cap="flat">
                <a:noFill/>
                <a:prstDash val="solid"/>
                <a:miter/>
              </a:ln>
            </p:spPr>
            <p:txBody>
              <a:bodyPr rtlCol="0" anchor="ctr"/>
              <a:lstStyle/>
              <a:p>
                <a:endParaRPr lang="en-US"/>
              </a:p>
            </p:txBody>
          </p:sp>
        </p:grpSp>
      </p:grpSp>
      <p:pic>
        <p:nvPicPr>
          <p:cNvPr id="238" name="Picture 5">
            <a:extLst>
              <a:ext uri="{FF2B5EF4-FFF2-40B4-BE49-F238E27FC236}">
                <a16:creationId xmlns:a16="http://schemas.microsoft.com/office/drawing/2014/main" id="{17684DEC-7180-4A3D-9B06-67AA0D64085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81047" y="3958718"/>
            <a:ext cx="334963" cy="304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24761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2"/>
          <p:cNvSpPr txBox="1">
            <a:spLocks noChangeArrowheads="1"/>
          </p:cNvSpPr>
          <p:nvPr/>
        </p:nvSpPr>
        <p:spPr bwMode="auto">
          <a:xfrm>
            <a:off x="1629736" y="269923"/>
            <a:ext cx="8960110" cy="464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7500" tIns="35100" rIns="67500" bIns="35100" anchor="ctr"/>
          <a:lstStyle>
            <a:lvl1pPr eaLnBrk="0" hangingPunct="0">
              <a:lnSpc>
                <a:spcPct val="92000"/>
              </a:lnSpc>
              <a:spcBef>
                <a:spcPts val="800"/>
              </a:spcBef>
              <a:buClr>
                <a:srgbClr val="000000"/>
              </a:buClr>
              <a:buSzPct val="100000"/>
              <a:buFont typeface="Times New Roman" panose="02020603050405020304" pitchFamily="18" charset="0"/>
              <a:buChar char="•"/>
              <a:defRPr sz="3200">
                <a:solidFill>
                  <a:srgbClr val="000000"/>
                </a:solidFill>
                <a:latin typeface="Arial" panose="020B0604020202020204" pitchFamily="34" charset="0"/>
                <a:cs typeface="Lucida Sans Unicode" panose="020B0602030504020204" pitchFamily="34" charset="0"/>
              </a:defRPr>
            </a:lvl1pPr>
            <a:lvl2pPr marL="742950" indent="-285750" eaLnBrk="0" hangingPunct="0">
              <a:lnSpc>
                <a:spcPct val="92000"/>
              </a:lnSpc>
              <a:spcBef>
                <a:spcPts val="700"/>
              </a:spcBef>
              <a:buClr>
                <a:srgbClr val="000000"/>
              </a:buClr>
              <a:buSzPct val="100000"/>
              <a:buFont typeface="Times New Roman" panose="02020603050405020304" pitchFamily="18" charset="0"/>
              <a:buChar char="–"/>
              <a:defRPr sz="2800">
                <a:solidFill>
                  <a:srgbClr val="000000"/>
                </a:solidFill>
                <a:latin typeface="Arial" panose="020B0604020202020204" pitchFamily="34" charset="0"/>
                <a:cs typeface="Lucida Sans Unicode" panose="020B0602030504020204" pitchFamily="34" charset="0"/>
              </a:defRPr>
            </a:lvl2pPr>
            <a:lvl3pPr eaLnBrk="0" hangingPunct="0">
              <a:lnSpc>
                <a:spcPct val="92000"/>
              </a:lnSpc>
              <a:spcBef>
                <a:spcPts val="600"/>
              </a:spcBef>
              <a:buClr>
                <a:srgbClr val="000000"/>
              </a:buClr>
              <a:buSzPct val="100000"/>
              <a:buFont typeface="Times New Roman" panose="02020603050405020304" pitchFamily="18" charset="0"/>
              <a:buChar char="•"/>
              <a:defRPr sz="2400">
                <a:solidFill>
                  <a:srgbClr val="000000"/>
                </a:solidFill>
                <a:latin typeface="Arial" panose="020B0604020202020204" pitchFamily="34" charset="0"/>
                <a:cs typeface="Lucida Sans Unicode" panose="020B0602030504020204" pitchFamily="34" charset="0"/>
              </a:defRPr>
            </a:lvl3pPr>
            <a:lvl4pPr eaLnBrk="0" hangingPunct="0">
              <a:lnSpc>
                <a:spcPct val="92000"/>
              </a:lnSpc>
              <a:spcBef>
                <a:spcPts val="500"/>
              </a:spcBef>
              <a:buClr>
                <a:srgbClr val="000000"/>
              </a:buClr>
              <a:buSzPct val="100000"/>
              <a:buFont typeface="Times New Roman" panose="02020603050405020304" pitchFamily="18" charset="0"/>
              <a:buChar char="–"/>
              <a:defRPr sz="2000">
                <a:solidFill>
                  <a:srgbClr val="000000"/>
                </a:solidFill>
                <a:latin typeface="Arial" panose="020B0604020202020204" pitchFamily="34" charset="0"/>
                <a:cs typeface="Lucida Sans Unicode" panose="020B0602030504020204" pitchFamily="34" charset="0"/>
              </a:defRPr>
            </a:lvl4pPr>
            <a:lvl5pPr eaLnBrk="0" hangingPunct="0">
              <a:lnSpc>
                <a:spcPct val="92000"/>
              </a:lnSpc>
              <a:spcBef>
                <a:spcPts val="500"/>
              </a:spcBef>
              <a:buClr>
                <a:srgbClr val="000000"/>
              </a:buClr>
              <a:buSzPct val="100000"/>
              <a:buFont typeface="Times New Roman" panose="02020603050405020304" pitchFamily="18" charset="0"/>
              <a:buChar char="»"/>
              <a:defRPr sz="2000">
                <a:solidFill>
                  <a:srgbClr val="000000"/>
                </a:solidFill>
                <a:latin typeface="Arial" panose="020B0604020202020204" pitchFamily="34" charset="0"/>
                <a:cs typeface="Lucida Sans Unicode" panose="020B0602030504020204" pitchFamily="34" charset="0"/>
              </a:defRPr>
            </a:lvl5pPr>
            <a:lvl6pPr marL="2514600" indent="-228600" defTabSz="457200" eaLnBrk="0" fontAlgn="base" hangingPunct="0">
              <a:lnSpc>
                <a:spcPct val="92000"/>
              </a:lnSpc>
              <a:spcBef>
                <a:spcPts val="500"/>
              </a:spcBef>
              <a:spcAft>
                <a:spcPct val="0"/>
              </a:spcAft>
              <a:buClr>
                <a:srgbClr val="000000"/>
              </a:buClr>
              <a:buSzPct val="100000"/>
              <a:buFont typeface="Times New Roman" panose="02020603050405020304" pitchFamily="18" charset="0"/>
              <a:buChar char="»"/>
              <a:defRPr sz="2000">
                <a:solidFill>
                  <a:srgbClr val="000000"/>
                </a:solidFill>
                <a:latin typeface="Arial" panose="020B0604020202020204" pitchFamily="34" charset="0"/>
                <a:cs typeface="Lucida Sans Unicode" panose="020B0602030504020204" pitchFamily="34" charset="0"/>
              </a:defRPr>
            </a:lvl6pPr>
            <a:lvl7pPr marL="2971800" indent="-228600" defTabSz="457200" eaLnBrk="0" fontAlgn="base" hangingPunct="0">
              <a:lnSpc>
                <a:spcPct val="92000"/>
              </a:lnSpc>
              <a:spcBef>
                <a:spcPts val="500"/>
              </a:spcBef>
              <a:spcAft>
                <a:spcPct val="0"/>
              </a:spcAft>
              <a:buClr>
                <a:srgbClr val="000000"/>
              </a:buClr>
              <a:buSzPct val="100000"/>
              <a:buFont typeface="Times New Roman" panose="02020603050405020304" pitchFamily="18" charset="0"/>
              <a:buChar char="»"/>
              <a:defRPr sz="2000">
                <a:solidFill>
                  <a:srgbClr val="000000"/>
                </a:solidFill>
                <a:latin typeface="Arial" panose="020B0604020202020204" pitchFamily="34" charset="0"/>
                <a:cs typeface="Lucida Sans Unicode" panose="020B0602030504020204" pitchFamily="34" charset="0"/>
              </a:defRPr>
            </a:lvl7pPr>
            <a:lvl8pPr marL="3429000" indent="-228600" defTabSz="457200" eaLnBrk="0" fontAlgn="base" hangingPunct="0">
              <a:lnSpc>
                <a:spcPct val="92000"/>
              </a:lnSpc>
              <a:spcBef>
                <a:spcPts val="500"/>
              </a:spcBef>
              <a:spcAft>
                <a:spcPct val="0"/>
              </a:spcAft>
              <a:buClr>
                <a:srgbClr val="000000"/>
              </a:buClr>
              <a:buSzPct val="100000"/>
              <a:buFont typeface="Times New Roman" panose="02020603050405020304" pitchFamily="18" charset="0"/>
              <a:buChar char="»"/>
              <a:defRPr sz="2000">
                <a:solidFill>
                  <a:srgbClr val="000000"/>
                </a:solidFill>
                <a:latin typeface="Arial" panose="020B0604020202020204" pitchFamily="34" charset="0"/>
                <a:cs typeface="Lucida Sans Unicode" panose="020B0602030504020204" pitchFamily="34" charset="0"/>
              </a:defRPr>
            </a:lvl8pPr>
            <a:lvl9pPr marL="3886200" indent="-228600" defTabSz="457200" eaLnBrk="0" fontAlgn="base" hangingPunct="0">
              <a:lnSpc>
                <a:spcPct val="92000"/>
              </a:lnSpc>
              <a:spcBef>
                <a:spcPts val="500"/>
              </a:spcBef>
              <a:spcAft>
                <a:spcPct val="0"/>
              </a:spcAft>
              <a:buClr>
                <a:srgbClr val="000000"/>
              </a:buClr>
              <a:buSzPct val="100000"/>
              <a:buFont typeface="Times New Roman" panose="02020603050405020304" pitchFamily="18" charset="0"/>
              <a:buChar char="»"/>
              <a:defRPr sz="2000">
                <a:solidFill>
                  <a:srgbClr val="000000"/>
                </a:solidFill>
                <a:latin typeface="Arial" panose="020B0604020202020204" pitchFamily="34" charset="0"/>
                <a:cs typeface="Lucida Sans Unicode" panose="020B0602030504020204" pitchFamily="34" charset="0"/>
              </a:defRPr>
            </a:lvl9pPr>
          </a:lstStyle>
          <a:p>
            <a:pPr eaLnBrk="1" hangingPunct="1">
              <a:spcBef>
                <a:spcPct val="0"/>
              </a:spcBef>
              <a:buFontTx/>
              <a:buNone/>
            </a:pPr>
            <a:br>
              <a:rPr lang="en-GB" altLang="en-US" sz="2400" dirty="0">
                <a:solidFill>
                  <a:srgbClr val="FF6600"/>
                </a:solidFill>
              </a:rPr>
            </a:br>
            <a:endParaRPr lang="en-GB" altLang="en-US" sz="2400" dirty="0">
              <a:solidFill>
                <a:srgbClr val="FF6600"/>
              </a:solidFill>
            </a:endParaRPr>
          </a:p>
          <a:p>
            <a:pPr eaLnBrk="1" hangingPunct="1">
              <a:lnSpc>
                <a:spcPct val="100000"/>
              </a:lnSpc>
              <a:spcBef>
                <a:spcPct val="0"/>
              </a:spcBef>
              <a:buClrTx/>
              <a:buSzTx/>
              <a:buFontTx/>
              <a:buNone/>
            </a:pPr>
            <a:r>
              <a:rPr lang="en-GB" sz="2800" dirty="0">
                <a:solidFill>
                  <a:srgbClr val="FF6600"/>
                </a:solidFill>
                <a:cs typeface="Arial" pitchFamily="34" charset="0"/>
              </a:rPr>
              <a:t>    </a:t>
            </a:r>
            <a:r>
              <a:rPr lang="en-GB" sz="2800" dirty="0" err="1">
                <a:solidFill>
                  <a:srgbClr val="FF6600"/>
                </a:solidFill>
                <a:cs typeface="Arial" pitchFamily="34" charset="0"/>
              </a:rPr>
              <a:t>TestMagic</a:t>
            </a:r>
            <a:r>
              <a:rPr lang="en-GB" sz="2800" baseline="30000" dirty="0" err="1">
                <a:solidFill>
                  <a:srgbClr val="FF6600"/>
                </a:solidFill>
                <a:cs typeface="Arial" pitchFamily="34" charset="0"/>
              </a:rPr>
              <a:t>TM</a:t>
            </a:r>
            <a:r>
              <a:rPr lang="en-GB" sz="2800" dirty="0">
                <a:solidFill>
                  <a:srgbClr val="FF6600"/>
                </a:solidFill>
                <a:cs typeface="Arial" pitchFamily="34" charset="0"/>
              </a:rPr>
              <a:t> </a:t>
            </a:r>
            <a:r>
              <a:rPr lang="en-US" altLang="en-US" sz="2800" dirty="0">
                <a:solidFill>
                  <a:srgbClr val="FF6600"/>
                </a:solidFill>
                <a:cs typeface="Arial" pitchFamily="34" charset="0"/>
              </a:rPr>
              <a:t> - Automation Test Suite(s) Overview</a:t>
            </a:r>
          </a:p>
          <a:p>
            <a:pPr eaLnBrk="1" hangingPunct="1">
              <a:spcBef>
                <a:spcPct val="0"/>
              </a:spcBef>
              <a:buFont typeface="Times New Roman" panose="02020603050405020304" pitchFamily="18" charset="0"/>
              <a:buNone/>
            </a:pPr>
            <a:br>
              <a:rPr lang="en-US" altLang="en-US" sz="2700" dirty="0">
                <a:solidFill>
                  <a:srgbClr val="FF6600"/>
                </a:solidFill>
              </a:rPr>
            </a:br>
            <a:endParaRPr lang="en-US" altLang="en-US" sz="2400" dirty="0">
              <a:solidFill>
                <a:srgbClr val="FF6600"/>
              </a:solidFill>
            </a:endParaRPr>
          </a:p>
        </p:txBody>
      </p:sp>
      <p:pic>
        <p:nvPicPr>
          <p:cNvPr id="15" name="Picture 5">
            <a:extLst>
              <a:ext uri="{FF2B5EF4-FFF2-40B4-BE49-F238E27FC236}">
                <a16:creationId xmlns:a16="http://schemas.microsoft.com/office/drawing/2014/main" id="{08C7339D-BC00-4BE7-A7C7-D6BEF898D22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27792" y="301183"/>
            <a:ext cx="334963" cy="3048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5C2D42EB-B769-45F2-81ED-65DB50EE0145}"/>
              </a:ext>
            </a:extLst>
          </p:cNvPr>
          <p:cNvPicPr>
            <a:picLocks noChangeAspect="1"/>
          </p:cNvPicPr>
          <p:nvPr/>
        </p:nvPicPr>
        <p:blipFill>
          <a:blip r:embed="rId4"/>
          <a:stretch>
            <a:fillRect/>
          </a:stretch>
        </p:blipFill>
        <p:spPr>
          <a:xfrm>
            <a:off x="1727791" y="1036394"/>
            <a:ext cx="4023360" cy="1562547"/>
          </a:xfrm>
          <a:prstGeom prst="rect">
            <a:avLst/>
          </a:prstGeom>
        </p:spPr>
      </p:pic>
      <p:pic>
        <p:nvPicPr>
          <p:cNvPr id="7" name="Picture 6">
            <a:extLst>
              <a:ext uri="{FF2B5EF4-FFF2-40B4-BE49-F238E27FC236}">
                <a16:creationId xmlns:a16="http://schemas.microsoft.com/office/drawing/2014/main" id="{874D9382-9AA3-46E1-89FD-7BDC28C8D4BA}"/>
              </a:ext>
            </a:extLst>
          </p:cNvPr>
          <p:cNvPicPr>
            <a:picLocks noChangeAspect="1"/>
          </p:cNvPicPr>
          <p:nvPr/>
        </p:nvPicPr>
        <p:blipFill>
          <a:blip r:embed="rId5"/>
          <a:stretch>
            <a:fillRect/>
          </a:stretch>
        </p:blipFill>
        <p:spPr>
          <a:xfrm>
            <a:off x="5751152" y="960298"/>
            <a:ext cx="4772025" cy="3590925"/>
          </a:xfrm>
          <a:prstGeom prst="rect">
            <a:avLst/>
          </a:prstGeom>
        </p:spPr>
      </p:pic>
    </p:spTree>
    <p:extLst>
      <p:ext uri="{BB962C8B-B14F-4D97-AF65-F5344CB8AC3E}">
        <p14:creationId xmlns:p14="http://schemas.microsoft.com/office/powerpoint/2010/main" val="13771198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2"/>
          <p:cNvSpPr txBox="1">
            <a:spLocks noChangeArrowheads="1"/>
          </p:cNvSpPr>
          <p:nvPr/>
        </p:nvSpPr>
        <p:spPr bwMode="auto">
          <a:xfrm>
            <a:off x="1629736" y="269923"/>
            <a:ext cx="8960110" cy="464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7500" tIns="35100" rIns="67500" bIns="35100" anchor="ctr"/>
          <a:lstStyle>
            <a:lvl1pPr eaLnBrk="0" hangingPunct="0">
              <a:lnSpc>
                <a:spcPct val="92000"/>
              </a:lnSpc>
              <a:spcBef>
                <a:spcPts val="800"/>
              </a:spcBef>
              <a:buClr>
                <a:srgbClr val="000000"/>
              </a:buClr>
              <a:buSzPct val="100000"/>
              <a:buFont typeface="Times New Roman" panose="02020603050405020304" pitchFamily="18" charset="0"/>
              <a:buChar char="•"/>
              <a:defRPr sz="3200">
                <a:solidFill>
                  <a:srgbClr val="000000"/>
                </a:solidFill>
                <a:latin typeface="Arial" panose="020B0604020202020204" pitchFamily="34" charset="0"/>
                <a:cs typeface="Lucida Sans Unicode" panose="020B0602030504020204" pitchFamily="34" charset="0"/>
              </a:defRPr>
            </a:lvl1pPr>
            <a:lvl2pPr marL="742950" indent="-285750" eaLnBrk="0" hangingPunct="0">
              <a:lnSpc>
                <a:spcPct val="92000"/>
              </a:lnSpc>
              <a:spcBef>
                <a:spcPts val="700"/>
              </a:spcBef>
              <a:buClr>
                <a:srgbClr val="000000"/>
              </a:buClr>
              <a:buSzPct val="100000"/>
              <a:buFont typeface="Times New Roman" panose="02020603050405020304" pitchFamily="18" charset="0"/>
              <a:buChar char="–"/>
              <a:defRPr sz="2800">
                <a:solidFill>
                  <a:srgbClr val="000000"/>
                </a:solidFill>
                <a:latin typeface="Arial" panose="020B0604020202020204" pitchFamily="34" charset="0"/>
                <a:cs typeface="Lucida Sans Unicode" panose="020B0602030504020204" pitchFamily="34" charset="0"/>
              </a:defRPr>
            </a:lvl2pPr>
            <a:lvl3pPr eaLnBrk="0" hangingPunct="0">
              <a:lnSpc>
                <a:spcPct val="92000"/>
              </a:lnSpc>
              <a:spcBef>
                <a:spcPts val="600"/>
              </a:spcBef>
              <a:buClr>
                <a:srgbClr val="000000"/>
              </a:buClr>
              <a:buSzPct val="100000"/>
              <a:buFont typeface="Times New Roman" panose="02020603050405020304" pitchFamily="18" charset="0"/>
              <a:buChar char="•"/>
              <a:defRPr sz="2400">
                <a:solidFill>
                  <a:srgbClr val="000000"/>
                </a:solidFill>
                <a:latin typeface="Arial" panose="020B0604020202020204" pitchFamily="34" charset="0"/>
                <a:cs typeface="Lucida Sans Unicode" panose="020B0602030504020204" pitchFamily="34" charset="0"/>
              </a:defRPr>
            </a:lvl3pPr>
            <a:lvl4pPr eaLnBrk="0" hangingPunct="0">
              <a:lnSpc>
                <a:spcPct val="92000"/>
              </a:lnSpc>
              <a:spcBef>
                <a:spcPts val="500"/>
              </a:spcBef>
              <a:buClr>
                <a:srgbClr val="000000"/>
              </a:buClr>
              <a:buSzPct val="100000"/>
              <a:buFont typeface="Times New Roman" panose="02020603050405020304" pitchFamily="18" charset="0"/>
              <a:buChar char="–"/>
              <a:defRPr sz="2000">
                <a:solidFill>
                  <a:srgbClr val="000000"/>
                </a:solidFill>
                <a:latin typeface="Arial" panose="020B0604020202020204" pitchFamily="34" charset="0"/>
                <a:cs typeface="Lucida Sans Unicode" panose="020B0602030504020204" pitchFamily="34" charset="0"/>
              </a:defRPr>
            </a:lvl4pPr>
            <a:lvl5pPr eaLnBrk="0" hangingPunct="0">
              <a:lnSpc>
                <a:spcPct val="92000"/>
              </a:lnSpc>
              <a:spcBef>
                <a:spcPts val="500"/>
              </a:spcBef>
              <a:buClr>
                <a:srgbClr val="000000"/>
              </a:buClr>
              <a:buSzPct val="100000"/>
              <a:buFont typeface="Times New Roman" panose="02020603050405020304" pitchFamily="18" charset="0"/>
              <a:buChar char="»"/>
              <a:defRPr sz="2000">
                <a:solidFill>
                  <a:srgbClr val="000000"/>
                </a:solidFill>
                <a:latin typeface="Arial" panose="020B0604020202020204" pitchFamily="34" charset="0"/>
                <a:cs typeface="Lucida Sans Unicode" panose="020B0602030504020204" pitchFamily="34" charset="0"/>
              </a:defRPr>
            </a:lvl5pPr>
            <a:lvl6pPr marL="2514600" indent="-228600" defTabSz="457200" eaLnBrk="0" fontAlgn="base" hangingPunct="0">
              <a:lnSpc>
                <a:spcPct val="92000"/>
              </a:lnSpc>
              <a:spcBef>
                <a:spcPts val="500"/>
              </a:spcBef>
              <a:spcAft>
                <a:spcPct val="0"/>
              </a:spcAft>
              <a:buClr>
                <a:srgbClr val="000000"/>
              </a:buClr>
              <a:buSzPct val="100000"/>
              <a:buFont typeface="Times New Roman" panose="02020603050405020304" pitchFamily="18" charset="0"/>
              <a:buChar char="»"/>
              <a:defRPr sz="2000">
                <a:solidFill>
                  <a:srgbClr val="000000"/>
                </a:solidFill>
                <a:latin typeface="Arial" panose="020B0604020202020204" pitchFamily="34" charset="0"/>
                <a:cs typeface="Lucida Sans Unicode" panose="020B0602030504020204" pitchFamily="34" charset="0"/>
              </a:defRPr>
            </a:lvl6pPr>
            <a:lvl7pPr marL="2971800" indent="-228600" defTabSz="457200" eaLnBrk="0" fontAlgn="base" hangingPunct="0">
              <a:lnSpc>
                <a:spcPct val="92000"/>
              </a:lnSpc>
              <a:spcBef>
                <a:spcPts val="500"/>
              </a:spcBef>
              <a:spcAft>
                <a:spcPct val="0"/>
              </a:spcAft>
              <a:buClr>
                <a:srgbClr val="000000"/>
              </a:buClr>
              <a:buSzPct val="100000"/>
              <a:buFont typeface="Times New Roman" panose="02020603050405020304" pitchFamily="18" charset="0"/>
              <a:buChar char="»"/>
              <a:defRPr sz="2000">
                <a:solidFill>
                  <a:srgbClr val="000000"/>
                </a:solidFill>
                <a:latin typeface="Arial" panose="020B0604020202020204" pitchFamily="34" charset="0"/>
                <a:cs typeface="Lucida Sans Unicode" panose="020B0602030504020204" pitchFamily="34" charset="0"/>
              </a:defRPr>
            </a:lvl7pPr>
            <a:lvl8pPr marL="3429000" indent="-228600" defTabSz="457200" eaLnBrk="0" fontAlgn="base" hangingPunct="0">
              <a:lnSpc>
                <a:spcPct val="92000"/>
              </a:lnSpc>
              <a:spcBef>
                <a:spcPts val="500"/>
              </a:spcBef>
              <a:spcAft>
                <a:spcPct val="0"/>
              </a:spcAft>
              <a:buClr>
                <a:srgbClr val="000000"/>
              </a:buClr>
              <a:buSzPct val="100000"/>
              <a:buFont typeface="Times New Roman" panose="02020603050405020304" pitchFamily="18" charset="0"/>
              <a:buChar char="»"/>
              <a:defRPr sz="2000">
                <a:solidFill>
                  <a:srgbClr val="000000"/>
                </a:solidFill>
                <a:latin typeface="Arial" panose="020B0604020202020204" pitchFamily="34" charset="0"/>
                <a:cs typeface="Lucida Sans Unicode" panose="020B0602030504020204" pitchFamily="34" charset="0"/>
              </a:defRPr>
            </a:lvl8pPr>
            <a:lvl9pPr marL="3886200" indent="-228600" defTabSz="457200" eaLnBrk="0" fontAlgn="base" hangingPunct="0">
              <a:lnSpc>
                <a:spcPct val="92000"/>
              </a:lnSpc>
              <a:spcBef>
                <a:spcPts val="500"/>
              </a:spcBef>
              <a:spcAft>
                <a:spcPct val="0"/>
              </a:spcAft>
              <a:buClr>
                <a:srgbClr val="000000"/>
              </a:buClr>
              <a:buSzPct val="100000"/>
              <a:buFont typeface="Times New Roman" panose="02020603050405020304" pitchFamily="18" charset="0"/>
              <a:buChar char="»"/>
              <a:defRPr sz="2000">
                <a:solidFill>
                  <a:srgbClr val="000000"/>
                </a:solidFill>
                <a:latin typeface="Arial" panose="020B0604020202020204" pitchFamily="34" charset="0"/>
                <a:cs typeface="Lucida Sans Unicode" panose="020B0602030504020204" pitchFamily="34" charset="0"/>
              </a:defRPr>
            </a:lvl9pPr>
          </a:lstStyle>
          <a:p>
            <a:pPr eaLnBrk="1" hangingPunct="1">
              <a:spcBef>
                <a:spcPct val="0"/>
              </a:spcBef>
              <a:buFontTx/>
              <a:buNone/>
            </a:pPr>
            <a:br>
              <a:rPr lang="en-GB" altLang="en-US" sz="2400" dirty="0">
                <a:solidFill>
                  <a:srgbClr val="FF6600"/>
                </a:solidFill>
              </a:rPr>
            </a:br>
            <a:endParaRPr lang="en-GB" altLang="en-US" sz="2400" dirty="0">
              <a:solidFill>
                <a:srgbClr val="FF6600"/>
              </a:solidFill>
            </a:endParaRPr>
          </a:p>
          <a:p>
            <a:pPr eaLnBrk="1" hangingPunct="1">
              <a:lnSpc>
                <a:spcPct val="100000"/>
              </a:lnSpc>
              <a:spcBef>
                <a:spcPct val="0"/>
              </a:spcBef>
              <a:buClrTx/>
              <a:buSzTx/>
              <a:buFontTx/>
              <a:buNone/>
            </a:pPr>
            <a:r>
              <a:rPr lang="en-GB" sz="2800" dirty="0">
                <a:solidFill>
                  <a:srgbClr val="FF6600"/>
                </a:solidFill>
                <a:cs typeface="Arial" pitchFamily="34" charset="0"/>
              </a:rPr>
              <a:t>    </a:t>
            </a:r>
            <a:r>
              <a:rPr lang="en-GB" sz="2800" dirty="0" err="1">
                <a:solidFill>
                  <a:srgbClr val="FF6600"/>
                </a:solidFill>
                <a:cs typeface="Arial" pitchFamily="34" charset="0"/>
              </a:rPr>
              <a:t>TestMagic</a:t>
            </a:r>
            <a:r>
              <a:rPr lang="en-GB" sz="2800" baseline="30000" dirty="0" err="1">
                <a:solidFill>
                  <a:srgbClr val="FF6600"/>
                </a:solidFill>
                <a:cs typeface="Arial" pitchFamily="34" charset="0"/>
              </a:rPr>
              <a:t>TM</a:t>
            </a:r>
            <a:r>
              <a:rPr lang="en-GB" sz="2800" dirty="0">
                <a:solidFill>
                  <a:srgbClr val="FF6600"/>
                </a:solidFill>
                <a:cs typeface="Arial" pitchFamily="34" charset="0"/>
              </a:rPr>
              <a:t> </a:t>
            </a:r>
            <a:r>
              <a:rPr lang="en-US" altLang="en-US" sz="2800" dirty="0">
                <a:solidFill>
                  <a:srgbClr val="FF6600"/>
                </a:solidFill>
                <a:cs typeface="Arial" pitchFamily="34" charset="0"/>
              </a:rPr>
              <a:t> - Automation Test Suite(s) Overview</a:t>
            </a:r>
          </a:p>
          <a:p>
            <a:pPr eaLnBrk="1" hangingPunct="1">
              <a:spcBef>
                <a:spcPct val="0"/>
              </a:spcBef>
              <a:buFont typeface="Times New Roman" panose="02020603050405020304" pitchFamily="18" charset="0"/>
              <a:buNone/>
            </a:pPr>
            <a:br>
              <a:rPr lang="en-US" altLang="en-US" sz="2700" dirty="0">
                <a:solidFill>
                  <a:srgbClr val="FF6600"/>
                </a:solidFill>
              </a:rPr>
            </a:br>
            <a:endParaRPr lang="en-US" altLang="en-US" sz="2400" dirty="0">
              <a:solidFill>
                <a:srgbClr val="FF6600"/>
              </a:solidFill>
            </a:endParaRPr>
          </a:p>
        </p:txBody>
      </p:sp>
      <p:pic>
        <p:nvPicPr>
          <p:cNvPr id="15" name="Picture 5">
            <a:extLst>
              <a:ext uri="{FF2B5EF4-FFF2-40B4-BE49-F238E27FC236}">
                <a16:creationId xmlns:a16="http://schemas.microsoft.com/office/drawing/2014/main" id="{08C7339D-BC00-4BE7-A7C7-D6BEF898D22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27792" y="301183"/>
            <a:ext cx="334963" cy="3048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EE8B054D-DD6E-4858-BCA9-BD9E8955CFE2}"/>
              </a:ext>
            </a:extLst>
          </p:cNvPr>
          <p:cNvPicPr>
            <a:picLocks noChangeAspect="1"/>
          </p:cNvPicPr>
          <p:nvPr/>
        </p:nvPicPr>
        <p:blipFill>
          <a:blip r:embed="rId4"/>
          <a:stretch>
            <a:fillRect/>
          </a:stretch>
        </p:blipFill>
        <p:spPr>
          <a:xfrm>
            <a:off x="2637644" y="1051560"/>
            <a:ext cx="6945893" cy="5029200"/>
          </a:xfrm>
          <a:prstGeom prst="rect">
            <a:avLst/>
          </a:prstGeom>
        </p:spPr>
      </p:pic>
    </p:spTree>
    <p:extLst>
      <p:ext uri="{BB962C8B-B14F-4D97-AF65-F5344CB8AC3E}">
        <p14:creationId xmlns:p14="http://schemas.microsoft.com/office/powerpoint/2010/main" val="7880758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17">
            <a:extLst>
              <a:ext uri="{FF2B5EF4-FFF2-40B4-BE49-F238E27FC236}">
                <a16:creationId xmlns:a16="http://schemas.microsoft.com/office/drawing/2014/main" id="{197BD3B0-8155-4019-8883-64013068C737}"/>
              </a:ext>
            </a:extLst>
          </p:cNvPr>
          <p:cNvSpPr>
            <a:spLocks noGrp="1"/>
          </p:cNvSpPr>
          <p:nvPr>
            <p:ph type="title"/>
          </p:nvPr>
        </p:nvSpPr>
        <p:spPr>
          <a:xfrm>
            <a:off x="571500" y="533136"/>
            <a:ext cx="11049000" cy="419364"/>
          </a:xfrm>
        </p:spPr>
        <p:txBody>
          <a:bodyPr>
            <a:noAutofit/>
          </a:bodyPr>
          <a:lstStyle/>
          <a:p>
            <a:r>
              <a:rPr lang="en-IN" sz="3000" dirty="0">
                <a:solidFill>
                  <a:srgbClr val="EF6F0E"/>
                </a:solidFill>
              </a:rPr>
              <a:t>TestMagic</a:t>
            </a:r>
            <a:r>
              <a:rPr lang="en-IN" sz="3000" baseline="30000" dirty="0">
                <a:solidFill>
                  <a:srgbClr val="EF6F0E"/>
                </a:solidFill>
              </a:rPr>
              <a:t>TM</a:t>
            </a:r>
            <a:r>
              <a:rPr lang="en-IN" altLang="en-US" sz="3000" dirty="0">
                <a:solidFill>
                  <a:srgbClr val="EF6F0E"/>
                </a:solidFill>
              </a:rPr>
              <a:t> – Artificial Intelligence (AI/ML Capabilities)</a:t>
            </a:r>
            <a:br>
              <a:rPr lang="en-IN" altLang="en-US" sz="3333" dirty="0">
                <a:solidFill>
                  <a:srgbClr val="EF6F0E"/>
                </a:solidFill>
              </a:rPr>
            </a:br>
            <a:br>
              <a:rPr lang="en-US" altLang="en-US" sz="3333" dirty="0"/>
            </a:br>
            <a:br>
              <a:rPr lang="en-US" altLang="en-US" sz="3333" dirty="0"/>
            </a:br>
            <a:br>
              <a:rPr lang="en-US" altLang="en-US" sz="3333" dirty="0"/>
            </a:br>
            <a:r>
              <a:rPr lang="en-US" altLang="en-US" sz="3333" dirty="0"/>
              <a:t>  </a:t>
            </a:r>
          </a:p>
        </p:txBody>
      </p:sp>
      <p:sp>
        <p:nvSpPr>
          <p:cNvPr id="20" name="Diamond 19">
            <a:extLst>
              <a:ext uri="{FF2B5EF4-FFF2-40B4-BE49-F238E27FC236}">
                <a16:creationId xmlns:a16="http://schemas.microsoft.com/office/drawing/2014/main" id="{6E65901C-A781-41BA-A94C-65FC802CF358}"/>
              </a:ext>
            </a:extLst>
          </p:cNvPr>
          <p:cNvSpPr>
            <a:spLocks noChangeAspect="1"/>
          </p:cNvSpPr>
          <p:nvPr/>
        </p:nvSpPr>
        <p:spPr>
          <a:xfrm>
            <a:off x="1236086" y="1347106"/>
            <a:ext cx="1494414" cy="1178073"/>
          </a:xfrm>
          <a:prstGeom prst="diamond">
            <a:avLst/>
          </a:prstGeom>
          <a:solidFill>
            <a:srgbClr val="E1EFD9"/>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sz="1500" b="1"/>
          </a:p>
        </p:txBody>
      </p:sp>
      <p:sp>
        <p:nvSpPr>
          <p:cNvPr id="30" name="TextBox 29">
            <a:extLst>
              <a:ext uri="{FF2B5EF4-FFF2-40B4-BE49-F238E27FC236}">
                <a16:creationId xmlns:a16="http://schemas.microsoft.com/office/drawing/2014/main" id="{364C2748-764E-45A0-B4EB-F973A4130B9A}"/>
              </a:ext>
            </a:extLst>
          </p:cNvPr>
          <p:cNvSpPr txBox="1"/>
          <p:nvPr/>
        </p:nvSpPr>
        <p:spPr>
          <a:xfrm>
            <a:off x="743383" y="2488181"/>
            <a:ext cx="2537875" cy="284693"/>
          </a:xfrm>
          <a:prstGeom prst="rect">
            <a:avLst/>
          </a:prstGeom>
          <a:noFill/>
        </p:spPr>
        <p:txBody>
          <a:bodyPr wrap="none" rtlCol="0">
            <a:spAutoFit/>
          </a:bodyPr>
          <a:lstStyle/>
          <a:p>
            <a:pPr algn="ctr" defTabSz="914363">
              <a:defRPr/>
            </a:pPr>
            <a:r>
              <a:rPr lang="en-US" sz="1250" b="1" kern="0" dirty="0">
                <a:solidFill>
                  <a:srgbClr val="E7E6E6">
                    <a:lumMod val="50000"/>
                  </a:srgbClr>
                </a:solidFill>
                <a:latin typeface="Arial"/>
              </a:rPr>
              <a:t>AI in Test Automation Creation</a:t>
            </a:r>
          </a:p>
        </p:txBody>
      </p:sp>
      <p:sp>
        <p:nvSpPr>
          <p:cNvPr id="34" name="TextBox 33">
            <a:extLst>
              <a:ext uri="{FF2B5EF4-FFF2-40B4-BE49-F238E27FC236}">
                <a16:creationId xmlns:a16="http://schemas.microsoft.com/office/drawing/2014/main" id="{B2A665EC-2B72-41BD-B41D-05BD0B478973}"/>
              </a:ext>
            </a:extLst>
          </p:cNvPr>
          <p:cNvSpPr txBox="1"/>
          <p:nvPr/>
        </p:nvSpPr>
        <p:spPr>
          <a:xfrm>
            <a:off x="630829" y="4127501"/>
            <a:ext cx="2654894" cy="284693"/>
          </a:xfrm>
          <a:prstGeom prst="rect">
            <a:avLst/>
          </a:prstGeom>
          <a:noFill/>
        </p:spPr>
        <p:txBody>
          <a:bodyPr wrap="none" rtlCol="0">
            <a:spAutoFit/>
          </a:bodyPr>
          <a:lstStyle/>
          <a:p>
            <a:pPr algn="ctr" defTabSz="914363">
              <a:defRPr/>
            </a:pPr>
            <a:r>
              <a:rPr lang="en-US" sz="1250" b="1" kern="0" dirty="0">
                <a:solidFill>
                  <a:srgbClr val="E7E6E6">
                    <a:lumMod val="50000"/>
                  </a:srgbClr>
                </a:solidFill>
                <a:latin typeface="Arial"/>
              </a:rPr>
              <a:t>AI in Test Automation Execution</a:t>
            </a:r>
          </a:p>
        </p:txBody>
      </p:sp>
      <p:sp>
        <p:nvSpPr>
          <p:cNvPr id="41" name="Diamond 40">
            <a:extLst>
              <a:ext uri="{FF2B5EF4-FFF2-40B4-BE49-F238E27FC236}">
                <a16:creationId xmlns:a16="http://schemas.microsoft.com/office/drawing/2014/main" id="{1B26BE38-F57A-40D9-B7B4-0FB0B207BE6C}"/>
              </a:ext>
            </a:extLst>
          </p:cNvPr>
          <p:cNvSpPr>
            <a:spLocks noChangeAspect="1"/>
          </p:cNvSpPr>
          <p:nvPr/>
        </p:nvSpPr>
        <p:spPr>
          <a:xfrm>
            <a:off x="1211067" y="2953424"/>
            <a:ext cx="1494414" cy="1178073"/>
          </a:xfrm>
          <a:prstGeom prst="diamond">
            <a:avLst/>
          </a:prstGeom>
          <a:solidFill>
            <a:srgbClr val="FFF0C1"/>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sz="1500" b="1" dirty="0"/>
          </a:p>
        </p:txBody>
      </p:sp>
      <p:pic>
        <p:nvPicPr>
          <p:cNvPr id="28" name="Picture 27" descr="A close up of a logo&#10;&#10;Description automatically generated">
            <a:extLst>
              <a:ext uri="{FF2B5EF4-FFF2-40B4-BE49-F238E27FC236}">
                <a16:creationId xmlns:a16="http://schemas.microsoft.com/office/drawing/2014/main" id="{1BACDC2D-CE07-423C-A80B-BD4D20FD7F7E}"/>
              </a:ext>
            </a:extLst>
          </p:cNvPr>
          <p:cNvPicPr>
            <a:picLocks noChangeAspect="1"/>
          </p:cNvPicPr>
          <p:nvPr/>
        </p:nvPicPr>
        <p:blipFill>
          <a:blip r:embed="rId3"/>
          <a:stretch>
            <a:fillRect/>
          </a:stretch>
        </p:blipFill>
        <p:spPr>
          <a:xfrm>
            <a:off x="1655100" y="3289339"/>
            <a:ext cx="642901" cy="596979"/>
          </a:xfrm>
          <a:prstGeom prst="rect">
            <a:avLst/>
          </a:prstGeom>
        </p:spPr>
      </p:pic>
      <p:sp>
        <p:nvSpPr>
          <p:cNvPr id="44" name="TextBox 43">
            <a:extLst>
              <a:ext uri="{FF2B5EF4-FFF2-40B4-BE49-F238E27FC236}">
                <a16:creationId xmlns:a16="http://schemas.microsoft.com/office/drawing/2014/main" id="{B5507B38-4F48-4378-BC1B-34BF676795CB}"/>
              </a:ext>
            </a:extLst>
          </p:cNvPr>
          <p:cNvSpPr txBox="1"/>
          <p:nvPr/>
        </p:nvSpPr>
        <p:spPr>
          <a:xfrm>
            <a:off x="513340" y="5778501"/>
            <a:ext cx="3013967" cy="284693"/>
          </a:xfrm>
          <a:prstGeom prst="rect">
            <a:avLst/>
          </a:prstGeom>
          <a:noFill/>
        </p:spPr>
        <p:txBody>
          <a:bodyPr wrap="none" rtlCol="0">
            <a:spAutoFit/>
          </a:bodyPr>
          <a:lstStyle/>
          <a:p>
            <a:pPr algn="ctr" defTabSz="914363">
              <a:defRPr/>
            </a:pPr>
            <a:r>
              <a:rPr lang="en-US" sz="1250" b="1" kern="0" dirty="0">
                <a:solidFill>
                  <a:srgbClr val="E7E6E6">
                    <a:lumMod val="50000"/>
                  </a:srgbClr>
                </a:solidFill>
                <a:latin typeface="Arial"/>
              </a:rPr>
              <a:t>AI in Execution Reporting &amp; Analysis</a:t>
            </a:r>
          </a:p>
        </p:txBody>
      </p:sp>
      <p:sp>
        <p:nvSpPr>
          <p:cNvPr id="46" name="Diamond 45">
            <a:extLst>
              <a:ext uri="{FF2B5EF4-FFF2-40B4-BE49-F238E27FC236}">
                <a16:creationId xmlns:a16="http://schemas.microsoft.com/office/drawing/2014/main" id="{6DEB5FEF-3DF8-4236-976D-AFAF3C690234}"/>
              </a:ext>
            </a:extLst>
          </p:cNvPr>
          <p:cNvSpPr>
            <a:spLocks noChangeAspect="1"/>
          </p:cNvSpPr>
          <p:nvPr/>
        </p:nvSpPr>
        <p:spPr>
          <a:xfrm>
            <a:off x="1236086" y="4508500"/>
            <a:ext cx="1494414" cy="1178073"/>
          </a:xfrm>
          <a:prstGeom prst="diamond">
            <a:avLst/>
          </a:prstGeom>
          <a:solidFill>
            <a:srgbClr val="DEEBF6"/>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sz="1500" b="1"/>
          </a:p>
        </p:txBody>
      </p:sp>
      <p:grpSp>
        <p:nvGrpSpPr>
          <p:cNvPr id="96" name="Group 95"/>
          <p:cNvGrpSpPr/>
          <p:nvPr/>
        </p:nvGrpSpPr>
        <p:grpSpPr>
          <a:xfrm>
            <a:off x="7078130" y="1264666"/>
            <a:ext cx="320844" cy="321932"/>
            <a:chOff x="7385847" y="943243"/>
            <a:chExt cx="609360" cy="611425"/>
          </a:xfrm>
          <a:solidFill>
            <a:schemeClr val="bg1"/>
          </a:solidFill>
        </p:grpSpPr>
        <p:sp>
          <p:nvSpPr>
            <p:cNvPr id="97" name="Freeform 22"/>
            <p:cNvSpPr>
              <a:spLocks noEditPoints="1"/>
            </p:cNvSpPr>
            <p:nvPr/>
          </p:nvSpPr>
          <p:spPr bwMode="auto">
            <a:xfrm flipH="1">
              <a:off x="7385847" y="943243"/>
              <a:ext cx="609360" cy="611425"/>
            </a:xfrm>
            <a:custGeom>
              <a:avLst/>
              <a:gdLst>
                <a:gd name="T0" fmla="*/ 76 w 125"/>
                <a:gd name="T1" fmla="*/ 0 h 125"/>
                <a:gd name="T2" fmla="*/ 27 w 125"/>
                <a:gd name="T3" fmla="*/ 49 h 125"/>
                <a:gd name="T4" fmla="*/ 34 w 125"/>
                <a:gd name="T5" fmla="*/ 73 h 125"/>
                <a:gd name="T6" fmla="*/ 5 w 125"/>
                <a:gd name="T7" fmla="*/ 102 h 125"/>
                <a:gd name="T8" fmla="*/ 5 w 125"/>
                <a:gd name="T9" fmla="*/ 120 h 125"/>
                <a:gd name="T10" fmla="*/ 24 w 125"/>
                <a:gd name="T11" fmla="*/ 120 h 125"/>
                <a:gd name="T12" fmla="*/ 52 w 125"/>
                <a:gd name="T13" fmla="*/ 92 h 125"/>
                <a:gd name="T14" fmla="*/ 76 w 125"/>
                <a:gd name="T15" fmla="*/ 98 h 125"/>
                <a:gd name="T16" fmla="*/ 125 w 125"/>
                <a:gd name="T17" fmla="*/ 49 h 125"/>
                <a:gd name="T18" fmla="*/ 76 w 125"/>
                <a:gd name="T19" fmla="*/ 0 h 125"/>
                <a:gd name="T20" fmla="*/ 76 w 125"/>
                <a:gd name="T21" fmla="*/ 85 h 125"/>
                <a:gd name="T22" fmla="*/ 40 w 125"/>
                <a:gd name="T23" fmla="*/ 49 h 125"/>
                <a:gd name="T24" fmla="*/ 76 w 125"/>
                <a:gd name="T25" fmla="*/ 13 h 125"/>
                <a:gd name="T26" fmla="*/ 112 w 125"/>
                <a:gd name="T27" fmla="*/ 49 h 125"/>
                <a:gd name="T28" fmla="*/ 76 w 125"/>
                <a:gd name="T29" fmla="*/ 8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 h="125">
                  <a:moveTo>
                    <a:pt x="76" y="0"/>
                  </a:moveTo>
                  <a:cubicBezTo>
                    <a:pt x="49" y="0"/>
                    <a:pt x="27" y="22"/>
                    <a:pt x="27" y="49"/>
                  </a:cubicBezTo>
                  <a:cubicBezTo>
                    <a:pt x="27" y="58"/>
                    <a:pt x="30" y="66"/>
                    <a:pt x="34" y="73"/>
                  </a:cubicBezTo>
                  <a:cubicBezTo>
                    <a:pt x="5" y="102"/>
                    <a:pt x="5" y="102"/>
                    <a:pt x="5" y="102"/>
                  </a:cubicBezTo>
                  <a:cubicBezTo>
                    <a:pt x="0" y="107"/>
                    <a:pt x="0" y="115"/>
                    <a:pt x="5" y="120"/>
                  </a:cubicBezTo>
                  <a:cubicBezTo>
                    <a:pt x="10" y="125"/>
                    <a:pt x="19" y="125"/>
                    <a:pt x="24" y="120"/>
                  </a:cubicBezTo>
                  <a:cubicBezTo>
                    <a:pt x="52" y="92"/>
                    <a:pt x="52" y="92"/>
                    <a:pt x="52" y="92"/>
                  </a:cubicBezTo>
                  <a:cubicBezTo>
                    <a:pt x="59" y="96"/>
                    <a:pt x="68" y="98"/>
                    <a:pt x="76" y="98"/>
                  </a:cubicBezTo>
                  <a:cubicBezTo>
                    <a:pt x="103" y="98"/>
                    <a:pt x="125" y="76"/>
                    <a:pt x="125" y="49"/>
                  </a:cubicBezTo>
                  <a:cubicBezTo>
                    <a:pt x="125" y="22"/>
                    <a:pt x="103" y="0"/>
                    <a:pt x="76" y="0"/>
                  </a:cubicBezTo>
                  <a:close/>
                  <a:moveTo>
                    <a:pt x="76" y="85"/>
                  </a:moveTo>
                  <a:cubicBezTo>
                    <a:pt x="56" y="85"/>
                    <a:pt x="40" y="69"/>
                    <a:pt x="40" y="49"/>
                  </a:cubicBezTo>
                  <a:cubicBezTo>
                    <a:pt x="40" y="29"/>
                    <a:pt x="56" y="13"/>
                    <a:pt x="76" y="13"/>
                  </a:cubicBezTo>
                  <a:cubicBezTo>
                    <a:pt x="96" y="13"/>
                    <a:pt x="112" y="29"/>
                    <a:pt x="112" y="49"/>
                  </a:cubicBezTo>
                  <a:cubicBezTo>
                    <a:pt x="112" y="69"/>
                    <a:pt x="96" y="85"/>
                    <a:pt x="76"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2449">
                <a:solidFill>
                  <a:schemeClr val="bg1"/>
                </a:solidFill>
              </a:endParaRPr>
            </a:p>
          </p:txBody>
        </p:sp>
        <p:sp>
          <p:nvSpPr>
            <p:cNvPr id="98" name="Freeform 23"/>
            <p:cNvSpPr>
              <a:spLocks/>
            </p:cNvSpPr>
            <p:nvPr/>
          </p:nvSpPr>
          <p:spPr bwMode="auto">
            <a:xfrm>
              <a:off x="7472603" y="1089903"/>
              <a:ext cx="307779" cy="210694"/>
            </a:xfrm>
            <a:custGeom>
              <a:avLst/>
              <a:gdLst>
                <a:gd name="T0" fmla="*/ 58 w 63"/>
                <a:gd name="T1" fmla="*/ 0 h 43"/>
                <a:gd name="T2" fmla="*/ 36 w 63"/>
                <a:gd name="T3" fmla="*/ 25 h 43"/>
                <a:gd name="T4" fmla="*/ 17 w 63"/>
                <a:gd name="T5" fmla="*/ 4 h 43"/>
                <a:gd name="T6" fmla="*/ 0 w 63"/>
                <a:gd name="T7" fmla="*/ 20 h 43"/>
                <a:gd name="T8" fmla="*/ 3 w 63"/>
                <a:gd name="T9" fmla="*/ 33 h 43"/>
                <a:gd name="T10" fmla="*/ 17 w 63"/>
                <a:gd name="T11" fmla="*/ 21 h 43"/>
                <a:gd name="T12" fmla="*/ 36 w 63"/>
                <a:gd name="T13" fmla="*/ 43 h 43"/>
                <a:gd name="T14" fmla="*/ 63 w 63"/>
                <a:gd name="T15" fmla="*/ 12 h 43"/>
                <a:gd name="T16" fmla="*/ 58 w 63"/>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3">
                  <a:moveTo>
                    <a:pt x="58" y="0"/>
                  </a:moveTo>
                  <a:cubicBezTo>
                    <a:pt x="36" y="25"/>
                    <a:pt x="36" y="25"/>
                    <a:pt x="36" y="25"/>
                  </a:cubicBezTo>
                  <a:cubicBezTo>
                    <a:pt x="17" y="4"/>
                    <a:pt x="17" y="4"/>
                    <a:pt x="17" y="4"/>
                  </a:cubicBezTo>
                  <a:cubicBezTo>
                    <a:pt x="0" y="20"/>
                    <a:pt x="0" y="20"/>
                    <a:pt x="0" y="20"/>
                  </a:cubicBezTo>
                  <a:cubicBezTo>
                    <a:pt x="0" y="24"/>
                    <a:pt x="1" y="29"/>
                    <a:pt x="3" y="33"/>
                  </a:cubicBezTo>
                  <a:cubicBezTo>
                    <a:pt x="17" y="21"/>
                    <a:pt x="17" y="21"/>
                    <a:pt x="17" y="21"/>
                  </a:cubicBezTo>
                  <a:cubicBezTo>
                    <a:pt x="36" y="43"/>
                    <a:pt x="36" y="43"/>
                    <a:pt x="36" y="43"/>
                  </a:cubicBezTo>
                  <a:cubicBezTo>
                    <a:pt x="63" y="12"/>
                    <a:pt x="63" y="12"/>
                    <a:pt x="63" y="12"/>
                  </a:cubicBezTo>
                  <a:cubicBezTo>
                    <a:pt x="62" y="7"/>
                    <a:pt x="60" y="3"/>
                    <a:pt x="58"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2449">
                <a:solidFill>
                  <a:schemeClr val="bg1"/>
                </a:solidFill>
              </a:endParaRPr>
            </a:p>
          </p:txBody>
        </p:sp>
      </p:grpSp>
      <p:pic>
        <p:nvPicPr>
          <p:cNvPr id="13" name="Picture 12">
            <a:extLst>
              <a:ext uri="{FF2B5EF4-FFF2-40B4-BE49-F238E27FC236}">
                <a16:creationId xmlns:a16="http://schemas.microsoft.com/office/drawing/2014/main" id="{9682606D-1C26-4AB8-BAEC-39B19B03AE7B}"/>
              </a:ext>
            </a:extLst>
          </p:cNvPr>
          <p:cNvPicPr>
            <a:picLocks noChangeAspect="1"/>
          </p:cNvPicPr>
          <p:nvPr/>
        </p:nvPicPr>
        <p:blipFill>
          <a:blip r:embed="rId4"/>
          <a:stretch>
            <a:fillRect/>
          </a:stretch>
        </p:blipFill>
        <p:spPr>
          <a:xfrm>
            <a:off x="5311807" y="1383331"/>
            <a:ext cx="489858" cy="609600"/>
          </a:xfrm>
          <a:prstGeom prst="rect">
            <a:avLst/>
          </a:prstGeom>
        </p:spPr>
      </p:pic>
      <p:sp>
        <p:nvSpPr>
          <p:cNvPr id="21" name="TextBox 20">
            <a:extLst>
              <a:ext uri="{FF2B5EF4-FFF2-40B4-BE49-F238E27FC236}">
                <a16:creationId xmlns:a16="http://schemas.microsoft.com/office/drawing/2014/main" id="{9F0A860A-E174-40D5-AA99-0FDA8C1A68BA}"/>
              </a:ext>
            </a:extLst>
          </p:cNvPr>
          <p:cNvSpPr txBox="1"/>
          <p:nvPr/>
        </p:nvSpPr>
        <p:spPr>
          <a:xfrm>
            <a:off x="4669281" y="2102009"/>
            <a:ext cx="1728358" cy="284693"/>
          </a:xfrm>
          <a:prstGeom prst="rect">
            <a:avLst/>
          </a:prstGeom>
          <a:noFill/>
        </p:spPr>
        <p:txBody>
          <a:bodyPr wrap="none" rtlCol="0">
            <a:spAutoFit/>
          </a:bodyPr>
          <a:lstStyle/>
          <a:p>
            <a:pPr algn="ctr" defTabSz="914363">
              <a:defRPr/>
            </a:pPr>
            <a:r>
              <a:rPr lang="en-US" sz="1250" b="1" kern="0" dirty="0">
                <a:solidFill>
                  <a:srgbClr val="E7E6E6">
                    <a:lumMod val="50000"/>
                  </a:srgbClr>
                </a:solidFill>
                <a:latin typeface="Arial"/>
              </a:rPr>
              <a:t>Object Identification</a:t>
            </a:r>
          </a:p>
        </p:txBody>
      </p:sp>
      <p:sp>
        <p:nvSpPr>
          <p:cNvPr id="22" name="TextBox 21">
            <a:extLst>
              <a:ext uri="{FF2B5EF4-FFF2-40B4-BE49-F238E27FC236}">
                <a16:creationId xmlns:a16="http://schemas.microsoft.com/office/drawing/2014/main" id="{8C70F351-5269-437C-800C-82510815DB3C}"/>
              </a:ext>
            </a:extLst>
          </p:cNvPr>
          <p:cNvSpPr txBox="1"/>
          <p:nvPr/>
        </p:nvSpPr>
        <p:spPr>
          <a:xfrm>
            <a:off x="6546974" y="2031033"/>
            <a:ext cx="1827744" cy="477054"/>
          </a:xfrm>
          <a:prstGeom prst="rect">
            <a:avLst/>
          </a:prstGeom>
          <a:noFill/>
        </p:spPr>
        <p:txBody>
          <a:bodyPr wrap="none" rtlCol="0">
            <a:spAutoFit/>
          </a:bodyPr>
          <a:lstStyle/>
          <a:p>
            <a:pPr algn="ctr" defTabSz="914363">
              <a:defRPr/>
            </a:pPr>
            <a:r>
              <a:rPr lang="en-US" sz="1250" b="1" kern="0" dirty="0">
                <a:solidFill>
                  <a:srgbClr val="E7E6E6">
                    <a:lumMod val="50000"/>
                  </a:srgbClr>
                </a:solidFill>
                <a:latin typeface="Arial"/>
              </a:rPr>
              <a:t>Discover Application </a:t>
            </a:r>
          </a:p>
          <a:p>
            <a:pPr algn="ctr" defTabSz="914363">
              <a:defRPr/>
            </a:pPr>
            <a:r>
              <a:rPr lang="en-US" sz="1250" b="1" kern="0" dirty="0">
                <a:solidFill>
                  <a:srgbClr val="E7E6E6">
                    <a:lumMod val="50000"/>
                  </a:srgbClr>
                </a:solidFill>
                <a:latin typeface="Arial"/>
              </a:rPr>
              <a:t>Under Test</a:t>
            </a:r>
          </a:p>
        </p:txBody>
      </p:sp>
      <p:sp>
        <p:nvSpPr>
          <p:cNvPr id="23" name="TextBox 22">
            <a:extLst>
              <a:ext uri="{FF2B5EF4-FFF2-40B4-BE49-F238E27FC236}">
                <a16:creationId xmlns:a16="http://schemas.microsoft.com/office/drawing/2014/main" id="{09D0000B-E9E0-4F05-BBB8-7AAAAD1714A1}"/>
              </a:ext>
            </a:extLst>
          </p:cNvPr>
          <p:cNvSpPr txBox="1"/>
          <p:nvPr/>
        </p:nvSpPr>
        <p:spPr>
          <a:xfrm>
            <a:off x="8938630" y="2031033"/>
            <a:ext cx="989374" cy="477054"/>
          </a:xfrm>
          <a:prstGeom prst="rect">
            <a:avLst/>
          </a:prstGeom>
          <a:noFill/>
        </p:spPr>
        <p:txBody>
          <a:bodyPr wrap="none" rtlCol="0">
            <a:spAutoFit/>
          </a:bodyPr>
          <a:lstStyle/>
          <a:p>
            <a:pPr algn="ctr" defTabSz="914363">
              <a:defRPr/>
            </a:pPr>
            <a:r>
              <a:rPr lang="en-US" sz="1250" b="1" kern="0" dirty="0">
                <a:solidFill>
                  <a:srgbClr val="E7E6E6">
                    <a:lumMod val="50000"/>
                  </a:srgbClr>
                </a:solidFill>
                <a:latin typeface="Arial"/>
              </a:rPr>
              <a:t>Test Case </a:t>
            </a:r>
          </a:p>
          <a:p>
            <a:pPr algn="ctr" defTabSz="914363">
              <a:defRPr/>
            </a:pPr>
            <a:r>
              <a:rPr lang="en-US" sz="1250" b="1" kern="0" dirty="0">
                <a:solidFill>
                  <a:srgbClr val="E7E6E6">
                    <a:lumMod val="50000"/>
                  </a:srgbClr>
                </a:solidFill>
                <a:latin typeface="Arial"/>
              </a:rPr>
              <a:t>Authoring</a:t>
            </a:r>
          </a:p>
        </p:txBody>
      </p:sp>
      <p:sp>
        <p:nvSpPr>
          <p:cNvPr id="59" name="TextBox 58">
            <a:extLst>
              <a:ext uri="{FF2B5EF4-FFF2-40B4-BE49-F238E27FC236}">
                <a16:creationId xmlns:a16="http://schemas.microsoft.com/office/drawing/2014/main" id="{31EC387F-019F-468A-9C62-AC0CC0993E2D}"/>
              </a:ext>
            </a:extLst>
          </p:cNvPr>
          <p:cNvSpPr txBox="1"/>
          <p:nvPr/>
        </p:nvSpPr>
        <p:spPr>
          <a:xfrm>
            <a:off x="10653513" y="2014299"/>
            <a:ext cx="986168" cy="477054"/>
          </a:xfrm>
          <a:prstGeom prst="rect">
            <a:avLst/>
          </a:prstGeom>
          <a:noFill/>
        </p:spPr>
        <p:txBody>
          <a:bodyPr wrap="none" rtlCol="0">
            <a:spAutoFit/>
          </a:bodyPr>
          <a:lstStyle/>
          <a:p>
            <a:pPr algn="ctr" defTabSz="914363">
              <a:defRPr/>
            </a:pPr>
            <a:r>
              <a:rPr lang="en-US" sz="1250" b="1" kern="0" dirty="0">
                <a:solidFill>
                  <a:srgbClr val="E7E6E6">
                    <a:lumMod val="50000"/>
                  </a:srgbClr>
                </a:solidFill>
                <a:latin typeface="Arial"/>
              </a:rPr>
              <a:t>Computer </a:t>
            </a:r>
          </a:p>
          <a:p>
            <a:pPr algn="ctr" defTabSz="914363">
              <a:defRPr/>
            </a:pPr>
            <a:r>
              <a:rPr lang="en-US" sz="1250" b="1" kern="0" dirty="0">
                <a:solidFill>
                  <a:srgbClr val="E7E6E6">
                    <a:lumMod val="50000"/>
                  </a:srgbClr>
                </a:solidFill>
                <a:latin typeface="Arial"/>
              </a:rPr>
              <a:t>Vision</a:t>
            </a:r>
          </a:p>
        </p:txBody>
      </p:sp>
      <p:grpSp>
        <p:nvGrpSpPr>
          <p:cNvPr id="49" name="Group 48">
            <a:extLst>
              <a:ext uri="{FF2B5EF4-FFF2-40B4-BE49-F238E27FC236}">
                <a16:creationId xmlns:a16="http://schemas.microsoft.com/office/drawing/2014/main" id="{0C5E3FB8-99E1-4270-A484-926539370746}"/>
              </a:ext>
            </a:extLst>
          </p:cNvPr>
          <p:cNvGrpSpPr/>
          <p:nvPr/>
        </p:nvGrpSpPr>
        <p:grpSpPr>
          <a:xfrm>
            <a:off x="5062369" y="2957827"/>
            <a:ext cx="6723014" cy="1234972"/>
            <a:chOff x="6059468" y="3413301"/>
            <a:chExt cx="8067617" cy="1481966"/>
          </a:xfrm>
        </p:grpSpPr>
        <p:pic>
          <p:nvPicPr>
            <p:cNvPr id="51" name="Picture 50">
              <a:extLst>
                <a:ext uri="{FF2B5EF4-FFF2-40B4-BE49-F238E27FC236}">
                  <a16:creationId xmlns:a16="http://schemas.microsoft.com/office/drawing/2014/main" id="{942E94D0-8621-484B-BC16-D13EA431ABC9}"/>
                </a:ext>
              </a:extLst>
            </p:cNvPr>
            <p:cNvPicPr>
              <a:picLocks noChangeAspect="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307853" y="3538725"/>
              <a:ext cx="673907" cy="653541"/>
            </a:xfrm>
            <a:prstGeom prst="rect">
              <a:avLst/>
            </a:prstGeom>
          </p:spPr>
        </p:pic>
        <p:sp>
          <p:nvSpPr>
            <p:cNvPr id="53" name="TextBox 52">
              <a:extLst>
                <a:ext uri="{FF2B5EF4-FFF2-40B4-BE49-F238E27FC236}">
                  <a16:creationId xmlns:a16="http://schemas.microsoft.com/office/drawing/2014/main" id="{49E092DD-D13A-4165-B45E-EA311E32CF52}"/>
                </a:ext>
              </a:extLst>
            </p:cNvPr>
            <p:cNvSpPr txBox="1"/>
            <p:nvPr/>
          </p:nvSpPr>
          <p:spPr>
            <a:xfrm>
              <a:off x="6059468" y="4322291"/>
              <a:ext cx="1225721" cy="572465"/>
            </a:xfrm>
            <a:prstGeom prst="rect">
              <a:avLst/>
            </a:prstGeom>
            <a:noFill/>
          </p:spPr>
          <p:txBody>
            <a:bodyPr wrap="none" rtlCol="0">
              <a:spAutoFit/>
            </a:bodyPr>
            <a:lstStyle/>
            <a:p>
              <a:pPr algn="ctr" defTabSz="914363">
                <a:defRPr/>
              </a:pPr>
              <a:r>
                <a:rPr lang="en-US" sz="1250" b="1" kern="0" dirty="0">
                  <a:solidFill>
                    <a:srgbClr val="E7E6E6">
                      <a:lumMod val="50000"/>
                    </a:srgbClr>
                  </a:solidFill>
                  <a:latin typeface="Arial"/>
                </a:rPr>
                <a:t>Auto Load </a:t>
              </a:r>
            </a:p>
            <a:p>
              <a:pPr algn="ctr" defTabSz="914363">
                <a:defRPr/>
              </a:pPr>
              <a:r>
                <a:rPr lang="en-US" sz="1250" b="1" kern="0" dirty="0">
                  <a:solidFill>
                    <a:srgbClr val="E7E6E6">
                      <a:lumMod val="50000"/>
                    </a:srgbClr>
                  </a:solidFill>
                  <a:latin typeface="Arial"/>
                </a:rPr>
                <a:t>Balancer</a:t>
              </a:r>
            </a:p>
          </p:txBody>
        </p:sp>
        <p:sp>
          <p:nvSpPr>
            <p:cNvPr id="54" name="TextBox 53">
              <a:extLst>
                <a:ext uri="{FF2B5EF4-FFF2-40B4-BE49-F238E27FC236}">
                  <a16:creationId xmlns:a16="http://schemas.microsoft.com/office/drawing/2014/main" id="{7468A668-BFE1-4794-9486-AE8A3044B37E}"/>
                </a:ext>
              </a:extLst>
            </p:cNvPr>
            <p:cNvSpPr txBox="1"/>
            <p:nvPr/>
          </p:nvSpPr>
          <p:spPr>
            <a:xfrm>
              <a:off x="8327288" y="4494108"/>
              <a:ext cx="1173784" cy="341632"/>
            </a:xfrm>
            <a:prstGeom prst="rect">
              <a:avLst/>
            </a:prstGeom>
            <a:noFill/>
          </p:spPr>
          <p:txBody>
            <a:bodyPr wrap="none" rtlCol="0">
              <a:spAutoFit/>
            </a:bodyPr>
            <a:lstStyle/>
            <a:p>
              <a:pPr algn="ctr" defTabSz="914363">
                <a:defRPr/>
              </a:pPr>
              <a:r>
                <a:rPr lang="en-US" sz="1250" b="1" kern="0" dirty="0">
                  <a:solidFill>
                    <a:srgbClr val="E7E6E6">
                      <a:lumMod val="50000"/>
                    </a:srgbClr>
                  </a:solidFill>
                  <a:latin typeface="Arial"/>
                </a:rPr>
                <a:t>Auto Sync</a:t>
              </a:r>
            </a:p>
          </p:txBody>
        </p:sp>
        <p:grpSp>
          <p:nvGrpSpPr>
            <p:cNvPr id="43" name="Group 42">
              <a:extLst>
                <a:ext uri="{FF2B5EF4-FFF2-40B4-BE49-F238E27FC236}">
                  <a16:creationId xmlns:a16="http://schemas.microsoft.com/office/drawing/2014/main" id="{816C8EF8-6E82-4D28-921A-68DA62AD9533}"/>
                </a:ext>
              </a:extLst>
            </p:cNvPr>
            <p:cNvGrpSpPr/>
            <p:nvPr/>
          </p:nvGrpSpPr>
          <p:grpSpPr>
            <a:xfrm>
              <a:off x="8386610" y="3513797"/>
              <a:ext cx="1055140" cy="980312"/>
              <a:chOff x="8560207" y="3513797"/>
              <a:chExt cx="1055140" cy="980312"/>
            </a:xfrm>
          </p:grpSpPr>
          <p:pic>
            <p:nvPicPr>
              <p:cNvPr id="55" name="Picture 54">
                <a:extLst>
                  <a:ext uri="{FF2B5EF4-FFF2-40B4-BE49-F238E27FC236}">
                    <a16:creationId xmlns:a16="http://schemas.microsoft.com/office/drawing/2014/main" id="{C7B9652E-CFE6-4CF6-B1AA-CE843BDF5D59}"/>
                  </a:ext>
                </a:extLst>
              </p:cNvPr>
              <p:cNvPicPr>
                <a:picLocks noChangeAspect="1"/>
              </p:cNvPicPr>
              <p:nvPr/>
            </p:nvPicPr>
            <p:blipFill>
              <a:blip r:embed="rId6" cstate="print">
                <a:duotone>
                  <a:srgbClr val="ED7D31">
                    <a:shade val="45000"/>
                    <a:satMod val="135000"/>
                  </a:srgbClr>
                  <a:prstClr val="white"/>
                </a:duotone>
                <a:extLst>
                  <a:ext uri="{28A0092B-C50C-407E-A947-70E740481C1C}">
                    <a14:useLocalDpi xmlns:a14="http://schemas.microsoft.com/office/drawing/2010/main" val="0"/>
                  </a:ext>
                </a:extLst>
              </a:blip>
              <a:stretch>
                <a:fillRect/>
              </a:stretch>
            </p:blipFill>
            <p:spPr>
              <a:xfrm>
                <a:off x="8560207" y="3513797"/>
                <a:ext cx="1055140" cy="980312"/>
              </a:xfrm>
              <a:prstGeom prst="rect">
                <a:avLst/>
              </a:prstGeom>
            </p:spPr>
          </p:pic>
          <p:pic>
            <p:nvPicPr>
              <p:cNvPr id="56" name="Picture 55">
                <a:extLst>
                  <a:ext uri="{FF2B5EF4-FFF2-40B4-BE49-F238E27FC236}">
                    <a16:creationId xmlns:a16="http://schemas.microsoft.com/office/drawing/2014/main" id="{6C6E8DF5-A815-4353-BA98-CBA37E17CBD4}"/>
                  </a:ext>
                </a:extLst>
              </p:cNvPr>
              <p:cNvPicPr>
                <a:picLocks noChangeAspect="1"/>
              </p:cNvPicPr>
              <p:nvPr/>
            </p:nvPicPr>
            <p:blipFill>
              <a:blip r:embed="rId7" cstate="print">
                <a:duotone>
                  <a:srgbClr val="ED7D31">
                    <a:shade val="45000"/>
                    <a:satMod val="135000"/>
                  </a:srgbClr>
                  <a:prstClr val="white"/>
                </a:duotone>
                <a:extLst>
                  <a:ext uri="{28A0092B-C50C-407E-A947-70E740481C1C}">
                    <a14:useLocalDpi xmlns:a14="http://schemas.microsoft.com/office/drawing/2010/main" val="0"/>
                  </a:ext>
                </a:extLst>
              </a:blip>
              <a:stretch>
                <a:fillRect/>
              </a:stretch>
            </p:blipFill>
            <p:spPr>
              <a:xfrm>
                <a:off x="8922981" y="3865173"/>
                <a:ext cx="311366" cy="289285"/>
              </a:xfrm>
              <a:prstGeom prst="rect">
                <a:avLst/>
              </a:prstGeom>
            </p:spPr>
          </p:pic>
        </p:grpSp>
        <p:sp>
          <p:nvSpPr>
            <p:cNvPr id="60" name="TextBox 59">
              <a:extLst>
                <a:ext uri="{FF2B5EF4-FFF2-40B4-BE49-F238E27FC236}">
                  <a16:creationId xmlns:a16="http://schemas.microsoft.com/office/drawing/2014/main" id="{06DF7881-26C5-4BAD-8677-09C8A93BB926}"/>
                </a:ext>
              </a:extLst>
            </p:cNvPr>
            <p:cNvSpPr txBox="1"/>
            <p:nvPr/>
          </p:nvSpPr>
          <p:spPr>
            <a:xfrm>
              <a:off x="12580123" y="4322802"/>
              <a:ext cx="1546962" cy="572465"/>
            </a:xfrm>
            <a:prstGeom prst="rect">
              <a:avLst/>
            </a:prstGeom>
            <a:noFill/>
          </p:spPr>
          <p:txBody>
            <a:bodyPr wrap="none" rtlCol="0">
              <a:spAutoFit/>
            </a:bodyPr>
            <a:lstStyle/>
            <a:p>
              <a:pPr algn="ctr" defTabSz="914363">
                <a:defRPr/>
              </a:pPr>
              <a:r>
                <a:rPr lang="en-US" sz="1250" b="1" kern="0" dirty="0">
                  <a:solidFill>
                    <a:srgbClr val="E7E6E6">
                      <a:lumMod val="50000"/>
                    </a:srgbClr>
                  </a:solidFill>
                  <a:latin typeface="Arial"/>
                </a:rPr>
                <a:t>STA</a:t>
              </a:r>
              <a:r>
                <a:rPr lang="en-US" sz="1250" b="1" kern="0" baseline="30000" dirty="0">
                  <a:solidFill>
                    <a:srgbClr val="E7E6E6">
                      <a:lumMod val="50000"/>
                    </a:srgbClr>
                  </a:solidFill>
                  <a:latin typeface="Arial"/>
                </a:rPr>
                <a:t>A</a:t>
              </a:r>
              <a:r>
                <a:rPr lang="en-US" sz="1250" b="1" kern="0" dirty="0">
                  <a:solidFill>
                    <a:srgbClr val="E7E6E6">
                      <a:lumMod val="50000"/>
                    </a:srgbClr>
                  </a:solidFill>
                  <a:latin typeface="Arial"/>
                </a:rPr>
                <a:t>M</a:t>
              </a:r>
              <a:r>
                <a:rPr lang="en-US" sz="1250" b="1" kern="0" baseline="30000" dirty="0">
                  <a:solidFill>
                    <a:srgbClr val="E7E6E6">
                      <a:lumMod val="50000"/>
                    </a:srgbClr>
                  </a:solidFill>
                  <a:latin typeface="Arial"/>
                </a:rPr>
                <a:t>A</a:t>
              </a:r>
              <a:r>
                <a:rPr lang="en-US" sz="1250" b="1" kern="0" dirty="0">
                  <a:solidFill>
                    <a:srgbClr val="E7E6E6">
                      <a:lumMod val="50000"/>
                    </a:srgbClr>
                  </a:solidFill>
                  <a:latin typeface="Arial"/>
                </a:rPr>
                <a:t>P </a:t>
              </a:r>
            </a:p>
            <a:p>
              <a:pPr algn="ctr" defTabSz="914363">
                <a:defRPr/>
              </a:pPr>
              <a:r>
                <a:rPr lang="en-US" sz="1250" b="1" kern="0" dirty="0">
                  <a:solidFill>
                    <a:srgbClr val="E7E6E6">
                      <a:lumMod val="50000"/>
                    </a:srgbClr>
                  </a:solidFill>
                  <a:latin typeface="Arial"/>
                </a:rPr>
                <a:t>And iAutoHeal</a:t>
              </a:r>
            </a:p>
          </p:txBody>
        </p:sp>
        <p:pic>
          <p:nvPicPr>
            <p:cNvPr id="61" name="Picture 60">
              <a:extLst>
                <a:ext uri="{FF2B5EF4-FFF2-40B4-BE49-F238E27FC236}">
                  <a16:creationId xmlns:a16="http://schemas.microsoft.com/office/drawing/2014/main" id="{261BCA52-88A0-4E66-9E3A-69B41BE45DED}"/>
                </a:ext>
              </a:extLst>
            </p:cNvPr>
            <p:cNvPicPr>
              <a:picLocks noChangeAspect="1"/>
            </p:cNvPicPr>
            <p:nvPr/>
          </p:nvPicPr>
          <p:blipFill>
            <a:blip r:embed="rId8">
              <a:duotone>
                <a:srgbClr val="70AD47">
                  <a:shade val="45000"/>
                  <a:satMod val="135000"/>
                </a:srgbClr>
                <a:prstClr val="white"/>
              </a:duotone>
              <a:extLst>
                <a:ext uri="{BEBA8EAE-BF5A-486C-A8C5-ECC9F3942E4B}">
                  <a14:imgProps xmlns:a14="http://schemas.microsoft.com/office/drawing/2010/main">
                    <a14:imgLayer r:embed="rId9">
                      <a14:imgEffect>
                        <a14:artisticPhotocopy/>
                      </a14:imgEffect>
                    </a14:imgLayer>
                  </a14:imgProps>
                </a:ext>
              </a:extLst>
            </a:blip>
            <a:stretch>
              <a:fillRect/>
            </a:stretch>
          </p:blipFill>
          <p:spPr>
            <a:xfrm>
              <a:off x="12967939" y="3413301"/>
              <a:ext cx="643559" cy="816927"/>
            </a:xfrm>
            <a:prstGeom prst="rect">
              <a:avLst/>
            </a:prstGeom>
          </p:spPr>
        </p:pic>
        <p:sp>
          <p:nvSpPr>
            <p:cNvPr id="62" name="TextBox 61">
              <a:extLst>
                <a:ext uri="{FF2B5EF4-FFF2-40B4-BE49-F238E27FC236}">
                  <a16:creationId xmlns:a16="http://schemas.microsoft.com/office/drawing/2014/main" id="{D1833162-B781-487E-BBFB-CB7DF35B0281}"/>
                </a:ext>
              </a:extLst>
            </p:cNvPr>
            <p:cNvSpPr txBox="1"/>
            <p:nvPr/>
          </p:nvSpPr>
          <p:spPr>
            <a:xfrm>
              <a:off x="10148251" y="4436678"/>
              <a:ext cx="2020169" cy="341632"/>
            </a:xfrm>
            <a:prstGeom prst="rect">
              <a:avLst/>
            </a:prstGeom>
            <a:noFill/>
          </p:spPr>
          <p:txBody>
            <a:bodyPr wrap="none" rtlCol="0">
              <a:spAutoFit/>
            </a:bodyPr>
            <a:lstStyle/>
            <a:p>
              <a:pPr algn="ctr" defTabSz="914363">
                <a:defRPr/>
              </a:pPr>
              <a:r>
                <a:rPr lang="en-US" sz="1250" b="1" kern="0" dirty="0">
                  <a:solidFill>
                    <a:srgbClr val="E7E6E6">
                      <a:lumMod val="50000"/>
                    </a:srgbClr>
                  </a:solidFill>
                  <a:latin typeface="Arial"/>
                </a:rPr>
                <a:t>Exception Handling</a:t>
              </a:r>
            </a:p>
          </p:txBody>
        </p:sp>
        <p:pic>
          <p:nvPicPr>
            <p:cNvPr id="63" name="Picture 62">
              <a:extLst>
                <a:ext uri="{FF2B5EF4-FFF2-40B4-BE49-F238E27FC236}">
                  <a16:creationId xmlns:a16="http://schemas.microsoft.com/office/drawing/2014/main" id="{BBD1EB24-427A-49C9-ADE5-7E5681EC3540}"/>
                </a:ext>
              </a:extLst>
            </p:cNvPr>
            <p:cNvPicPr>
              <a:picLocks noChangeAspect="1"/>
            </p:cNvPicPr>
            <p:nvPr/>
          </p:nvPicPr>
          <p:blipFill>
            <a:blip r:embed="rId10">
              <a:duotone>
                <a:schemeClr val="accent1">
                  <a:shade val="45000"/>
                  <a:satMod val="135000"/>
                </a:schemeClr>
                <a:prstClr val="white"/>
              </a:duotone>
            </a:blip>
            <a:stretch>
              <a:fillRect/>
            </a:stretch>
          </p:blipFill>
          <p:spPr>
            <a:xfrm>
              <a:off x="10647099" y="3616324"/>
              <a:ext cx="896702" cy="731520"/>
            </a:xfrm>
            <a:prstGeom prst="rect">
              <a:avLst/>
            </a:prstGeom>
          </p:spPr>
        </p:pic>
      </p:grpSp>
      <p:grpSp>
        <p:nvGrpSpPr>
          <p:cNvPr id="106" name="Group 105">
            <a:extLst>
              <a:ext uri="{FF2B5EF4-FFF2-40B4-BE49-F238E27FC236}">
                <a16:creationId xmlns:a16="http://schemas.microsoft.com/office/drawing/2014/main" id="{EB3D6F2D-2F6E-438F-A93E-23E44CA2FA4C}"/>
              </a:ext>
            </a:extLst>
          </p:cNvPr>
          <p:cNvGrpSpPr/>
          <p:nvPr/>
        </p:nvGrpSpPr>
        <p:grpSpPr>
          <a:xfrm>
            <a:off x="4748926" y="4798134"/>
            <a:ext cx="7249836" cy="1184866"/>
            <a:chOff x="5649555" y="5595392"/>
            <a:chExt cx="8699803" cy="1421839"/>
          </a:xfrm>
        </p:grpSpPr>
        <p:pic>
          <p:nvPicPr>
            <p:cNvPr id="70" name="Picture 69">
              <a:extLst>
                <a:ext uri="{FF2B5EF4-FFF2-40B4-BE49-F238E27FC236}">
                  <a16:creationId xmlns:a16="http://schemas.microsoft.com/office/drawing/2014/main" id="{03A16229-0F30-4F2D-85E0-54BD46AFD6B1}"/>
                </a:ext>
              </a:extLst>
            </p:cNvPr>
            <p:cNvPicPr>
              <a:picLocks noChangeAspect="1"/>
            </p:cNvPicPr>
            <p:nvPr/>
          </p:nvPicPr>
          <p:blipFill>
            <a:blip r:embed="rId11">
              <a:duotone>
                <a:srgbClr val="4472C4">
                  <a:shade val="45000"/>
                  <a:satMod val="135000"/>
                </a:srgbClr>
                <a:prstClr val="white"/>
              </a:duotone>
              <a:extLst>
                <a:ext uri="{BEBA8EAE-BF5A-486C-A8C5-ECC9F3942E4B}">
                  <a14:imgProps xmlns:a14="http://schemas.microsoft.com/office/drawing/2010/main">
                    <a14:imgLayer r:embed="rId12">
                      <a14:imgEffect>
                        <a14:artisticPhotocopy/>
                      </a14:imgEffect>
                    </a14:imgLayer>
                  </a14:imgProps>
                </a:ext>
              </a:extLst>
            </a:blip>
            <a:stretch>
              <a:fillRect/>
            </a:stretch>
          </p:blipFill>
          <p:spPr>
            <a:xfrm>
              <a:off x="6422580" y="5595392"/>
              <a:ext cx="820123" cy="734933"/>
            </a:xfrm>
            <a:prstGeom prst="rect">
              <a:avLst/>
            </a:prstGeom>
          </p:spPr>
        </p:pic>
        <p:sp>
          <p:nvSpPr>
            <p:cNvPr id="71" name="TextBox 70">
              <a:extLst>
                <a:ext uri="{FF2B5EF4-FFF2-40B4-BE49-F238E27FC236}">
                  <a16:creationId xmlns:a16="http://schemas.microsoft.com/office/drawing/2014/main" id="{48AB76EC-B25C-44F8-B984-3A7EFEB5CE6A}"/>
                </a:ext>
              </a:extLst>
            </p:cNvPr>
            <p:cNvSpPr txBox="1"/>
            <p:nvPr/>
          </p:nvSpPr>
          <p:spPr>
            <a:xfrm>
              <a:off x="5649555" y="6415227"/>
              <a:ext cx="2326021" cy="341631"/>
            </a:xfrm>
            <a:prstGeom prst="rect">
              <a:avLst/>
            </a:prstGeom>
            <a:noFill/>
          </p:spPr>
          <p:txBody>
            <a:bodyPr wrap="none" rtlCol="0">
              <a:spAutoFit/>
            </a:bodyPr>
            <a:lstStyle/>
            <a:p>
              <a:pPr algn="ctr" defTabSz="914363">
                <a:defRPr/>
              </a:pPr>
              <a:r>
                <a:rPr lang="en-US" sz="1250" b="1" kern="0" dirty="0">
                  <a:solidFill>
                    <a:srgbClr val="E7E6E6">
                      <a:lumMod val="50000"/>
                    </a:srgbClr>
                  </a:solidFill>
                  <a:latin typeface="Arial"/>
                </a:rPr>
                <a:t>Perspective Analytics  </a:t>
              </a:r>
            </a:p>
          </p:txBody>
        </p:sp>
        <p:sp>
          <p:nvSpPr>
            <p:cNvPr id="74" name="TextBox 73">
              <a:extLst>
                <a:ext uri="{FF2B5EF4-FFF2-40B4-BE49-F238E27FC236}">
                  <a16:creationId xmlns:a16="http://schemas.microsoft.com/office/drawing/2014/main" id="{A390663D-294B-4682-863F-1FE25CF0CE5E}"/>
                </a:ext>
              </a:extLst>
            </p:cNvPr>
            <p:cNvSpPr txBox="1"/>
            <p:nvPr/>
          </p:nvSpPr>
          <p:spPr>
            <a:xfrm>
              <a:off x="11457796" y="6174679"/>
              <a:ext cx="2891562" cy="803296"/>
            </a:xfrm>
            <a:prstGeom prst="rect">
              <a:avLst/>
            </a:prstGeom>
            <a:noFill/>
          </p:spPr>
          <p:txBody>
            <a:bodyPr wrap="none" rtlCol="0">
              <a:spAutoFit/>
            </a:bodyPr>
            <a:lstStyle/>
            <a:p>
              <a:pPr algn="ctr" defTabSz="914363">
                <a:defRPr/>
              </a:pPr>
              <a:r>
                <a:rPr lang="en-US" sz="1250" b="1" kern="0" dirty="0">
                  <a:solidFill>
                    <a:srgbClr val="E7E6E6">
                      <a:lumMod val="50000"/>
                    </a:srgbClr>
                  </a:solidFill>
                  <a:latin typeface="Arial"/>
                </a:rPr>
                <a:t>Discover Application </a:t>
              </a:r>
            </a:p>
            <a:p>
              <a:pPr algn="ctr" defTabSz="914363">
                <a:defRPr/>
              </a:pPr>
              <a:r>
                <a:rPr lang="en-US" sz="1250" b="1" kern="0" dirty="0">
                  <a:solidFill>
                    <a:srgbClr val="E7E6E6">
                      <a:lumMod val="50000"/>
                    </a:srgbClr>
                  </a:solidFill>
                  <a:latin typeface="Arial"/>
                </a:rPr>
                <a:t>Stability </a:t>
              </a:r>
            </a:p>
            <a:p>
              <a:pPr algn="ctr" defTabSz="914363">
                <a:defRPr/>
              </a:pPr>
              <a:r>
                <a:rPr lang="en-US" sz="1250" b="1" kern="0" dirty="0">
                  <a:solidFill>
                    <a:srgbClr val="E7E6E6">
                      <a:lumMod val="50000"/>
                    </a:srgbClr>
                  </a:solidFill>
                  <a:latin typeface="Arial"/>
                </a:rPr>
                <a:t>based on Execution Analysis</a:t>
              </a:r>
            </a:p>
          </p:txBody>
        </p:sp>
        <p:sp>
          <p:nvSpPr>
            <p:cNvPr id="77" name="TextBox 76">
              <a:extLst>
                <a:ext uri="{FF2B5EF4-FFF2-40B4-BE49-F238E27FC236}">
                  <a16:creationId xmlns:a16="http://schemas.microsoft.com/office/drawing/2014/main" id="{2141FE4C-CC2A-43DD-B7D9-035577FC3E56}"/>
                </a:ext>
              </a:extLst>
            </p:cNvPr>
            <p:cNvSpPr txBox="1"/>
            <p:nvPr/>
          </p:nvSpPr>
          <p:spPr>
            <a:xfrm>
              <a:off x="8146525" y="6213935"/>
              <a:ext cx="3078151" cy="803296"/>
            </a:xfrm>
            <a:prstGeom prst="rect">
              <a:avLst/>
            </a:prstGeom>
            <a:noFill/>
          </p:spPr>
          <p:txBody>
            <a:bodyPr wrap="none" rtlCol="0">
              <a:spAutoFit/>
            </a:bodyPr>
            <a:lstStyle/>
            <a:p>
              <a:pPr algn="ctr" defTabSz="914363">
                <a:defRPr/>
              </a:pPr>
              <a:r>
                <a:rPr lang="en-US" sz="1250" b="1" kern="0" dirty="0">
                  <a:solidFill>
                    <a:srgbClr val="E7E6E6">
                      <a:lumMod val="50000"/>
                    </a:srgbClr>
                  </a:solidFill>
                  <a:latin typeface="Arial"/>
                </a:rPr>
                <a:t>Auto Blocking and Unblocking </a:t>
              </a:r>
            </a:p>
            <a:p>
              <a:pPr algn="ctr" defTabSz="914363">
                <a:defRPr/>
              </a:pPr>
              <a:r>
                <a:rPr lang="en-US" sz="1250" b="1" kern="0" dirty="0">
                  <a:solidFill>
                    <a:srgbClr val="E7E6E6">
                      <a:lumMod val="50000"/>
                    </a:srgbClr>
                  </a:solidFill>
                  <a:latin typeface="Arial"/>
                </a:rPr>
                <a:t>Test Case based </a:t>
              </a:r>
            </a:p>
            <a:p>
              <a:pPr algn="ctr" defTabSz="914363">
                <a:defRPr/>
              </a:pPr>
              <a:r>
                <a:rPr lang="en-US" sz="1250" b="1" kern="0" dirty="0">
                  <a:solidFill>
                    <a:srgbClr val="E7E6E6">
                      <a:lumMod val="50000"/>
                    </a:srgbClr>
                  </a:solidFill>
                  <a:latin typeface="Arial"/>
                </a:rPr>
                <a:t>on Defect Report Analysis</a:t>
              </a:r>
            </a:p>
          </p:txBody>
        </p:sp>
      </p:grpSp>
      <p:sp>
        <p:nvSpPr>
          <p:cNvPr id="107" name="Arrow: Right 106">
            <a:extLst>
              <a:ext uri="{FF2B5EF4-FFF2-40B4-BE49-F238E27FC236}">
                <a16:creationId xmlns:a16="http://schemas.microsoft.com/office/drawing/2014/main" id="{91ECDED4-1EEF-4632-ACCF-79E1BD1362EF}"/>
              </a:ext>
            </a:extLst>
          </p:cNvPr>
          <p:cNvSpPr/>
          <p:nvPr/>
        </p:nvSpPr>
        <p:spPr>
          <a:xfrm>
            <a:off x="3540392" y="1660833"/>
            <a:ext cx="815340" cy="403860"/>
          </a:xfrm>
          <a:prstGeom prst="rightArrow">
            <a:avLst/>
          </a:prstGeom>
          <a:solidFill>
            <a:schemeClr val="accent6">
              <a:lumMod val="60000"/>
              <a:lumOff val="40000"/>
            </a:schemeClr>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sz="1500"/>
          </a:p>
        </p:txBody>
      </p:sp>
      <p:sp>
        <p:nvSpPr>
          <p:cNvPr id="80" name="Arrow: Right 79">
            <a:extLst>
              <a:ext uri="{FF2B5EF4-FFF2-40B4-BE49-F238E27FC236}">
                <a16:creationId xmlns:a16="http://schemas.microsoft.com/office/drawing/2014/main" id="{C0395BF9-5AB8-445D-BC95-C7A430F5D3D9}"/>
              </a:ext>
            </a:extLst>
          </p:cNvPr>
          <p:cNvSpPr/>
          <p:nvPr/>
        </p:nvSpPr>
        <p:spPr>
          <a:xfrm>
            <a:off x="3551402" y="3259319"/>
            <a:ext cx="815340" cy="403860"/>
          </a:xfrm>
          <a:prstGeom prst="rightArrow">
            <a:avLst/>
          </a:prstGeom>
          <a:solidFill>
            <a:schemeClr val="accent4">
              <a:lumMod val="40000"/>
              <a:lumOff val="60000"/>
            </a:schemeClr>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sz="1500"/>
          </a:p>
        </p:txBody>
      </p:sp>
      <p:sp>
        <p:nvSpPr>
          <p:cNvPr id="81" name="Arrow: Right 80">
            <a:extLst>
              <a:ext uri="{FF2B5EF4-FFF2-40B4-BE49-F238E27FC236}">
                <a16:creationId xmlns:a16="http://schemas.microsoft.com/office/drawing/2014/main" id="{94520DBB-4D4E-4E3E-BC8C-8E597CB85113}"/>
              </a:ext>
            </a:extLst>
          </p:cNvPr>
          <p:cNvSpPr/>
          <p:nvPr/>
        </p:nvSpPr>
        <p:spPr>
          <a:xfrm>
            <a:off x="3540392" y="4842787"/>
            <a:ext cx="815340" cy="403860"/>
          </a:xfrm>
          <a:prstGeom prst="rightArrow">
            <a:avLst/>
          </a:prstGeom>
          <a:solidFill>
            <a:schemeClr val="accent5">
              <a:lumMod val="40000"/>
              <a:lumOff val="60000"/>
            </a:schemeClr>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sz="1500"/>
          </a:p>
        </p:txBody>
      </p:sp>
      <p:grpSp>
        <p:nvGrpSpPr>
          <p:cNvPr id="82" name="Group 81">
            <a:extLst>
              <a:ext uri="{FF2B5EF4-FFF2-40B4-BE49-F238E27FC236}">
                <a16:creationId xmlns:a16="http://schemas.microsoft.com/office/drawing/2014/main" id="{FDE2707E-868F-4616-AD0D-E8947B33B820}"/>
              </a:ext>
            </a:extLst>
          </p:cNvPr>
          <p:cNvGrpSpPr/>
          <p:nvPr/>
        </p:nvGrpSpPr>
        <p:grpSpPr>
          <a:xfrm>
            <a:off x="7132541" y="1397754"/>
            <a:ext cx="865780" cy="637605"/>
            <a:chOff x="918653" y="754221"/>
            <a:chExt cx="1038936" cy="765126"/>
          </a:xfrm>
        </p:grpSpPr>
        <p:pic>
          <p:nvPicPr>
            <p:cNvPr id="83" name="Picture 82">
              <a:extLst>
                <a:ext uri="{FF2B5EF4-FFF2-40B4-BE49-F238E27FC236}">
                  <a16:creationId xmlns:a16="http://schemas.microsoft.com/office/drawing/2014/main" id="{4BB091FD-FB9A-4032-AD19-DFA2007BEFED}"/>
                </a:ext>
              </a:extLst>
            </p:cNvPr>
            <p:cNvPicPr>
              <a:picLocks noChangeAspect="1"/>
            </p:cNvPicPr>
            <p:nvPr/>
          </p:nvPicPr>
          <p:blipFill>
            <a:blip r:embed="rId7">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100253" y="794155"/>
              <a:ext cx="394317" cy="394317"/>
            </a:xfrm>
            <a:prstGeom prst="rect">
              <a:avLst/>
            </a:prstGeom>
          </p:spPr>
        </p:pic>
        <p:pic>
          <p:nvPicPr>
            <p:cNvPr id="84" name="Picture 83">
              <a:extLst>
                <a:ext uri="{FF2B5EF4-FFF2-40B4-BE49-F238E27FC236}">
                  <a16:creationId xmlns:a16="http://schemas.microsoft.com/office/drawing/2014/main" id="{04CF168D-436D-4617-9D3D-F7D0218F2DC8}"/>
                </a:ext>
              </a:extLst>
            </p:cNvPr>
            <p:cNvPicPr>
              <a:picLocks noChangeAspect="1"/>
            </p:cNvPicPr>
            <p:nvPr/>
          </p:nvPicPr>
          <p:blipFill>
            <a:blip r:embed="rId13"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918653" y="754221"/>
              <a:ext cx="765124" cy="765126"/>
            </a:xfrm>
            <a:prstGeom prst="rect">
              <a:avLst/>
            </a:prstGeom>
          </p:spPr>
        </p:pic>
        <p:sp>
          <p:nvSpPr>
            <p:cNvPr id="85" name="Oval 84">
              <a:extLst>
                <a:ext uri="{FF2B5EF4-FFF2-40B4-BE49-F238E27FC236}">
                  <a16:creationId xmlns:a16="http://schemas.microsoft.com/office/drawing/2014/main" id="{ABDBDBAC-4AB5-489D-BF2F-895CE133D1A5}"/>
                </a:ext>
              </a:extLst>
            </p:cNvPr>
            <p:cNvSpPr/>
            <p:nvPr/>
          </p:nvSpPr>
          <p:spPr>
            <a:xfrm>
              <a:off x="1469378" y="814823"/>
              <a:ext cx="373649" cy="37364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pic>
          <p:nvPicPr>
            <p:cNvPr id="86" name="Picture 85">
              <a:extLst>
                <a:ext uri="{FF2B5EF4-FFF2-40B4-BE49-F238E27FC236}">
                  <a16:creationId xmlns:a16="http://schemas.microsoft.com/office/drawing/2014/main" id="{3CAF1D2A-45AF-472A-BCC9-0A528D2442C1}"/>
                </a:ext>
              </a:extLst>
            </p:cNvPr>
            <p:cNvPicPr>
              <a:picLocks noChangeAspect="1"/>
            </p:cNvPicPr>
            <p:nvPr/>
          </p:nvPicPr>
          <p:blipFill>
            <a:blip r:embed="rId14">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469378" y="814823"/>
              <a:ext cx="488211" cy="488211"/>
            </a:xfrm>
            <a:prstGeom prst="rect">
              <a:avLst/>
            </a:prstGeom>
          </p:spPr>
        </p:pic>
      </p:grpSp>
      <p:pic>
        <p:nvPicPr>
          <p:cNvPr id="2" name="Picture 1"/>
          <p:cNvPicPr>
            <a:picLocks noChangeAspect="1"/>
          </p:cNvPicPr>
          <p:nvPr/>
        </p:nvPicPr>
        <p:blipFill>
          <a:blip r:embed="rId15">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1673854" y="1660833"/>
            <a:ext cx="568839" cy="568839"/>
          </a:xfrm>
          <a:prstGeom prst="rect">
            <a:avLst/>
          </a:prstGeom>
        </p:spPr>
      </p:pic>
      <p:pic>
        <p:nvPicPr>
          <p:cNvPr id="65" name="Picture 64"/>
          <p:cNvPicPr>
            <a:picLocks noChangeAspect="1"/>
          </p:cNvPicPr>
          <p:nvPr/>
        </p:nvPicPr>
        <p:blipFill>
          <a:blip r:embed="rId16">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7778789" y="4636030"/>
            <a:ext cx="599292" cy="599292"/>
          </a:xfrm>
          <a:prstGeom prst="rect">
            <a:avLst/>
          </a:prstGeom>
        </p:spPr>
      </p:pic>
      <p:pic>
        <p:nvPicPr>
          <p:cNvPr id="66" name="Picture 65"/>
          <p:cNvPicPr>
            <a:picLocks noChangeAspect="1"/>
          </p:cNvPicPr>
          <p:nvPr/>
        </p:nvPicPr>
        <p:blipFill>
          <a:blip r:embed="rId17">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10403929" y="4547255"/>
            <a:ext cx="677248" cy="677248"/>
          </a:xfrm>
          <a:prstGeom prst="rect">
            <a:avLst/>
          </a:prstGeom>
        </p:spPr>
      </p:pic>
      <p:pic>
        <p:nvPicPr>
          <p:cNvPr id="4" name="Picture 3"/>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698748" y="4842787"/>
            <a:ext cx="543945" cy="543945"/>
          </a:xfrm>
          <a:prstGeom prst="rect">
            <a:avLst/>
          </a:prstGeom>
        </p:spPr>
      </p:pic>
      <p:pic>
        <p:nvPicPr>
          <p:cNvPr id="6" name="Picture 5"/>
          <p:cNvPicPr>
            <a:picLocks noChangeAspect="1"/>
          </p:cNvPicPr>
          <p:nvPr/>
        </p:nvPicPr>
        <p:blipFill>
          <a:blip r:embed="rId19">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8983734" y="1209884"/>
            <a:ext cx="783048" cy="783048"/>
          </a:xfrm>
          <a:prstGeom prst="rect">
            <a:avLst/>
          </a:prstGeom>
        </p:spPr>
      </p:pic>
      <p:sp>
        <p:nvSpPr>
          <p:cNvPr id="7" name="Rounded Rectangle 6"/>
          <p:cNvSpPr/>
          <p:nvPr/>
        </p:nvSpPr>
        <p:spPr>
          <a:xfrm>
            <a:off x="4716201" y="1188274"/>
            <a:ext cx="1691436" cy="1415598"/>
          </a:xfrm>
          <a:prstGeom prst="roundRect">
            <a:avLst>
              <a:gd name="adj" fmla="val 7859"/>
            </a:avLst>
          </a:prstGeom>
          <a:noFill/>
          <a:ln w="28575">
            <a:solidFill>
              <a:schemeClr val="bg1">
                <a:lumMod val="95000"/>
              </a:schemeClr>
            </a:solid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sz="1500"/>
          </a:p>
        </p:txBody>
      </p:sp>
      <p:sp>
        <p:nvSpPr>
          <p:cNvPr id="67" name="Rounded Rectangle 66"/>
          <p:cNvSpPr/>
          <p:nvPr/>
        </p:nvSpPr>
        <p:spPr>
          <a:xfrm>
            <a:off x="6517148" y="1171498"/>
            <a:ext cx="1872905" cy="1415598"/>
          </a:xfrm>
          <a:prstGeom prst="roundRect">
            <a:avLst>
              <a:gd name="adj" fmla="val 7859"/>
            </a:avLst>
          </a:prstGeom>
          <a:noFill/>
          <a:ln w="28575">
            <a:solidFill>
              <a:schemeClr val="bg1">
                <a:lumMod val="95000"/>
              </a:schemeClr>
            </a:solid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sz="1500"/>
          </a:p>
        </p:txBody>
      </p:sp>
      <p:sp>
        <p:nvSpPr>
          <p:cNvPr id="68" name="Rounded Rectangle 67"/>
          <p:cNvSpPr/>
          <p:nvPr/>
        </p:nvSpPr>
        <p:spPr>
          <a:xfrm>
            <a:off x="8499564" y="1171498"/>
            <a:ext cx="1724598" cy="1415598"/>
          </a:xfrm>
          <a:prstGeom prst="roundRect">
            <a:avLst>
              <a:gd name="adj" fmla="val 7859"/>
            </a:avLst>
          </a:prstGeom>
          <a:noFill/>
          <a:ln w="28575">
            <a:solidFill>
              <a:schemeClr val="bg1">
                <a:lumMod val="95000"/>
              </a:schemeClr>
            </a:solid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sz="1500"/>
          </a:p>
        </p:txBody>
      </p:sp>
      <p:sp>
        <p:nvSpPr>
          <p:cNvPr id="69" name="Rounded Rectangle 68"/>
          <p:cNvSpPr/>
          <p:nvPr/>
        </p:nvSpPr>
        <p:spPr>
          <a:xfrm>
            <a:off x="10367069" y="1175514"/>
            <a:ext cx="1508276" cy="1415598"/>
          </a:xfrm>
          <a:prstGeom prst="roundRect">
            <a:avLst>
              <a:gd name="adj" fmla="val 7859"/>
            </a:avLst>
          </a:prstGeom>
          <a:noFill/>
          <a:ln w="28575">
            <a:solidFill>
              <a:schemeClr val="bg1">
                <a:lumMod val="95000"/>
              </a:schemeClr>
            </a:solid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sz="1500"/>
          </a:p>
        </p:txBody>
      </p:sp>
      <p:pic>
        <p:nvPicPr>
          <p:cNvPr id="8" name="Picture 7"/>
          <p:cNvPicPr>
            <a:picLocks noChangeAspect="1"/>
          </p:cNvPicPr>
          <p:nvPr/>
        </p:nvPicPr>
        <p:blipFill>
          <a:blip r:embed="rId20"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10672984" y="1299831"/>
            <a:ext cx="889031" cy="889031"/>
          </a:xfrm>
          <a:prstGeom prst="rect">
            <a:avLst/>
          </a:prstGeom>
        </p:spPr>
      </p:pic>
      <p:grpSp>
        <p:nvGrpSpPr>
          <p:cNvPr id="9" name="Group 8"/>
          <p:cNvGrpSpPr/>
          <p:nvPr/>
        </p:nvGrpSpPr>
        <p:grpSpPr>
          <a:xfrm>
            <a:off x="10772930" y="1244811"/>
            <a:ext cx="689136" cy="689136"/>
            <a:chOff x="12719987" y="1431779"/>
            <a:chExt cx="826963" cy="826963"/>
          </a:xfrm>
        </p:grpSpPr>
        <p:pic>
          <p:nvPicPr>
            <p:cNvPr id="58" name="Picture 57">
              <a:extLst>
                <a:ext uri="{FF2B5EF4-FFF2-40B4-BE49-F238E27FC236}">
                  <a16:creationId xmlns:a16="http://schemas.microsoft.com/office/drawing/2014/main" id="{358A969C-8F00-419C-ACE5-BA74088306CB}"/>
                </a:ext>
              </a:extLst>
            </p:cNvPr>
            <p:cNvPicPr>
              <a:picLocks noChangeAspect="1"/>
            </p:cNvPicPr>
            <p:nvPr/>
          </p:nvPicPr>
          <p:blipFill>
            <a:blip r:embed="rId21" cstate="print">
              <a:duotone>
                <a:srgbClr val="5B9BD5">
                  <a:shade val="45000"/>
                  <a:satMod val="135000"/>
                </a:srgbClr>
                <a:prstClr val="white"/>
              </a:duotone>
              <a:extLst>
                <a:ext uri="{28A0092B-C50C-407E-A947-70E740481C1C}">
                  <a14:useLocalDpi xmlns:a14="http://schemas.microsoft.com/office/drawing/2010/main" val="0"/>
                </a:ext>
              </a:extLst>
            </a:blip>
            <a:stretch>
              <a:fillRect/>
            </a:stretch>
          </p:blipFill>
          <p:spPr>
            <a:xfrm>
              <a:off x="12931352" y="1737855"/>
              <a:ext cx="377158" cy="365760"/>
            </a:xfrm>
            <a:prstGeom prst="rect">
              <a:avLst/>
            </a:prstGeom>
          </p:spPr>
        </p:pic>
        <p:pic>
          <p:nvPicPr>
            <p:cNvPr id="5" name="Picture 4"/>
            <p:cNvPicPr>
              <a:picLocks noChangeAspect="1"/>
            </p:cNvPicPr>
            <p:nvPr/>
          </p:nvPicPr>
          <p:blipFill>
            <a:blip r:embed="rId22"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12719987" y="1431779"/>
              <a:ext cx="826963" cy="826963"/>
            </a:xfrm>
            <a:prstGeom prst="rect">
              <a:avLst/>
            </a:prstGeom>
          </p:spPr>
        </p:pic>
      </p:grpSp>
      <p:sp>
        <p:nvSpPr>
          <p:cNvPr id="72" name="Rounded Rectangle 71"/>
          <p:cNvSpPr/>
          <p:nvPr/>
        </p:nvSpPr>
        <p:spPr>
          <a:xfrm>
            <a:off x="4704433" y="2880029"/>
            <a:ext cx="1691436" cy="1415598"/>
          </a:xfrm>
          <a:prstGeom prst="roundRect">
            <a:avLst>
              <a:gd name="adj" fmla="val 7859"/>
            </a:avLst>
          </a:prstGeom>
          <a:noFill/>
          <a:ln w="28575">
            <a:solidFill>
              <a:schemeClr val="bg1">
                <a:lumMod val="95000"/>
              </a:schemeClr>
            </a:solid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sz="1500"/>
          </a:p>
        </p:txBody>
      </p:sp>
      <p:sp>
        <p:nvSpPr>
          <p:cNvPr id="73" name="Rounded Rectangle 72"/>
          <p:cNvSpPr/>
          <p:nvPr/>
        </p:nvSpPr>
        <p:spPr>
          <a:xfrm>
            <a:off x="6562756" y="2865381"/>
            <a:ext cx="1691436" cy="1415598"/>
          </a:xfrm>
          <a:prstGeom prst="roundRect">
            <a:avLst>
              <a:gd name="adj" fmla="val 7859"/>
            </a:avLst>
          </a:prstGeom>
          <a:noFill/>
          <a:ln w="28575">
            <a:solidFill>
              <a:schemeClr val="bg1">
                <a:lumMod val="95000"/>
              </a:schemeClr>
            </a:solid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sz="1500"/>
          </a:p>
        </p:txBody>
      </p:sp>
      <p:sp>
        <p:nvSpPr>
          <p:cNvPr id="75" name="Rounded Rectangle 74"/>
          <p:cNvSpPr/>
          <p:nvPr/>
        </p:nvSpPr>
        <p:spPr>
          <a:xfrm>
            <a:off x="8431348" y="2834661"/>
            <a:ext cx="1691436" cy="1415598"/>
          </a:xfrm>
          <a:prstGeom prst="roundRect">
            <a:avLst>
              <a:gd name="adj" fmla="val 7859"/>
            </a:avLst>
          </a:prstGeom>
          <a:noFill/>
          <a:ln w="28575">
            <a:solidFill>
              <a:schemeClr val="bg1">
                <a:lumMod val="95000"/>
              </a:schemeClr>
            </a:solid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sz="1500"/>
          </a:p>
        </p:txBody>
      </p:sp>
      <p:sp>
        <p:nvSpPr>
          <p:cNvPr id="76" name="Rounded Rectangle 75"/>
          <p:cNvSpPr/>
          <p:nvPr/>
        </p:nvSpPr>
        <p:spPr>
          <a:xfrm>
            <a:off x="10260499" y="2836188"/>
            <a:ext cx="1691436" cy="1415598"/>
          </a:xfrm>
          <a:prstGeom prst="roundRect">
            <a:avLst>
              <a:gd name="adj" fmla="val 7859"/>
            </a:avLst>
          </a:prstGeom>
          <a:noFill/>
          <a:ln w="28575">
            <a:solidFill>
              <a:schemeClr val="bg1">
                <a:lumMod val="95000"/>
              </a:schemeClr>
            </a:solid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sz="1500"/>
          </a:p>
        </p:txBody>
      </p:sp>
      <p:sp>
        <p:nvSpPr>
          <p:cNvPr id="78" name="Rounded Rectangle 77"/>
          <p:cNvSpPr/>
          <p:nvPr/>
        </p:nvSpPr>
        <p:spPr>
          <a:xfrm>
            <a:off x="4730702" y="4586357"/>
            <a:ext cx="1922538" cy="1415598"/>
          </a:xfrm>
          <a:prstGeom prst="roundRect">
            <a:avLst>
              <a:gd name="adj" fmla="val 7859"/>
            </a:avLst>
          </a:prstGeom>
          <a:noFill/>
          <a:ln w="28575">
            <a:solidFill>
              <a:schemeClr val="bg1">
                <a:lumMod val="95000"/>
              </a:schemeClr>
            </a:solid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sz="1500"/>
          </a:p>
        </p:txBody>
      </p:sp>
      <p:sp>
        <p:nvSpPr>
          <p:cNvPr id="79" name="Rounded Rectangle 78"/>
          <p:cNvSpPr/>
          <p:nvPr/>
        </p:nvSpPr>
        <p:spPr>
          <a:xfrm>
            <a:off x="6849130" y="4586357"/>
            <a:ext cx="2526333" cy="1415598"/>
          </a:xfrm>
          <a:prstGeom prst="roundRect">
            <a:avLst>
              <a:gd name="adj" fmla="val 7859"/>
            </a:avLst>
          </a:prstGeom>
          <a:noFill/>
          <a:ln w="28575">
            <a:solidFill>
              <a:schemeClr val="bg1">
                <a:lumMod val="95000"/>
              </a:schemeClr>
            </a:solid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sz="1500"/>
          </a:p>
        </p:txBody>
      </p:sp>
      <p:sp>
        <p:nvSpPr>
          <p:cNvPr id="87" name="Rounded Rectangle 86"/>
          <p:cNvSpPr/>
          <p:nvPr/>
        </p:nvSpPr>
        <p:spPr>
          <a:xfrm>
            <a:off x="9530777" y="4573074"/>
            <a:ext cx="2526333" cy="1415598"/>
          </a:xfrm>
          <a:prstGeom prst="roundRect">
            <a:avLst>
              <a:gd name="adj" fmla="val 7859"/>
            </a:avLst>
          </a:prstGeom>
          <a:noFill/>
          <a:ln w="28575">
            <a:solidFill>
              <a:schemeClr val="bg1">
                <a:lumMod val="95000"/>
              </a:schemeClr>
            </a:solid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sz="1500"/>
          </a:p>
        </p:txBody>
      </p:sp>
    </p:spTree>
    <p:extLst>
      <p:ext uri="{BB962C8B-B14F-4D97-AF65-F5344CB8AC3E}">
        <p14:creationId xmlns:p14="http://schemas.microsoft.com/office/powerpoint/2010/main" val="4088095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F691C40-340A-44BC-A6B3-C3A20A9ED913}"/>
              </a:ext>
            </a:extLst>
          </p:cNvPr>
          <p:cNvSpPr txBox="1"/>
          <p:nvPr/>
        </p:nvSpPr>
        <p:spPr>
          <a:xfrm>
            <a:off x="4018546" y="2649825"/>
            <a:ext cx="4331369" cy="995209"/>
          </a:xfrm>
          <a:prstGeom prst="rect">
            <a:avLst/>
          </a:prstGeom>
          <a:noFill/>
        </p:spPr>
        <p:txBody>
          <a:bodyPr wrap="square" rtlCol="0" anchor="ctr">
            <a:spAutoFit/>
          </a:bodyPr>
          <a:lstStyle/>
          <a:p>
            <a:pPr algn="ctr"/>
            <a:r>
              <a:rPr lang="en-US" altLang="ko-KR" sz="5867" dirty="0">
                <a:solidFill>
                  <a:schemeClr val="accent1">
                    <a:lumMod val="75000"/>
                  </a:schemeClr>
                </a:solidFill>
                <a:cs typeface="Arial" pitchFamily="34" charset="0"/>
              </a:rPr>
              <a:t>Thank You</a:t>
            </a:r>
            <a:endParaRPr lang="ko-KR" altLang="en-US" sz="5867" dirty="0">
              <a:solidFill>
                <a:schemeClr val="accent1">
                  <a:lumMod val="75000"/>
                </a:schemeClr>
              </a:solidFill>
              <a:cs typeface="Arial" pitchFamily="34" charset="0"/>
            </a:endParaRPr>
          </a:p>
        </p:txBody>
      </p:sp>
    </p:spTree>
    <p:extLst>
      <p:ext uri="{BB962C8B-B14F-4D97-AF65-F5344CB8AC3E}">
        <p14:creationId xmlns:p14="http://schemas.microsoft.com/office/powerpoint/2010/main" val="25822242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TextBox 58">
            <a:extLst>
              <a:ext uri="{FF2B5EF4-FFF2-40B4-BE49-F238E27FC236}">
                <a16:creationId xmlns:a16="http://schemas.microsoft.com/office/drawing/2014/main" id="{C7C7AED0-20F5-4F90-A98F-6457CD33506F}"/>
              </a:ext>
            </a:extLst>
          </p:cNvPr>
          <p:cNvSpPr txBox="1"/>
          <p:nvPr/>
        </p:nvSpPr>
        <p:spPr>
          <a:xfrm>
            <a:off x="282796" y="244766"/>
            <a:ext cx="7630422" cy="584775"/>
          </a:xfrm>
          <a:prstGeom prst="rect">
            <a:avLst/>
          </a:prstGeom>
          <a:noFill/>
        </p:spPr>
        <p:txBody>
          <a:bodyPr wrap="none" rtlCol="0">
            <a:spAutoFit/>
          </a:bodyPr>
          <a:lstStyle/>
          <a:p>
            <a:pPr defTabSz="914400"/>
            <a:r>
              <a:rPr lang="en-GB" sz="3200" dirty="0">
                <a:solidFill>
                  <a:srgbClr val="EF6F0E"/>
                </a:solidFill>
                <a:latin typeface="Calibri" panose="020F0502020204030204"/>
              </a:rPr>
              <a:t>TestMagic Automation Platform Architecture</a:t>
            </a:r>
          </a:p>
        </p:txBody>
      </p:sp>
      <p:sp>
        <p:nvSpPr>
          <p:cNvPr id="60" name="Rectangle 59">
            <a:extLst>
              <a:ext uri="{FF2B5EF4-FFF2-40B4-BE49-F238E27FC236}">
                <a16:creationId xmlns:a16="http://schemas.microsoft.com/office/drawing/2014/main" id="{410FB0F8-1517-404E-9998-457A68B09292}"/>
              </a:ext>
            </a:extLst>
          </p:cNvPr>
          <p:cNvSpPr/>
          <p:nvPr/>
        </p:nvSpPr>
        <p:spPr>
          <a:xfrm>
            <a:off x="7039511" y="1126061"/>
            <a:ext cx="3820338" cy="4663270"/>
          </a:xfrm>
          <a:prstGeom prst="rect">
            <a:avLst/>
          </a:prstGeom>
          <a:solidFill>
            <a:srgbClr val="70AD47">
              <a:lumMod val="40000"/>
              <a:lumOff val="60000"/>
            </a:srgbClr>
          </a:solidFill>
          <a:ln w="12700" cap="flat" cmpd="sng" algn="ctr">
            <a:solidFill>
              <a:srgbClr val="70AD47">
                <a:lumMod val="40000"/>
                <a:lumOff val="6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1" name="Cloud 60">
            <a:extLst>
              <a:ext uri="{FF2B5EF4-FFF2-40B4-BE49-F238E27FC236}">
                <a16:creationId xmlns:a16="http://schemas.microsoft.com/office/drawing/2014/main" id="{946A6736-FE41-4CAA-9744-0697C40E64D9}"/>
              </a:ext>
            </a:extLst>
          </p:cNvPr>
          <p:cNvSpPr/>
          <p:nvPr/>
        </p:nvSpPr>
        <p:spPr>
          <a:xfrm>
            <a:off x="7762978" y="2608829"/>
            <a:ext cx="2417887" cy="1844042"/>
          </a:xfrm>
          <a:prstGeom prst="cloud">
            <a:avLst/>
          </a:prstGeom>
          <a:solidFill>
            <a:srgbClr val="00B0F0">
              <a:alpha val="34000"/>
            </a:srgbClr>
          </a:solidFill>
          <a:ln w="12700" cap="flat" cmpd="sng" algn="ctr">
            <a:solidFill>
              <a:srgbClr val="00B0F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62" name="Picture 10" descr="http://www.myiconfinder.com/uploads/iconsets/2e03c910a2d9cf6cf2c59cab22102ac3.png">
            <a:extLst>
              <a:ext uri="{FF2B5EF4-FFF2-40B4-BE49-F238E27FC236}">
                <a16:creationId xmlns:a16="http://schemas.microsoft.com/office/drawing/2014/main" id="{D037A88E-A405-4810-99BF-21F9D806D4D2}"/>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9409" b="17482"/>
          <a:stretch/>
        </p:blipFill>
        <p:spPr bwMode="auto">
          <a:xfrm>
            <a:off x="7678129" y="2620434"/>
            <a:ext cx="1432349" cy="1047180"/>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10" descr="http://www.myiconfinder.com/uploads/iconsets/2e03c910a2d9cf6cf2c59cab22102ac3.png">
            <a:extLst>
              <a:ext uri="{FF2B5EF4-FFF2-40B4-BE49-F238E27FC236}">
                <a16:creationId xmlns:a16="http://schemas.microsoft.com/office/drawing/2014/main" id="{50E8006F-67D6-4F21-8082-12DFEB126009}"/>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9409" b="17482"/>
          <a:stretch/>
        </p:blipFill>
        <p:spPr bwMode="auto">
          <a:xfrm>
            <a:off x="8636880" y="3492786"/>
            <a:ext cx="1432349" cy="1047180"/>
          </a:xfrm>
          <a:prstGeom prst="rect">
            <a:avLst/>
          </a:prstGeom>
          <a:noFill/>
          <a:extLst>
            <a:ext uri="{909E8E84-426E-40DD-AFC4-6F175D3DCCD1}">
              <a14:hiddenFill xmlns:a14="http://schemas.microsoft.com/office/drawing/2010/main">
                <a:solidFill>
                  <a:srgbClr val="FFFFFF"/>
                </a:solidFill>
              </a14:hiddenFill>
            </a:ext>
          </a:extLst>
        </p:spPr>
      </p:pic>
      <p:sp>
        <p:nvSpPr>
          <p:cNvPr id="64" name="Rectangle 63">
            <a:extLst>
              <a:ext uri="{FF2B5EF4-FFF2-40B4-BE49-F238E27FC236}">
                <a16:creationId xmlns:a16="http://schemas.microsoft.com/office/drawing/2014/main" id="{B07A5F3C-E9D0-4845-9298-D30506BFE25C}"/>
              </a:ext>
            </a:extLst>
          </p:cNvPr>
          <p:cNvSpPr/>
          <p:nvPr/>
        </p:nvSpPr>
        <p:spPr>
          <a:xfrm>
            <a:off x="3898157" y="1126061"/>
            <a:ext cx="3141354" cy="4663270"/>
          </a:xfrm>
          <a:prstGeom prst="rect">
            <a:avLst/>
          </a:prstGeom>
          <a:solidFill>
            <a:srgbClr val="4472C4">
              <a:lumMod val="40000"/>
              <a:lumOff val="60000"/>
            </a:srgbClr>
          </a:solidFill>
          <a:ln w="12700" cap="flat" cmpd="sng" algn="ctr">
            <a:solidFill>
              <a:srgbClr val="4472C4">
                <a:lumMod val="40000"/>
                <a:lumOff val="6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5" name="Rectangle 64">
            <a:extLst>
              <a:ext uri="{FF2B5EF4-FFF2-40B4-BE49-F238E27FC236}">
                <a16:creationId xmlns:a16="http://schemas.microsoft.com/office/drawing/2014/main" id="{C440D58E-857C-424E-B27B-E07B768FA53A}"/>
              </a:ext>
            </a:extLst>
          </p:cNvPr>
          <p:cNvSpPr/>
          <p:nvPr/>
        </p:nvSpPr>
        <p:spPr>
          <a:xfrm>
            <a:off x="960119" y="1126061"/>
            <a:ext cx="2938038" cy="4663270"/>
          </a:xfrm>
          <a:prstGeom prst="rect">
            <a:avLst/>
          </a:prstGeom>
          <a:solidFill>
            <a:srgbClr val="FFC000">
              <a:lumMod val="40000"/>
              <a:lumOff val="60000"/>
            </a:srgbClr>
          </a:solidFill>
          <a:ln w="12700" cap="flat" cmpd="sng" algn="ctr">
            <a:solidFill>
              <a:srgbClr val="FFC000">
                <a:lumMod val="40000"/>
                <a:lumOff val="6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pic>
        <p:nvPicPr>
          <p:cNvPr id="66" name="Picture 10" descr="http://www.myiconfinder.com/uploads/iconsets/2e03c910a2d9cf6cf2c59cab22102ac3.png">
            <a:extLst>
              <a:ext uri="{FF2B5EF4-FFF2-40B4-BE49-F238E27FC236}">
                <a16:creationId xmlns:a16="http://schemas.microsoft.com/office/drawing/2014/main" id="{A05C6046-936F-4A46-B6A5-7816AC9A9DEC}"/>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9409" b="17482"/>
          <a:stretch/>
        </p:blipFill>
        <p:spPr bwMode="auto">
          <a:xfrm>
            <a:off x="7678129" y="4347990"/>
            <a:ext cx="1432350" cy="1047181"/>
          </a:xfrm>
          <a:prstGeom prst="rect">
            <a:avLst/>
          </a:prstGeom>
          <a:noFill/>
          <a:extLst>
            <a:ext uri="{909E8E84-426E-40DD-AFC4-6F175D3DCCD1}">
              <a14:hiddenFill xmlns:a14="http://schemas.microsoft.com/office/drawing/2010/main">
                <a:solidFill>
                  <a:srgbClr val="FFFFFF"/>
                </a:solidFill>
              </a14:hiddenFill>
            </a:ext>
          </a:extLst>
        </p:spPr>
      </p:pic>
      <p:sp>
        <p:nvSpPr>
          <p:cNvPr id="67" name="Rectangle 4">
            <a:extLst>
              <a:ext uri="{FF2B5EF4-FFF2-40B4-BE49-F238E27FC236}">
                <a16:creationId xmlns:a16="http://schemas.microsoft.com/office/drawing/2014/main" id="{86797C0C-10E2-4052-81FF-3520B9F19693}"/>
              </a:ext>
            </a:extLst>
          </p:cNvPr>
          <p:cNvSpPr>
            <a:spLocks noChangeArrowheads="1"/>
          </p:cNvSpPr>
          <p:nvPr/>
        </p:nvSpPr>
        <p:spPr bwMode="auto">
          <a:xfrm>
            <a:off x="4080808" y="1244269"/>
            <a:ext cx="2779987" cy="1174014"/>
          </a:xfrm>
          <a:prstGeom prst="rect">
            <a:avLst/>
          </a:prstGeom>
          <a:solidFill>
            <a:sysClr val="window" lastClr="FFFFFF"/>
          </a:solidFill>
          <a:ln w="9525" algn="ctr">
            <a:solidFill>
              <a:sysClr val="windowText" lastClr="000000"/>
            </a:solidFill>
            <a:round/>
            <a:headEnd/>
            <a:tailEnd/>
          </a:ln>
        </p:spPr>
        <p:txBody>
          <a:bodyPr/>
          <a:lstStyle/>
          <a:p>
            <a:pPr marL="0" marR="0" lvl="0" indent="0" defTabSz="914400" eaLnBrk="1" fontAlgn="auto" latinLnBrk="0" hangingPunct="1">
              <a:lnSpc>
                <a:spcPct val="92000"/>
              </a:lnSpc>
              <a:spcBef>
                <a:spcPts val="0"/>
              </a:spcBef>
              <a:spcAft>
                <a:spcPts val="0"/>
              </a:spcAft>
              <a:buClr>
                <a:srgbClr val="000000"/>
              </a:buClr>
              <a:buSzPct val="100000"/>
              <a:buFont typeface="Times New Roman" pitchFamily="18" charset="0"/>
              <a:buNone/>
              <a:tabLst/>
              <a:defRPr/>
            </a:pPr>
            <a:r>
              <a:rPr kumimoji="0" lang="en-US" sz="1000" b="1" i="0" u="none" strike="noStrike" kern="0" cap="none" spc="0" normalizeH="0" baseline="0" noProof="0" dirty="0">
                <a:ln>
                  <a:noFill/>
                </a:ln>
                <a:solidFill>
                  <a:srgbClr val="000000"/>
                </a:solidFill>
                <a:effectLst/>
                <a:uLnTx/>
                <a:uFillTx/>
                <a:ea typeface="Lucida Sans Unicode" pitchFamily="34" charset="0"/>
              </a:rPr>
              <a:t>Database Server Requirement</a:t>
            </a:r>
            <a:endParaRPr kumimoji="0" lang="en-US" sz="1000" b="0" i="0" u="none" strike="noStrike" kern="0" cap="none" spc="0" normalizeH="0" baseline="0" noProof="0" dirty="0">
              <a:ln>
                <a:noFill/>
              </a:ln>
              <a:solidFill>
                <a:srgbClr val="000000"/>
              </a:solidFill>
              <a:effectLst/>
              <a:uLnTx/>
              <a:uFillTx/>
              <a:ea typeface="Lucida Sans Unicode" pitchFamily="34" charset="0"/>
            </a:endParaRPr>
          </a:p>
          <a:p>
            <a:pPr marL="228600" marR="0" lvl="0" indent="-228600" defTabSz="914400" eaLnBrk="1" fontAlgn="auto" latinLnBrk="0" hangingPunct="1">
              <a:lnSpc>
                <a:spcPct val="92000"/>
              </a:lnSpc>
              <a:spcBef>
                <a:spcPts val="0"/>
              </a:spcBef>
              <a:spcAft>
                <a:spcPts val="0"/>
              </a:spcAft>
              <a:buClr>
                <a:srgbClr val="000000"/>
              </a:buClr>
              <a:buSzPct val="100000"/>
              <a:buFont typeface="+mj-lt"/>
              <a:buAutoNum type="arabicPeriod"/>
              <a:tabLst/>
              <a:defRPr/>
            </a:pPr>
            <a:r>
              <a:rPr kumimoji="0" lang="en-US" sz="1000" b="0" i="0" u="none" strike="noStrike" kern="0" cap="none" spc="0" normalizeH="0" baseline="0" noProof="0" dirty="0">
                <a:ln>
                  <a:noFill/>
                </a:ln>
                <a:solidFill>
                  <a:srgbClr val="000000"/>
                </a:solidFill>
                <a:effectLst/>
                <a:uLnTx/>
                <a:uFillTx/>
                <a:ea typeface="Lucida Sans Unicode" pitchFamily="34" charset="0"/>
              </a:rPr>
              <a:t>Windows Server 2012 or higher </a:t>
            </a:r>
          </a:p>
          <a:p>
            <a:pPr marL="228600" marR="0" lvl="0" indent="-228600" defTabSz="914400" eaLnBrk="1" fontAlgn="auto" latinLnBrk="0" hangingPunct="1">
              <a:lnSpc>
                <a:spcPct val="92000"/>
              </a:lnSpc>
              <a:spcBef>
                <a:spcPts val="0"/>
              </a:spcBef>
              <a:spcAft>
                <a:spcPts val="0"/>
              </a:spcAft>
              <a:buClr>
                <a:srgbClr val="000000"/>
              </a:buClr>
              <a:buSzPct val="100000"/>
              <a:buFont typeface="+mj-lt"/>
              <a:buAutoNum type="arabicPeriod"/>
              <a:tabLst/>
              <a:defRPr/>
            </a:pPr>
            <a:r>
              <a:rPr kumimoji="0" lang="en-US" sz="1000" b="0" i="0" u="none" strike="noStrike" kern="0" cap="none" spc="0" normalizeH="0" baseline="0" noProof="0" dirty="0">
                <a:ln>
                  <a:noFill/>
                </a:ln>
                <a:solidFill>
                  <a:srgbClr val="000000"/>
                </a:solidFill>
                <a:effectLst/>
                <a:uLnTx/>
                <a:uFillTx/>
                <a:ea typeface="Lucida Sans Unicode" pitchFamily="34" charset="0"/>
              </a:rPr>
              <a:t>Processor: Dual Core or higher</a:t>
            </a:r>
          </a:p>
          <a:p>
            <a:pPr marL="228600" marR="0" lvl="0" indent="-228600" defTabSz="914400" eaLnBrk="1" fontAlgn="auto" latinLnBrk="0" hangingPunct="1">
              <a:lnSpc>
                <a:spcPct val="92000"/>
              </a:lnSpc>
              <a:spcBef>
                <a:spcPts val="0"/>
              </a:spcBef>
              <a:spcAft>
                <a:spcPts val="0"/>
              </a:spcAft>
              <a:buClr>
                <a:srgbClr val="000000"/>
              </a:buClr>
              <a:buSzPct val="100000"/>
              <a:buFont typeface="+mj-lt"/>
              <a:buAutoNum type="arabicPeriod"/>
              <a:tabLst/>
              <a:defRPr/>
            </a:pPr>
            <a:r>
              <a:rPr kumimoji="0" lang="en-US" sz="1000" b="0" i="0" u="none" strike="noStrike" kern="0" cap="none" spc="0" normalizeH="0" baseline="0" noProof="0" dirty="0">
                <a:ln>
                  <a:noFill/>
                </a:ln>
                <a:solidFill>
                  <a:srgbClr val="000000"/>
                </a:solidFill>
                <a:effectLst/>
                <a:uLnTx/>
                <a:uFillTx/>
                <a:ea typeface="Lucida Sans Unicode" pitchFamily="34" charset="0"/>
              </a:rPr>
              <a:t>32 GB RAM or higher</a:t>
            </a:r>
          </a:p>
          <a:p>
            <a:pPr marL="228600" marR="0" lvl="0" indent="-228600" defTabSz="914400" eaLnBrk="1" fontAlgn="auto" latinLnBrk="0" hangingPunct="1">
              <a:lnSpc>
                <a:spcPct val="92000"/>
              </a:lnSpc>
              <a:spcBef>
                <a:spcPts val="0"/>
              </a:spcBef>
              <a:spcAft>
                <a:spcPts val="0"/>
              </a:spcAft>
              <a:buClr>
                <a:srgbClr val="000000"/>
              </a:buClr>
              <a:buSzPct val="100000"/>
              <a:buFont typeface="+mj-lt"/>
              <a:buAutoNum type="arabicPeriod"/>
              <a:tabLst/>
              <a:defRPr/>
            </a:pPr>
            <a:r>
              <a:rPr kumimoji="0" lang="en-US" sz="1000" b="0" i="0" u="none" strike="noStrike" kern="0" cap="none" spc="0" normalizeH="0" baseline="0" noProof="0" dirty="0">
                <a:ln>
                  <a:noFill/>
                </a:ln>
                <a:solidFill>
                  <a:srgbClr val="000000"/>
                </a:solidFill>
                <a:effectLst/>
                <a:uLnTx/>
                <a:uFillTx/>
                <a:ea typeface="Lucida Sans Unicode" pitchFamily="34" charset="0"/>
              </a:rPr>
              <a:t>64 bit OS</a:t>
            </a:r>
          </a:p>
          <a:p>
            <a:pPr marL="228600" marR="0" lvl="0" indent="-228600" defTabSz="914400" eaLnBrk="1" fontAlgn="auto" latinLnBrk="0" hangingPunct="1">
              <a:lnSpc>
                <a:spcPct val="92000"/>
              </a:lnSpc>
              <a:spcBef>
                <a:spcPts val="0"/>
              </a:spcBef>
              <a:spcAft>
                <a:spcPts val="0"/>
              </a:spcAft>
              <a:buClr>
                <a:srgbClr val="000000"/>
              </a:buClr>
              <a:buSzPct val="100000"/>
              <a:buFont typeface="+mj-lt"/>
              <a:buAutoNum type="arabicPeriod"/>
              <a:tabLst/>
              <a:defRPr/>
            </a:pPr>
            <a:r>
              <a:rPr kumimoji="0" lang="en-US" sz="1000" b="0" i="1" u="none" strike="noStrike" kern="0" cap="none" spc="0" normalizeH="0" baseline="0" noProof="0" dirty="0">
                <a:ln>
                  <a:noFill/>
                </a:ln>
                <a:solidFill>
                  <a:srgbClr val="000000"/>
                </a:solidFill>
                <a:effectLst/>
                <a:uLnTx/>
                <a:uFillTx/>
                <a:ea typeface="Lucida Sans Unicode" pitchFamily="34" charset="0"/>
              </a:rPr>
              <a:t>MS SQL server</a:t>
            </a:r>
          </a:p>
          <a:p>
            <a:pPr marL="228600" marR="0" lvl="0" indent="-228600" defTabSz="914400" eaLnBrk="1" fontAlgn="auto" latinLnBrk="0" hangingPunct="1">
              <a:lnSpc>
                <a:spcPct val="92000"/>
              </a:lnSpc>
              <a:spcBef>
                <a:spcPts val="0"/>
              </a:spcBef>
              <a:spcAft>
                <a:spcPts val="0"/>
              </a:spcAft>
              <a:buClr>
                <a:srgbClr val="000000"/>
              </a:buClr>
              <a:buSzPct val="100000"/>
              <a:buFont typeface="+mj-lt"/>
              <a:buAutoNum type="arabicPeriod"/>
              <a:tabLst/>
              <a:defRPr/>
            </a:pPr>
            <a:r>
              <a:rPr kumimoji="0" lang="en-US" sz="1000" b="0" i="0" u="none" strike="noStrike" kern="0" cap="none" spc="0" normalizeH="0" baseline="0" noProof="0" dirty="0">
                <a:ln>
                  <a:noFill/>
                </a:ln>
                <a:solidFill>
                  <a:srgbClr val="000000"/>
                </a:solidFill>
                <a:effectLst/>
                <a:uLnTx/>
                <a:uFillTx/>
                <a:ea typeface="Lucida Sans Unicode" pitchFamily="34" charset="0"/>
              </a:rPr>
              <a:t>Storage: 100 GB and above</a:t>
            </a:r>
          </a:p>
        </p:txBody>
      </p:sp>
      <p:sp>
        <p:nvSpPr>
          <p:cNvPr id="68" name="Rectangle 5">
            <a:extLst>
              <a:ext uri="{FF2B5EF4-FFF2-40B4-BE49-F238E27FC236}">
                <a16:creationId xmlns:a16="http://schemas.microsoft.com/office/drawing/2014/main" id="{7B20F4B0-3BB3-40E0-BCC4-90A8963E7ED4}"/>
              </a:ext>
            </a:extLst>
          </p:cNvPr>
          <p:cNvSpPr>
            <a:spLocks noChangeArrowheads="1"/>
          </p:cNvSpPr>
          <p:nvPr/>
        </p:nvSpPr>
        <p:spPr bwMode="auto">
          <a:xfrm>
            <a:off x="1069882" y="1244269"/>
            <a:ext cx="2718174" cy="1174014"/>
          </a:xfrm>
          <a:prstGeom prst="rect">
            <a:avLst/>
          </a:prstGeom>
          <a:solidFill>
            <a:sysClr val="window" lastClr="FFFFFF"/>
          </a:solidFill>
          <a:ln w="9525" algn="ctr">
            <a:solidFill>
              <a:sysClr val="windowText" lastClr="000000"/>
            </a:solidFill>
            <a:round/>
            <a:headEnd/>
            <a:tailEnd/>
          </a:ln>
        </p:spPr>
        <p:txBody>
          <a:bodyPr/>
          <a:lstStyle/>
          <a:p>
            <a:pPr marL="0" marR="0" lvl="0" indent="0" defTabSz="914400" eaLnBrk="1" fontAlgn="auto" latinLnBrk="0" hangingPunct="1">
              <a:lnSpc>
                <a:spcPct val="92000"/>
              </a:lnSpc>
              <a:spcBef>
                <a:spcPts val="0"/>
              </a:spcBef>
              <a:spcAft>
                <a:spcPts val="0"/>
              </a:spcAft>
              <a:buClr>
                <a:srgbClr val="000000"/>
              </a:buClr>
              <a:buSzPct val="100000"/>
              <a:buFont typeface="Times New Roman" pitchFamily="18" charset="0"/>
              <a:buNone/>
              <a:tabLst/>
              <a:defRPr/>
            </a:pPr>
            <a:r>
              <a:rPr kumimoji="0" lang="en-US" sz="1100" b="1" i="0" u="none" strike="noStrike" kern="0" cap="none" spc="0" normalizeH="0" baseline="0" noProof="0" dirty="0">
                <a:ln>
                  <a:noFill/>
                </a:ln>
                <a:solidFill>
                  <a:srgbClr val="000000"/>
                </a:solidFill>
                <a:effectLst/>
                <a:uLnTx/>
                <a:uFillTx/>
                <a:ea typeface="Lucida Sans Unicode" pitchFamily="34" charset="0"/>
              </a:rPr>
              <a:t>TestMagic ALM Server Requirement</a:t>
            </a:r>
          </a:p>
          <a:p>
            <a:pPr marL="228600" marR="0" lvl="0" indent="-228600" defTabSz="914400" eaLnBrk="1" fontAlgn="auto" latinLnBrk="0" hangingPunct="1">
              <a:lnSpc>
                <a:spcPct val="92000"/>
              </a:lnSpc>
              <a:spcBef>
                <a:spcPts val="0"/>
              </a:spcBef>
              <a:spcAft>
                <a:spcPts val="0"/>
              </a:spcAft>
              <a:buClr>
                <a:srgbClr val="000000"/>
              </a:buClr>
              <a:buSzPct val="100000"/>
              <a:buFont typeface="+mj-lt"/>
              <a:buAutoNum type="arabicPeriod"/>
              <a:tabLst/>
              <a:defRPr/>
            </a:pPr>
            <a:r>
              <a:rPr kumimoji="0" lang="en-US" sz="1100" b="0" i="0" u="none" strike="noStrike" kern="0" cap="none" spc="0" normalizeH="0" baseline="0" noProof="0" dirty="0">
                <a:ln>
                  <a:noFill/>
                </a:ln>
                <a:solidFill>
                  <a:srgbClr val="000000"/>
                </a:solidFill>
                <a:effectLst/>
                <a:uLnTx/>
                <a:uFillTx/>
                <a:ea typeface="Lucida Sans Unicode" pitchFamily="34" charset="0"/>
              </a:rPr>
              <a:t>Windows Server 2012 or higher</a:t>
            </a:r>
          </a:p>
          <a:p>
            <a:pPr marL="228600" marR="0" lvl="0" indent="-228600" defTabSz="914400" eaLnBrk="1" fontAlgn="auto" latinLnBrk="0" hangingPunct="1">
              <a:lnSpc>
                <a:spcPct val="92000"/>
              </a:lnSpc>
              <a:spcBef>
                <a:spcPts val="0"/>
              </a:spcBef>
              <a:spcAft>
                <a:spcPts val="0"/>
              </a:spcAft>
              <a:buClr>
                <a:srgbClr val="000000"/>
              </a:buClr>
              <a:buSzPct val="100000"/>
              <a:buFont typeface="+mj-lt"/>
              <a:buAutoNum type="arabicPeriod"/>
              <a:tabLst/>
              <a:defRPr/>
            </a:pPr>
            <a:r>
              <a:rPr kumimoji="0" lang="en-US" sz="1100" b="0" i="0" u="none" strike="noStrike" kern="0" cap="none" spc="0" normalizeH="0" baseline="0" noProof="0" dirty="0">
                <a:ln>
                  <a:noFill/>
                </a:ln>
                <a:solidFill>
                  <a:srgbClr val="000000"/>
                </a:solidFill>
                <a:effectLst/>
                <a:uLnTx/>
                <a:uFillTx/>
                <a:ea typeface="Lucida Sans Unicode" pitchFamily="34" charset="0"/>
              </a:rPr>
              <a:t>IIS </a:t>
            </a:r>
            <a:r>
              <a:rPr lang="en-US" sz="1100" kern="0" dirty="0">
                <a:solidFill>
                  <a:srgbClr val="000000"/>
                </a:solidFill>
                <a:ea typeface="Lucida Sans Unicode" pitchFamily="34" charset="0"/>
              </a:rPr>
              <a:t>10</a:t>
            </a:r>
            <a:r>
              <a:rPr kumimoji="0" lang="en-US" sz="1100" b="0" i="0" u="none" strike="noStrike" kern="0" cap="none" spc="0" normalizeH="0" baseline="0" noProof="0" dirty="0">
                <a:ln>
                  <a:noFill/>
                </a:ln>
                <a:solidFill>
                  <a:srgbClr val="000000"/>
                </a:solidFill>
                <a:effectLst/>
                <a:uLnTx/>
                <a:uFillTx/>
                <a:ea typeface="Lucida Sans Unicode" pitchFamily="34" charset="0"/>
              </a:rPr>
              <a:t>.0 or higher</a:t>
            </a:r>
          </a:p>
          <a:p>
            <a:pPr marL="228600" marR="0" lvl="0" indent="-228600" defTabSz="914400" eaLnBrk="1" fontAlgn="auto" latinLnBrk="0" hangingPunct="1">
              <a:lnSpc>
                <a:spcPct val="92000"/>
              </a:lnSpc>
              <a:spcBef>
                <a:spcPts val="0"/>
              </a:spcBef>
              <a:spcAft>
                <a:spcPts val="0"/>
              </a:spcAft>
              <a:buClr>
                <a:srgbClr val="000000"/>
              </a:buClr>
              <a:buSzPct val="100000"/>
              <a:buFont typeface="+mj-lt"/>
              <a:buAutoNum type="arabicPeriod"/>
              <a:tabLst/>
              <a:defRPr/>
            </a:pPr>
            <a:r>
              <a:rPr kumimoji="0" lang="en-US" sz="1100" b="0" i="0" u="none" strike="noStrike" kern="0" cap="none" spc="0" normalizeH="0" baseline="0" noProof="0" dirty="0">
                <a:ln>
                  <a:noFill/>
                </a:ln>
                <a:solidFill>
                  <a:srgbClr val="000000"/>
                </a:solidFill>
                <a:effectLst/>
                <a:uLnTx/>
                <a:uFillTx/>
                <a:ea typeface="Lucida Sans Unicode" pitchFamily="34" charset="0"/>
              </a:rPr>
              <a:t>32 GB RAM or higher</a:t>
            </a:r>
          </a:p>
          <a:p>
            <a:pPr marL="228600" marR="0" lvl="0" indent="-228600" defTabSz="914400" eaLnBrk="1" fontAlgn="auto" latinLnBrk="0" hangingPunct="1">
              <a:lnSpc>
                <a:spcPct val="92000"/>
              </a:lnSpc>
              <a:spcBef>
                <a:spcPts val="0"/>
              </a:spcBef>
              <a:spcAft>
                <a:spcPts val="0"/>
              </a:spcAft>
              <a:buClr>
                <a:srgbClr val="000000"/>
              </a:buClr>
              <a:buSzPct val="100000"/>
              <a:buFont typeface="+mj-lt"/>
              <a:buAutoNum type="arabicPeriod"/>
              <a:tabLst/>
              <a:defRPr/>
            </a:pPr>
            <a:r>
              <a:rPr kumimoji="0" lang="en-US" sz="1100" b="0" i="0" u="none" strike="noStrike" kern="0" cap="none" spc="0" normalizeH="0" baseline="0" noProof="0" dirty="0">
                <a:ln>
                  <a:noFill/>
                </a:ln>
                <a:solidFill>
                  <a:srgbClr val="000000"/>
                </a:solidFill>
                <a:effectLst/>
                <a:uLnTx/>
                <a:uFillTx/>
                <a:ea typeface="Lucida Sans Unicode" pitchFamily="34" charset="0"/>
              </a:rPr>
              <a:t>64 bit OS</a:t>
            </a:r>
          </a:p>
          <a:p>
            <a:pPr marL="228600" marR="0" lvl="0" indent="-228600" defTabSz="914400" eaLnBrk="1" fontAlgn="auto" latinLnBrk="0" hangingPunct="1">
              <a:lnSpc>
                <a:spcPct val="92000"/>
              </a:lnSpc>
              <a:spcBef>
                <a:spcPts val="0"/>
              </a:spcBef>
              <a:spcAft>
                <a:spcPts val="0"/>
              </a:spcAft>
              <a:buClr>
                <a:srgbClr val="000000"/>
              </a:buClr>
              <a:buSzPct val="100000"/>
              <a:buFont typeface="+mj-lt"/>
              <a:buAutoNum type="arabicPeriod"/>
              <a:tabLst/>
              <a:defRPr/>
            </a:pPr>
            <a:r>
              <a:rPr kumimoji="0" lang="en-US" sz="1100" b="0" i="0" u="none" strike="noStrike" kern="0" cap="none" spc="0" normalizeH="0" baseline="0" noProof="0" dirty="0">
                <a:ln>
                  <a:noFill/>
                </a:ln>
                <a:solidFill>
                  <a:srgbClr val="000000"/>
                </a:solidFill>
                <a:effectLst/>
                <a:uLnTx/>
                <a:uFillTx/>
                <a:ea typeface="Lucida Sans Unicode" pitchFamily="34" charset="0"/>
              </a:rPr>
              <a:t>.NET Framework 4.7.2 or above</a:t>
            </a:r>
          </a:p>
          <a:p>
            <a:pPr marL="228600" marR="0" lvl="0" indent="-228600" defTabSz="914400" eaLnBrk="1" fontAlgn="auto" latinLnBrk="0" hangingPunct="1">
              <a:lnSpc>
                <a:spcPct val="92000"/>
              </a:lnSpc>
              <a:spcBef>
                <a:spcPts val="0"/>
              </a:spcBef>
              <a:spcAft>
                <a:spcPts val="0"/>
              </a:spcAft>
              <a:buClr>
                <a:srgbClr val="000000"/>
              </a:buClr>
              <a:buSzPct val="100000"/>
              <a:buFont typeface="+mj-lt"/>
              <a:buAutoNum type="arabicPeriod"/>
              <a:tabLst/>
              <a:defRPr/>
            </a:pPr>
            <a:r>
              <a:rPr kumimoji="0" lang="en-US" sz="1100" b="0" i="0" u="none" strike="noStrike" kern="0" cap="none" spc="0" normalizeH="0" baseline="0" noProof="0" dirty="0">
                <a:ln>
                  <a:noFill/>
                </a:ln>
                <a:solidFill>
                  <a:srgbClr val="000000"/>
                </a:solidFill>
                <a:effectLst/>
                <a:uLnTx/>
                <a:uFillTx/>
                <a:ea typeface="Lucida Sans Unicode" pitchFamily="34" charset="0"/>
              </a:rPr>
              <a:t>Storage: 100 GB and above</a:t>
            </a:r>
          </a:p>
          <a:p>
            <a:pPr marL="0" marR="0" lvl="0" indent="0" defTabSz="914400" eaLnBrk="1" fontAlgn="auto" latinLnBrk="0" hangingPunct="1">
              <a:lnSpc>
                <a:spcPct val="92000"/>
              </a:lnSpc>
              <a:spcBef>
                <a:spcPts val="0"/>
              </a:spcBef>
              <a:spcAft>
                <a:spcPts val="0"/>
              </a:spcAft>
              <a:buClr>
                <a:srgbClr val="000000"/>
              </a:buClr>
              <a:buSzPct val="100000"/>
              <a:buFont typeface="Times New Roman" pitchFamily="18" charset="0"/>
              <a:buNone/>
              <a:tabLst/>
              <a:defRPr/>
            </a:pPr>
            <a:endParaRPr kumimoji="0" lang="en-US" sz="1100" b="0" i="0" u="none" strike="noStrike" kern="0" cap="none" spc="0" normalizeH="0" baseline="0" noProof="0" dirty="0">
              <a:ln>
                <a:noFill/>
              </a:ln>
              <a:solidFill>
                <a:srgbClr val="000000"/>
              </a:solidFill>
              <a:effectLst/>
              <a:uLnTx/>
              <a:uFillTx/>
              <a:ea typeface="Lucida Sans Unicode" pitchFamily="34" charset="0"/>
            </a:endParaRPr>
          </a:p>
          <a:p>
            <a:pPr marL="0" marR="0" lvl="0" indent="0" defTabSz="914400" eaLnBrk="1" fontAlgn="auto" latinLnBrk="0" hangingPunct="1">
              <a:lnSpc>
                <a:spcPct val="92000"/>
              </a:lnSpc>
              <a:spcBef>
                <a:spcPts val="0"/>
              </a:spcBef>
              <a:spcAft>
                <a:spcPts val="0"/>
              </a:spcAft>
              <a:buClr>
                <a:srgbClr val="000000"/>
              </a:buClr>
              <a:buSzPct val="100000"/>
              <a:buFont typeface="Times New Roman" pitchFamily="18" charset="0"/>
              <a:buNone/>
              <a:tabLst/>
              <a:defRPr/>
            </a:pPr>
            <a:endParaRPr kumimoji="0" lang="en-US" sz="1100" b="0" i="0" u="none" strike="noStrike" kern="0" cap="none" spc="0" normalizeH="0" baseline="0" noProof="0" dirty="0">
              <a:ln>
                <a:noFill/>
              </a:ln>
              <a:solidFill>
                <a:srgbClr val="000000"/>
              </a:solidFill>
              <a:effectLst/>
              <a:uLnTx/>
              <a:uFillTx/>
              <a:ea typeface="Lucida Sans Unicode" pitchFamily="34" charset="0"/>
            </a:endParaRPr>
          </a:p>
        </p:txBody>
      </p:sp>
      <p:sp>
        <p:nvSpPr>
          <p:cNvPr id="69" name="Rectangle 6">
            <a:extLst>
              <a:ext uri="{FF2B5EF4-FFF2-40B4-BE49-F238E27FC236}">
                <a16:creationId xmlns:a16="http://schemas.microsoft.com/office/drawing/2014/main" id="{66AC96E6-AA77-4BDB-B04A-3E484A508948}"/>
              </a:ext>
            </a:extLst>
          </p:cNvPr>
          <p:cNvSpPr>
            <a:spLocks noChangeArrowheads="1"/>
          </p:cNvSpPr>
          <p:nvPr/>
        </p:nvSpPr>
        <p:spPr bwMode="auto">
          <a:xfrm>
            <a:off x="7113467" y="1244269"/>
            <a:ext cx="3674264" cy="1151254"/>
          </a:xfrm>
          <a:prstGeom prst="rect">
            <a:avLst/>
          </a:prstGeom>
          <a:solidFill>
            <a:sysClr val="window" lastClr="FFFFFF"/>
          </a:solidFill>
          <a:ln w="9525" algn="ctr">
            <a:solidFill>
              <a:sysClr val="windowText" lastClr="000000"/>
            </a:solidFill>
            <a:round/>
            <a:headEnd/>
            <a:tailEnd/>
          </a:ln>
        </p:spPr>
        <p:txBody>
          <a:bodyPr/>
          <a:lstStyle/>
          <a:p>
            <a:pPr marL="0" marR="0" lvl="0" indent="0" defTabSz="914400" eaLnBrk="1" fontAlgn="auto" latinLnBrk="0" hangingPunct="1">
              <a:lnSpc>
                <a:spcPct val="92000"/>
              </a:lnSpc>
              <a:spcBef>
                <a:spcPts val="0"/>
              </a:spcBef>
              <a:spcAft>
                <a:spcPts val="0"/>
              </a:spcAft>
              <a:buClr>
                <a:srgbClr val="000000"/>
              </a:buClr>
              <a:buSzPct val="100000"/>
              <a:buFont typeface="Times New Roman" pitchFamily="18" charset="0"/>
              <a:buNone/>
              <a:tabLst/>
              <a:defRPr/>
            </a:pPr>
            <a:r>
              <a:rPr kumimoji="0" lang="en-US" sz="1100" b="1" i="0" u="none" strike="noStrike" kern="0" cap="none" spc="0" normalizeH="0" baseline="0" noProof="0" dirty="0">
                <a:ln>
                  <a:noFill/>
                </a:ln>
                <a:solidFill>
                  <a:srgbClr val="000000"/>
                </a:solidFill>
                <a:effectLst/>
                <a:uLnTx/>
                <a:uFillTx/>
                <a:ea typeface="Lucida Sans Unicode" pitchFamily="34" charset="0"/>
              </a:rPr>
              <a:t>eZAutomate Component Requirement</a:t>
            </a:r>
          </a:p>
          <a:p>
            <a:pPr marL="228600" marR="0" lvl="0" indent="-228600" defTabSz="914400" eaLnBrk="1" fontAlgn="auto" latinLnBrk="0" hangingPunct="1">
              <a:lnSpc>
                <a:spcPct val="92000"/>
              </a:lnSpc>
              <a:spcBef>
                <a:spcPts val="0"/>
              </a:spcBef>
              <a:spcAft>
                <a:spcPts val="0"/>
              </a:spcAft>
              <a:buClr>
                <a:srgbClr val="000000"/>
              </a:buClr>
              <a:buSzPct val="100000"/>
              <a:buFont typeface="+mj-lt"/>
              <a:buAutoNum type="arabicPeriod"/>
              <a:tabLst/>
              <a:defRPr/>
            </a:pPr>
            <a:r>
              <a:rPr kumimoji="0" lang="en-US" sz="1100" b="0" i="0" u="none" strike="noStrike" kern="0" cap="none" spc="0" normalizeH="0" baseline="0" noProof="0" dirty="0">
                <a:ln>
                  <a:noFill/>
                </a:ln>
                <a:solidFill>
                  <a:srgbClr val="000000"/>
                </a:solidFill>
                <a:effectLst/>
                <a:uLnTx/>
                <a:uFillTx/>
                <a:ea typeface="Lucida Sans Unicode" pitchFamily="34" charset="0"/>
              </a:rPr>
              <a:t>Windows 7 SP1 Professional or higher</a:t>
            </a:r>
          </a:p>
          <a:p>
            <a:pPr marL="228600" marR="0" lvl="0" indent="-228600" defTabSz="914400" eaLnBrk="1" fontAlgn="auto" latinLnBrk="0" hangingPunct="1">
              <a:lnSpc>
                <a:spcPct val="92000"/>
              </a:lnSpc>
              <a:spcBef>
                <a:spcPts val="0"/>
              </a:spcBef>
              <a:spcAft>
                <a:spcPts val="0"/>
              </a:spcAft>
              <a:buClr>
                <a:srgbClr val="000000"/>
              </a:buClr>
              <a:buSzPct val="100000"/>
              <a:buFont typeface="+mj-lt"/>
              <a:buAutoNum type="arabicPeriod"/>
              <a:tabLst/>
              <a:defRPr/>
            </a:pPr>
            <a:r>
              <a:rPr kumimoji="0" lang="en-US" sz="1100" b="0" i="0" u="none" strike="noStrike" kern="0" cap="none" spc="0" normalizeH="0" baseline="0" noProof="0" dirty="0">
                <a:ln>
                  <a:noFill/>
                </a:ln>
                <a:solidFill>
                  <a:srgbClr val="000000"/>
                </a:solidFill>
                <a:effectLst/>
                <a:uLnTx/>
                <a:uFillTx/>
                <a:ea typeface="Lucida Sans Unicode" pitchFamily="34" charset="0"/>
              </a:rPr>
              <a:t>8 GB RAM or higher</a:t>
            </a:r>
          </a:p>
          <a:p>
            <a:pPr marL="228600" marR="0" lvl="0" indent="-228600" defTabSz="914400" eaLnBrk="1" fontAlgn="auto" latinLnBrk="0" hangingPunct="1">
              <a:lnSpc>
                <a:spcPct val="92000"/>
              </a:lnSpc>
              <a:spcBef>
                <a:spcPts val="0"/>
              </a:spcBef>
              <a:spcAft>
                <a:spcPts val="0"/>
              </a:spcAft>
              <a:buClr>
                <a:srgbClr val="000000"/>
              </a:buClr>
              <a:buSzPct val="100000"/>
              <a:buFont typeface="+mj-lt"/>
              <a:buAutoNum type="arabicPeriod"/>
              <a:tabLst/>
              <a:defRPr/>
            </a:pPr>
            <a:r>
              <a:rPr kumimoji="0" lang="en-US" sz="1100" b="0" i="0" u="none" strike="noStrike" kern="0" cap="none" spc="0" normalizeH="0" baseline="0" noProof="0" dirty="0">
                <a:ln>
                  <a:noFill/>
                </a:ln>
                <a:solidFill>
                  <a:srgbClr val="000000"/>
                </a:solidFill>
                <a:effectLst/>
                <a:uLnTx/>
                <a:uFillTx/>
                <a:ea typeface="Lucida Sans Unicode" pitchFamily="34" charset="0"/>
              </a:rPr>
              <a:t>64 bit OS</a:t>
            </a:r>
          </a:p>
          <a:p>
            <a:pPr marL="228600" marR="0" lvl="0" indent="-228600" defTabSz="914400" eaLnBrk="1" fontAlgn="auto" latinLnBrk="0" hangingPunct="1">
              <a:lnSpc>
                <a:spcPct val="92000"/>
              </a:lnSpc>
              <a:spcBef>
                <a:spcPts val="0"/>
              </a:spcBef>
              <a:spcAft>
                <a:spcPts val="0"/>
              </a:spcAft>
              <a:buClr>
                <a:srgbClr val="000000"/>
              </a:buClr>
              <a:buSzPct val="100000"/>
              <a:buFont typeface="+mj-lt"/>
              <a:buAutoNum type="arabicPeriod"/>
              <a:tabLst/>
              <a:defRPr/>
            </a:pPr>
            <a:r>
              <a:rPr kumimoji="0" lang="en-US" sz="1100" b="0" i="0" u="none" strike="noStrike" kern="0" cap="none" spc="0" normalizeH="0" baseline="0" noProof="0" dirty="0">
                <a:ln>
                  <a:noFill/>
                </a:ln>
                <a:solidFill>
                  <a:srgbClr val="000000"/>
                </a:solidFill>
                <a:effectLst/>
                <a:uLnTx/>
                <a:uFillTx/>
                <a:ea typeface="Lucida Sans Unicode" pitchFamily="34" charset="0"/>
              </a:rPr>
              <a:t>Storage: 50 GB </a:t>
            </a:r>
          </a:p>
          <a:p>
            <a:pPr marL="0" marR="0" lvl="0" indent="0" defTabSz="914400" eaLnBrk="1" fontAlgn="auto" latinLnBrk="0" hangingPunct="1">
              <a:lnSpc>
                <a:spcPct val="92000"/>
              </a:lnSpc>
              <a:spcBef>
                <a:spcPts val="0"/>
              </a:spcBef>
              <a:spcAft>
                <a:spcPts val="0"/>
              </a:spcAft>
              <a:buClr>
                <a:srgbClr val="000000"/>
              </a:buClr>
              <a:buSzPct val="100000"/>
              <a:buFont typeface="Times New Roman" pitchFamily="18" charset="0"/>
              <a:buNone/>
              <a:tabLst/>
              <a:defRPr/>
            </a:pPr>
            <a:endParaRPr kumimoji="0" lang="en-US" sz="1100" b="0" i="0" u="none" strike="noStrike" kern="0" cap="none" spc="0" normalizeH="0" baseline="0" noProof="0" dirty="0">
              <a:ln>
                <a:noFill/>
              </a:ln>
              <a:solidFill>
                <a:srgbClr val="000000"/>
              </a:solidFill>
              <a:effectLst/>
              <a:uLnTx/>
              <a:uFillTx/>
              <a:ea typeface="Lucida Sans Unicode" pitchFamily="34" charset="0"/>
            </a:endParaRPr>
          </a:p>
          <a:p>
            <a:pPr marL="0" marR="0" lvl="0" indent="0" defTabSz="914400" eaLnBrk="1" fontAlgn="auto" latinLnBrk="0" hangingPunct="1">
              <a:lnSpc>
                <a:spcPct val="92000"/>
              </a:lnSpc>
              <a:spcBef>
                <a:spcPts val="0"/>
              </a:spcBef>
              <a:spcAft>
                <a:spcPts val="0"/>
              </a:spcAft>
              <a:buClr>
                <a:srgbClr val="000000"/>
              </a:buClr>
              <a:buSzPct val="100000"/>
              <a:buFont typeface="Times New Roman" pitchFamily="18" charset="0"/>
              <a:buNone/>
              <a:tabLst/>
              <a:defRPr/>
            </a:pPr>
            <a:endParaRPr kumimoji="0" lang="en-US" sz="1100" b="0" i="0" u="none" strike="noStrike" kern="0" cap="none" spc="0" normalizeH="0" baseline="0" noProof="0" dirty="0">
              <a:ln>
                <a:noFill/>
              </a:ln>
              <a:solidFill>
                <a:srgbClr val="000000"/>
              </a:solidFill>
              <a:effectLst/>
              <a:uLnTx/>
              <a:uFillTx/>
              <a:ea typeface="Lucida Sans Unicode" pitchFamily="34" charset="0"/>
            </a:endParaRPr>
          </a:p>
        </p:txBody>
      </p:sp>
      <p:sp>
        <p:nvSpPr>
          <p:cNvPr id="70" name="Arrow: Left-Right 69">
            <a:extLst>
              <a:ext uri="{FF2B5EF4-FFF2-40B4-BE49-F238E27FC236}">
                <a16:creationId xmlns:a16="http://schemas.microsoft.com/office/drawing/2014/main" id="{6B678A5F-C663-423C-82BD-4495643018A7}"/>
              </a:ext>
            </a:extLst>
          </p:cNvPr>
          <p:cNvSpPr/>
          <p:nvPr/>
        </p:nvSpPr>
        <p:spPr>
          <a:xfrm>
            <a:off x="3363510" y="3936732"/>
            <a:ext cx="1089657" cy="121057"/>
          </a:xfrm>
          <a:prstGeom prst="leftRightArrow">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71" name="Straight Arrow Connector 70">
            <a:extLst>
              <a:ext uri="{FF2B5EF4-FFF2-40B4-BE49-F238E27FC236}">
                <a16:creationId xmlns:a16="http://schemas.microsoft.com/office/drawing/2014/main" id="{A85CD24C-418C-46F7-95CE-9BCEB33F2360}"/>
              </a:ext>
            </a:extLst>
          </p:cNvPr>
          <p:cNvCxnSpPr>
            <a:endCxn id="63" idx="1"/>
          </p:cNvCxnSpPr>
          <p:nvPr/>
        </p:nvCxnSpPr>
        <p:spPr>
          <a:xfrm>
            <a:off x="6615720" y="3991529"/>
            <a:ext cx="2021160" cy="24847"/>
          </a:xfrm>
          <a:prstGeom prst="straightConnector1">
            <a:avLst/>
          </a:prstGeom>
          <a:noFill/>
          <a:ln w="38100" cap="flat" cmpd="sng" algn="ctr">
            <a:solidFill>
              <a:sysClr val="windowText" lastClr="000000"/>
            </a:solidFill>
            <a:prstDash val="solid"/>
            <a:miter lim="800000"/>
            <a:headEnd type="triangle"/>
            <a:tailEnd type="triangle"/>
          </a:ln>
          <a:effectLst/>
        </p:spPr>
      </p:cxnSp>
      <p:pic>
        <p:nvPicPr>
          <p:cNvPr id="72" name="Picture 14" descr="https://marketplace.canva.com/MAB7k30yU2k/1/thumbnail_large/canva-computer-server-icon-MAB7k30yU2k.png">
            <a:extLst>
              <a:ext uri="{FF2B5EF4-FFF2-40B4-BE49-F238E27FC236}">
                <a16:creationId xmlns:a16="http://schemas.microsoft.com/office/drawing/2014/main" id="{39D19845-7F4D-40B5-B07B-308A3627E5C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77345" y="2665966"/>
            <a:ext cx="2338673" cy="2696583"/>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28" descr="Related image">
            <a:extLst>
              <a:ext uri="{FF2B5EF4-FFF2-40B4-BE49-F238E27FC236}">
                <a16:creationId xmlns:a16="http://schemas.microsoft.com/office/drawing/2014/main" id="{A969D926-5AC1-419E-B6C9-B64266BC72D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23874" y="3212311"/>
            <a:ext cx="1591585" cy="1591585"/>
          </a:xfrm>
          <a:prstGeom prst="rect">
            <a:avLst/>
          </a:prstGeom>
          <a:noFill/>
          <a:extLst>
            <a:ext uri="{909E8E84-426E-40DD-AFC4-6F175D3DCCD1}">
              <a14:hiddenFill xmlns:a14="http://schemas.microsoft.com/office/drawing/2010/main">
                <a:solidFill>
                  <a:srgbClr val="FFFFFF"/>
                </a:solidFill>
              </a14:hiddenFill>
            </a:ext>
          </a:extLst>
        </p:spPr>
      </p:pic>
      <p:sp>
        <p:nvSpPr>
          <p:cNvPr id="74" name="TextBox 73">
            <a:extLst>
              <a:ext uri="{FF2B5EF4-FFF2-40B4-BE49-F238E27FC236}">
                <a16:creationId xmlns:a16="http://schemas.microsoft.com/office/drawing/2014/main" id="{34969881-1576-481A-97D5-DA104FF9F9B6}"/>
              </a:ext>
            </a:extLst>
          </p:cNvPr>
          <p:cNvSpPr txBox="1"/>
          <p:nvPr/>
        </p:nvSpPr>
        <p:spPr>
          <a:xfrm>
            <a:off x="5214724" y="5405608"/>
            <a:ext cx="880177" cy="307777"/>
          </a:xfrm>
          <a:prstGeom prst="rect">
            <a:avLst/>
          </a:prstGeom>
          <a:noFill/>
        </p:spPr>
        <p:txBody>
          <a:bodyPr wrap="none" rtlCol="0">
            <a:spAutoFit/>
          </a:bodyPr>
          <a:lstStyle/>
          <a:p>
            <a:pPr defTabSz="914400"/>
            <a:r>
              <a:rPr lang="en-GB" sz="1400" b="1" dirty="0">
                <a:solidFill>
                  <a:prstClr val="black"/>
                </a:solidFill>
                <a:latin typeface="Calibri" panose="020F0502020204030204"/>
              </a:rPr>
              <a:t>Database</a:t>
            </a:r>
          </a:p>
        </p:txBody>
      </p:sp>
      <p:sp>
        <p:nvSpPr>
          <p:cNvPr id="75" name="TextBox 74">
            <a:extLst>
              <a:ext uri="{FF2B5EF4-FFF2-40B4-BE49-F238E27FC236}">
                <a16:creationId xmlns:a16="http://schemas.microsoft.com/office/drawing/2014/main" id="{579D221D-20AB-4C1A-8254-3C3D49D2CA58}"/>
              </a:ext>
            </a:extLst>
          </p:cNvPr>
          <p:cNvSpPr txBox="1"/>
          <p:nvPr/>
        </p:nvSpPr>
        <p:spPr>
          <a:xfrm>
            <a:off x="2029982" y="5405608"/>
            <a:ext cx="662297" cy="307777"/>
          </a:xfrm>
          <a:prstGeom prst="rect">
            <a:avLst/>
          </a:prstGeom>
          <a:noFill/>
        </p:spPr>
        <p:txBody>
          <a:bodyPr wrap="none" rtlCol="0">
            <a:spAutoFit/>
          </a:bodyPr>
          <a:lstStyle/>
          <a:p>
            <a:pPr defTabSz="914400"/>
            <a:r>
              <a:rPr lang="en-GB" sz="1400" b="1" dirty="0">
                <a:solidFill>
                  <a:prstClr val="black"/>
                </a:solidFill>
                <a:latin typeface="Calibri" panose="020F0502020204030204"/>
              </a:rPr>
              <a:t>Server</a:t>
            </a:r>
          </a:p>
        </p:txBody>
      </p:sp>
      <p:sp>
        <p:nvSpPr>
          <p:cNvPr id="76" name="TextBox 75">
            <a:extLst>
              <a:ext uri="{FF2B5EF4-FFF2-40B4-BE49-F238E27FC236}">
                <a16:creationId xmlns:a16="http://schemas.microsoft.com/office/drawing/2014/main" id="{EEFFDE93-A6A8-481B-83DE-4F7FEAE73D40}"/>
              </a:ext>
            </a:extLst>
          </p:cNvPr>
          <p:cNvSpPr txBox="1"/>
          <p:nvPr/>
        </p:nvSpPr>
        <p:spPr>
          <a:xfrm>
            <a:off x="8613490" y="5412318"/>
            <a:ext cx="615810" cy="307777"/>
          </a:xfrm>
          <a:prstGeom prst="rect">
            <a:avLst/>
          </a:prstGeom>
          <a:noFill/>
        </p:spPr>
        <p:txBody>
          <a:bodyPr wrap="none" rtlCol="0">
            <a:spAutoFit/>
          </a:bodyPr>
          <a:lstStyle/>
          <a:p>
            <a:pPr defTabSz="914400"/>
            <a:r>
              <a:rPr lang="en-GB" sz="1400" b="1" dirty="0">
                <a:solidFill>
                  <a:prstClr val="black"/>
                </a:solidFill>
                <a:latin typeface="Calibri" panose="020F0502020204030204"/>
              </a:rPr>
              <a:t>Client</a:t>
            </a:r>
          </a:p>
        </p:txBody>
      </p:sp>
      <p:pic>
        <p:nvPicPr>
          <p:cNvPr id="77" name="Picture 76">
            <a:extLst>
              <a:ext uri="{FF2B5EF4-FFF2-40B4-BE49-F238E27FC236}">
                <a16:creationId xmlns:a16="http://schemas.microsoft.com/office/drawing/2014/main" id="{D398D9A8-3CEB-471B-9820-094738D8B9D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057682" y="4618624"/>
            <a:ext cx="776759" cy="391671"/>
          </a:xfrm>
          <a:prstGeom prst="rect">
            <a:avLst/>
          </a:prstGeom>
        </p:spPr>
      </p:pic>
      <p:pic>
        <p:nvPicPr>
          <p:cNvPr id="78" name="Picture 77">
            <a:extLst>
              <a:ext uri="{FF2B5EF4-FFF2-40B4-BE49-F238E27FC236}">
                <a16:creationId xmlns:a16="http://schemas.microsoft.com/office/drawing/2014/main" id="{1EFA7903-3003-48B5-ACCF-F459D524D32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063717" y="3021735"/>
            <a:ext cx="676611" cy="257744"/>
          </a:xfrm>
          <a:prstGeom prst="rect">
            <a:avLst/>
          </a:prstGeom>
        </p:spPr>
      </p:pic>
      <p:pic>
        <p:nvPicPr>
          <p:cNvPr id="79" name="Picture 78">
            <a:extLst>
              <a:ext uri="{FF2B5EF4-FFF2-40B4-BE49-F238E27FC236}">
                <a16:creationId xmlns:a16="http://schemas.microsoft.com/office/drawing/2014/main" id="{724A5B48-82CD-4E47-BD70-42505B7E11D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014748" y="3890416"/>
            <a:ext cx="676611" cy="257744"/>
          </a:xfrm>
          <a:prstGeom prst="rect">
            <a:avLst/>
          </a:prstGeom>
        </p:spPr>
      </p:pic>
      <p:pic>
        <p:nvPicPr>
          <p:cNvPr id="80" name="Picture 79">
            <a:extLst>
              <a:ext uri="{FF2B5EF4-FFF2-40B4-BE49-F238E27FC236}">
                <a16:creationId xmlns:a16="http://schemas.microsoft.com/office/drawing/2014/main" id="{045D703F-012D-435B-A633-DEBFD2AC8B6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052279" y="4725308"/>
            <a:ext cx="676611" cy="257744"/>
          </a:xfrm>
          <a:prstGeom prst="rect">
            <a:avLst/>
          </a:prstGeom>
        </p:spPr>
      </p:pic>
      <p:sp>
        <p:nvSpPr>
          <p:cNvPr id="81" name="Rectangle 80">
            <a:extLst>
              <a:ext uri="{FF2B5EF4-FFF2-40B4-BE49-F238E27FC236}">
                <a16:creationId xmlns:a16="http://schemas.microsoft.com/office/drawing/2014/main" id="{AB26AD5A-F00C-4C11-A51C-7F584351DAB4}"/>
              </a:ext>
            </a:extLst>
          </p:cNvPr>
          <p:cNvSpPr/>
          <p:nvPr/>
        </p:nvSpPr>
        <p:spPr>
          <a:xfrm>
            <a:off x="960119" y="1126061"/>
            <a:ext cx="9899730" cy="4663270"/>
          </a:xfrm>
          <a:prstGeom prst="rect">
            <a:avLst/>
          </a:prstGeom>
          <a:no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82" name="Straight Arrow Connector 81">
            <a:extLst>
              <a:ext uri="{FF2B5EF4-FFF2-40B4-BE49-F238E27FC236}">
                <a16:creationId xmlns:a16="http://schemas.microsoft.com/office/drawing/2014/main" id="{0AE592B9-B8CE-4371-8FDD-4EF5BCAC9E0C}"/>
              </a:ext>
            </a:extLst>
          </p:cNvPr>
          <p:cNvCxnSpPr>
            <a:cxnSpLocks/>
            <a:endCxn id="62" idx="1"/>
          </p:cNvCxnSpPr>
          <p:nvPr/>
        </p:nvCxnSpPr>
        <p:spPr>
          <a:xfrm flipV="1">
            <a:off x="6615720" y="3144024"/>
            <a:ext cx="1062409" cy="515602"/>
          </a:xfrm>
          <a:prstGeom prst="straightConnector1">
            <a:avLst/>
          </a:prstGeom>
          <a:noFill/>
          <a:ln w="38100" cap="flat" cmpd="sng" algn="ctr">
            <a:solidFill>
              <a:sysClr val="windowText" lastClr="000000"/>
            </a:solidFill>
            <a:prstDash val="solid"/>
            <a:miter lim="800000"/>
            <a:headEnd type="triangle"/>
            <a:tailEnd type="triangle"/>
          </a:ln>
          <a:effectLst/>
        </p:spPr>
      </p:cxnSp>
      <p:cxnSp>
        <p:nvCxnSpPr>
          <p:cNvPr id="83" name="Straight Arrow Connector 82">
            <a:extLst>
              <a:ext uri="{FF2B5EF4-FFF2-40B4-BE49-F238E27FC236}">
                <a16:creationId xmlns:a16="http://schemas.microsoft.com/office/drawing/2014/main" id="{80A4E4ED-9F71-4425-9DED-94AC860B4E2B}"/>
              </a:ext>
            </a:extLst>
          </p:cNvPr>
          <p:cNvCxnSpPr>
            <a:cxnSpLocks/>
            <a:endCxn id="66" idx="1"/>
          </p:cNvCxnSpPr>
          <p:nvPr/>
        </p:nvCxnSpPr>
        <p:spPr>
          <a:xfrm>
            <a:off x="6615720" y="4387855"/>
            <a:ext cx="1062409" cy="483726"/>
          </a:xfrm>
          <a:prstGeom prst="straightConnector1">
            <a:avLst/>
          </a:prstGeom>
          <a:noFill/>
          <a:ln w="38100" cap="flat" cmpd="sng" algn="ctr">
            <a:solidFill>
              <a:sysClr val="windowText" lastClr="000000"/>
            </a:solidFill>
            <a:prstDash val="solid"/>
            <a:miter lim="800000"/>
            <a:headEnd type="triangle"/>
            <a:tailEnd type="triangle"/>
          </a:ln>
          <a:effectLst/>
        </p:spPr>
      </p:cxnSp>
      <p:pic>
        <p:nvPicPr>
          <p:cNvPr id="84" name="Picture 83">
            <a:extLst>
              <a:ext uri="{FF2B5EF4-FFF2-40B4-BE49-F238E27FC236}">
                <a16:creationId xmlns:a16="http://schemas.microsoft.com/office/drawing/2014/main" id="{0B72C8FD-D278-4C5F-9499-BDCC00ADCFD0}"/>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6388" t="12310" r="6504" b="13820"/>
          <a:stretch/>
        </p:blipFill>
        <p:spPr bwMode="auto">
          <a:xfrm>
            <a:off x="2044133" y="4198080"/>
            <a:ext cx="764838" cy="334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spTree>
    <p:extLst>
      <p:ext uri="{BB962C8B-B14F-4D97-AF65-F5344CB8AC3E}">
        <p14:creationId xmlns:p14="http://schemas.microsoft.com/office/powerpoint/2010/main" val="2989527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Rounded Rectangle 96"/>
          <p:cNvSpPr/>
          <p:nvPr/>
        </p:nvSpPr>
        <p:spPr>
          <a:xfrm>
            <a:off x="89203" y="993711"/>
            <a:ext cx="5139423" cy="2796666"/>
          </a:xfrm>
          <a:prstGeom prst="roundRect">
            <a:avLst>
              <a:gd name="adj" fmla="val 4202"/>
            </a:avLst>
          </a:prstGeom>
          <a:noFill/>
          <a:ln w="9525" cap="flat" cmpd="sng" algn="ctr">
            <a:noFill/>
            <a:prstDash val="solid"/>
            <a:round/>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0">
            <a:scrgbClr r="0" g="0" b="0"/>
          </a:lnRef>
          <a:fillRef idx="0">
            <a:scrgbClr r="0" g="0" b="0"/>
          </a:fillRef>
          <a:effectRef idx="0">
            <a:scrgbClr r="0" g="0" b="0"/>
          </a:effectRef>
          <a:fontRef idx="minor">
            <a:schemeClr val="accent6"/>
          </a:fontRef>
        </p:style>
        <p:txBody>
          <a:bodyPr rtlCol="0" anchor="ctr"/>
          <a:lstStyle/>
          <a:p>
            <a:pPr algn="ctr"/>
            <a:endParaRPr lang="en-US" sz="1500"/>
          </a:p>
        </p:txBody>
      </p:sp>
      <p:pic>
        <p:nvPicPr>
          <p:cNvPr id="4" name="Picture 3">
            <a:extLst>
              <a:ext uri="{FF2B5EF4-FFF2-40B4-BE49-F238E27FC236}">
                <a16:creationId xmlns:a16="http://schemas.microsoft.com/office/drawing/2014/main" id="{754CA34F-7DA2-4E18-AE9B-AE9921DB37F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869480" y="2906716"/>
            <a:ext cx="1031992" cy="457200"/>
          </a:xfrm>
          <a:prstGeom prst="rect">
            <a:avLst/>
          </a:prstGeom>
        </p:spPr>
      </p:pic>
      <p:pic>
        <p:nvPicPr>
          <p:cNvPr id="5" name="Picture 4" descr="Logo&#10;&#10;Description automatically generated with low confidence">
            <a:extLst>
              <a:ext uri="{FF2B5EF4-FFF2-40B4-BE49-F238E27FC236}">
                <a16:creationId xmlns:a16="http://schemas.microsoft.com/office/drawing/2014/main" id="{74880E6E-9C4A-46D1-89E3-DDD718CECA93}"/>
              </a:ext>
            </a:extLst>
          </p:cNvPr>
          <p:cNvPicPr>
            <a:picLocks noChangeAspect="1"/>
          </p:cNvPicPr>
          <p:nvPr/>
        </p:nvPicPr>
        <p:blipFill>
          <a:blip r:embed="rId3"/>
          <a:stretch>
            <a:fillRect/>
          </a:stretch>
        </p:blipFill>
        <p:spPr>
          <a:xfrm>
            <a:off x="5595141" y="1425138"/>
            <a:ext cx="1361455" cy="609600"/>
          </a:xfrm>
          <a:prstGeom prst="rect">
            <a:avLst/>
          </a:prstGeom>
        </p:spPr>
      </p:pic>
      <p:sp>
        <p:nvSpPr>
          <p:cNvPr id="7" name="Right Arrow 6"/>
          <p:cNvSpPr/>
          <p:nvPr/>
        </p:nvSpPr>
        <p:spPr>
          <a:xfrm>
            <a:off x="5267101" y="1683886"/>
            <a:ext cx="2745619" cy="1536095"/>
          </a:xfrm>
          <a:prstGeom prst="rightArrow">
            <a:avLst/>
          </a:prstGeom>
          <a:solidFill>
            <a:srgbClr val="F27724"/>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a:r>
              <a:rPr lang="en-US" sz="1500" dirty="0"/>
              <a:t>6.X – An Enterprise Automation Platform </a:t>
            </a:r>
          </a:p>
        </p:txBody>
      </p:sp>
      <p:grpSp>
        <p:nvGrpSpPr>
          <p:cNvPr id="95" name="Group 94"/>
          <p:cNvGrpSpPr/>
          <p:nvPr/>
        </p:nvGrpSpPr>
        <p:grpSpPr>
          <a:xfrm>
            <a:off x="1572904" y="4014408"/>
            <a:ext cx="3585828" cy="2202020"/>
            <a:chOff x="9832033" y="4724767"/>
            <a:chExt cx="4302993" cy="2567622"/>
          </a:xfrm>
        </p:grpSpPr>
        <p:sp>
          <p:nvSpPr>
            <p:cNvPr id="51" name="Rounded Rectangle 50"/>
            <p:cNvSpPr/>
            <p:nvPr/>
          </p:nvSpPr>
          <p:spPr>
            <a:xfrm>
              <a:off x="9832033" y="4724767"/>
              <a:ext cx="4302993" cy="2518116"/>
            </a:xfrm>
            <a:prstGeom prst="roundRect">
              <a:avLst>
                <a:gd name="adj" fmla="val 5694"/>
              </a:avLst>
            </a:prstGeom>
            <a:solidFill>
              <a:srgbClr val="F2F7FC"/>
            </a:solidFill>
            <a:ln>
              <a:solidFill>
                <a:schemeClr val="accent1"/>
              </a:solid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sz="1500"/>
            </a:p>
          </p:txBody>
        </p:sp>
        <p:grpSp>
          <p:nvGrpSpPr>
            <p:cNvPr id="55" name="Group 54"/>
            <p:cNvGrpSpPr/>
            <p:nvPr/>
          </p:nvGrpSpPr>
          <p:grpSpPr>
            <a:xfrm>
              <a:off x="10188775" y="4865875"/>
              <a:ext cx="662733" cy="662733"/>
              <a:chOff x="10687464" y="5137242"/>
              <a:chExt cx="662733" cy="662733"/>
            </a:xfrm>
          </p:grpSpPr>
          <p:pic>
            <p:nvPicPr>
              <p:cNvPr id="52" name="Picture 5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87464" y="5137242"/>
                <a:ext cx="662733" cy="662733"/>
              </a:xfrm>
              <a:prstGeom prst="rect">
                <a:avLst/>
              </a:prstGeom>
            </p:spPr>
          </p:pic>
          <p:sp>
            <p:nvSpPr>
              <p:cNvPr id="53" name="Rectangle 52"/>
              <p:cNvSpPr/>
              <p:nvPr/>
            </p:nvSpPr>
            <p:spPr>
              <a:xfrm>
                <a:off x="10731667" y="5261122"/>
                <a:ext cx="574325" cy="366131"/>
              </a:xfrm>
              <a:prstGeom prst="rect">
                <a:avLst/>
              </a:prstGeom>
              <a:solidFill>
                <a:schemeClr val="bg1"/>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sz="1500"/>
              </a:p>
            </p:txBody>
          </p:sp>
          <p:pic>
            <p:nvPicPr>
              <p:cNvPr id="54" name="Picture 5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895713" y="5370406"/>
                <a:ext cx="273997" cy="151171"/>
              </a:xfrm>
              <a:prstGeom prst="rect">
                <a:avLst/>
              </a:prstGeom>
            </p:spPr>
          </p:pic>
        </p:grpSp>
        <p:grpSp>
          <p:nvGrpSpPr>
            <p:cNvPr id="56" name="Group 55"/>
            <p:cNvGrpSpPr/>
            <p:nvPr/>
          </p:nvGrpSpPr>
          <p:grpSpPr>
            <a:xfrm>
              <a:off x="10232980" y="6344043"/>
              <a:ext cx="662733" cy="662733"/>
              <a:chOff x="10687464" y="5137242"/>
              <a:chExt cx="662733" cy="662733"/>
            </a:xfrm>
          </p:grpSpPr>
          <p:pic>
            <p:nvPicPr>
              <p:cNvPr id="57" name="Picture 5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87464" y="5137242"/>
                <a:ext cx="662733" cy="662733"/>
              </a:xfrm>
              <a:prstGeom prst="rect">
                <a:avLst/>
              </a:prstGeom>
            </p:spPr>
          </p:pic>
          <p:sp>
            <p:nvSpPr>
              <p:cNvPr id="58" name="Rectangle 57"/>
              <p:cNvSpPr/>
              <p:nvPr/>
            </p:nvSpPr>
            <p:spPr>
              <a:xfrm>
                <a:off x="10731667" y="5261122"/>
                <a:ext cx="574325" cy="366131"/>
              </a:xfrm>
              <a:prstGeom prst="rect">
                <a:avLst/>
              </a:prstGeom>
              <a:solidFill>
                <a:schemeClr val="bg1"/>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sz="1500"/>
              </a:p>
            </p:txBody>
          </p:sp>
          <p:pic>
            <p:nvPicPr>
              <p:cNvPr id="59" name="Picture 5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895713" y="5370406"/>
                <a:ext cx="273997" cy="151171"/>
              </a:xfrm>
              <a:prstGeom prst="rect">
                <a:avLst/>
              </a:prstGeom>
            </p:spPr>
          </p:pic>
        </p:grpSp>
        <p:grpSp>
          <p:nvGrpSpPr>
            <p:cNvPr id="60" name="Group 59"/>
            <p:cNvGrpSpPr/>
            <p:nvPr/>
          </p:nvGrpSpPr>
          <p:grpSpPr>
            <a:xfrm>
              <a:off x="13105396" y="4865875"/>
              <a:ext cx="662733" cy="662733"/>
              <a:chOff x="10687464" y="5137242"/>
              <a:chExt cx="662733" cy="662733"/>
            </a:xfrm>
          </p:grpSpPr>
          <p:pic>
            <p:nvPicPr>
              <p:cNvPr id="61" name="Picture 6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87464" y="5137242"/>
                <a:ext cx="662733" cy="662733"/>
              </a:xfrm>
              <a:prstGeom prst="rect">
                <a:avLst/>
              </a:prstGeom>
            </p:spPr>
          </p:pic>
          <p:sp>
            <p:nvSpPr>
              <p:cNvPr id="62" name="Rectangle 61"/>
              <p:cNvSpPr/>
              <p:nvPr/>
            </p:nvSpPr>
            <p:spPr>
              <a:xfrm>
                <a:off x="10731667" y="5261122"/>
                <a:ext cx="574325" cy="366131"/>
              </a:xfrm>
              <a:prstGeom prst="rect">
                <a:avLst/>
              </a:prstGeom>
              <a:solidFill>
                <a:schemeClr val="bg1"/>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sz="1500"/>
              </a:p>
            </p:txBody>
          </p:sp>
          <p:pic>
            <p:nvPicPr>
              <p:cNvPr id="63" name="Picture 6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895713" y="5370406"/>
                <a:ext cx="273997" cy="151171"/>
              </a:xfrm>
              <a:prstGeom prst="rect">
                <a:avLst/>
              </a:prstGeom>
            </p:spPr>
          </p:pic>
        </p:grpSp>
        <p:grpSp>
          <p:nvGrpSpPr>
            <p:cNvPr id="64" name="Group 63"/>
            <p:cNvGrpSpPr/>
            <p:nvPr/>
          </p:nvGrpSpPr>
          <p:grpSpPr>
            <a:xfrm>
              <a:off x="13149601" y="6344043"/>
              <a:ext cx="662733" cy="662733"/>
              <a:chOff x="10687464" y="5137242"/>
              <a:chExt cx="662733" cy="662733"/>
            </a:xfrm>
          </p:grpSpPr>
          <p:pic>
            <p:nvPicPr>
              <p:cNvPr id="65" name="Picture 6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87464" y="5137242"/>
                <a:ext cx="662733" cy="662733"/>
              </a:xfrm>
              <a:prstGeom prst="rect">
                <a:avLst/>
              </a:prstGeom>
            </p:spPr>
          </p:pic>
          <p:sp>
            <p:nvSpPr>
              <p:cNvPr id="66" name="Rectangle 65"/>
              <p:cNvSpPr/>
              <p:nvPr/>
            </p:nvSpPr>
            <p:spPr>
              <a:xfrm>
                <a:off x="10731667" y="5261122"/>
                <a:ext cx="574325" cy="366131"/>
              </a:xfrm>
              <a:prstGeom prst="rect">
                <a:avLst/>
              </a:prstGeom>
              <a:solidFill>
                <a:schemeClr val="bg1"/>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sz="1500"/>
              </a:p>
            </p:txBody>
          </p:sp>
          <p:pic>
            <p:nvPicPr>
              <p:cNvPr id="67" name="Picture 6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895713" y="5370406"/>
                <a:ext cx="273997" cy="151171"/>
              </a:xfrm>
              <a:prstGeom prst="rect">
                <a:avLst/>
              </a:prstGeom>
            </p:spPr>
          </p:pic>
        </p:grpSp>
        <p:cxnSp>
          <p:nvCxnSpPr>
            <p:cNvPr id="69" name="Straight Arrow Connector 68"/>
            <p:cNvCxnSpPr/>
            <p:nvPr/>
          </p:nvCxnSpPr>
          <p:spPr>
            <a:xfrm>
              <a:off x="10912845" y="5171611"/>
              <a:ext cx="2080058" cy="0"/>
            </a:xfrm>
            <a:prstGeom prst="straightConnector1">
              <a:avLst/>
            </a:prstGeom>
            <a:ln w="38100" cap="sq">
              <a:prstDash val="sysDash"/>
              <a:headEnd type="triangle" w="med" len="med"/>
              <a:tailEnd type="triangle" w="med" len="med"/>
            </a:ln>
          </p:spPr>
          <p:style>
            <a:lnRef idx="1">
              <a:schemeClr val="accent1"/>
            </a:lnRef>
            <a:fillRef idx="0">
              <a:schemeClr val="accent1"/>
            </a:fillRef>
            <a:effectRef idx="0">
              <a:schemeClr val="accent1"/>
            </a:effectRef>
            <a:fontRef idx="minor">
              <a:schemeClr val="lt1"/>
            </a:fontRef>
          </p:style>
        </p:cxnSp>
        <p:cxnSp>
          <p:nvCxnSpPr>
            <p:cNvPr id="70" name="Straight Arrow Connector 69"/>
            <p:cNvCxnSpPr/>
            <p:nvPr/>
          </p:nvCxnSpPr>
          <p:spPr>
            <a:xfrm>
              <a:off x="10952766" y="6533190"/>
              <a:ext cx="2080058" cy="0"/>
            </a:xfrm>
            <a:prstGeom prst="straightConnector1">
              <a:avLst/>
            </a:prstGeom>
            <a:ln w="38100" cap="sq">
              <a:prstDash val="sysDash"/>
              <a:headEnd type="triangle" w="med" len="med"/>
              <a:tailEnd type="triangle" w="med" len="med"/>
            </a:ln>
          </p:spPr>
          <p:style>
            <a:lnRef idx="1">
              <a:schemeClr val="accent1"/>
            </a:lnRef>
            <a:fillRef idx="0">
              <a:schemeClr val="accent1"/>
            </a:fillRef>
            <a:effectRef idx="0">
              <a:schemeClr val="accent1"/>
            </a:effectRef>
            <a:fontRef idx="minor">
              <a:schemeClr val="lt1"/>
            </a:fontRef>
          </p:style>
        </p:cxnSp>
        <p:cxnSp>
          <p:nvCxnSpPr>
            <p:cNvPr id="71" name="Straight Arrow Connector 70"/>
            <p:cNvCxnSpPr/>
            <p:nvPr/>
          </p:nvCxnSpPr>
          <p:spPr>
            <a:xfrm flipV="1">
              <a:off x="10520041" y="5760857"/>
              <a:ext cx="0" cy="643497"/>
            </a:xfrm>
            <a:prstGeom prst="straightConnector1">
              <a:avLst/>
            </a:prstGeom>
            <a:ln w="38100" cap="sq">
              <a:prstDash val="sysDash"/>
              <a:headEnd type="triangle" w="med" len="med"/>
              <a:tailEnd type="triangle" w="med" len="med"/>
            </a:ln>
          </p:spPr>
          <p:style>
            <a:lnRef idx="1">
              <a:schemeClr val="accent1"/>
            </a:lnRef>
            <a:fillRef idx="0">
              <a:schemeClr val="accent1"/>
            </a:fillRef>
            <a:effectRef idx="0">
              <a:schemeClr val="accent1"/>
            </a:effectRef>
            <a:fontRef idx="minor">
              <a:schemeClr val="lt1"/>
            </a:fontRef>
          </p:style>
        </p:cxnSp>
        <p:cxnSp>
          <p:nvCxnSpPr>
            <p:cNvPr id="74" name="Straight Arrow Connector 73"/>
            <p:cNvCxnSpPr/>
            <p:nvPr/>
          </p:nvCxnSpPr>
          <p:spPr>
            <a:xfrm flipV="1">
              <a:off x="13438364" y="5760857"/>
              <a:ext cx="0" cy="643497"/>
            </a:xfrm>
            <a:prstGeom prst="straightConnector1">
              <a:avLst/>
            </a:prstGeom>
            <a:ln w="38100" cap="sq">
              <a:prstDash val="sysDash"/>
              <a:headEnd type="triangle" w="med" len="med"/>
              <a:tailEnd type="triangle" w="med" len="med"/>
            </a:ln>
          </p:spPr>
          <p:style>
            <a:lnRef idx="1">
              <a:schemeClr val="accent1"/>
            </a:lnRef>
            <a:fillRef idx="0">
              <a:schemeClr val="accent1"/>
            </a:fillRef>
            <a:effectRef idx="0">
              <a:schemeClr val="accent1"/>
            </a:effectRef>
            <a:fontRef idx="minor">
              <a:schemeClr val="lt1"/>
            </a:fontRef>
          </p:style>
        </p:cxnSp>
        <p:sp>
          <p:nvSpPr>
            <p:cNvPr id="75" name="TextBox 74"/>
            <p:cNvSpPr txBox="1"/>
            <p:nvPr/>
          </p:nvSpPr>
          <p:spPr>
            <a:xfrm>
              <a:off x="10217057" y="5484003"/>
              <a:ext cx="648641" cy="287101"/>
            </a:xfrm>
            <a:prstGeom prst="rect">
              <a:avLst/>
            </a:prstGeom>
            <a:noFill/>
          </p:spPr>
          <p:txBody>
            <a:bodyPr wrap="none" rtlCol="0">
              <a:spAutoFit/>
            </a:bodyPr>
            <a:lstStyle/>
            <a:p>
              <a:pPr algn="ctr"/>
              <a:r>
                <a:rPr lang="en-US" sz="1000" b="1" dirty="0">
                  <a:solidFill>
                    <a:schemeClr val="accent1">
                      <a:lumMod val="75000"/>
                    </a:schemeClr>
                  </a:solidFill>
                </a:rPr>
                <a:t>Client</a:t>
              </a:r>
            </a:p>
          </p:txBody>
        </p:sp>
        <p:sp>
          <p:nvSpPr>
            <p:cNvPr id="76" name="TextBox 75"/>
            <p:cNvSpPr txBox="1"/>
            <p:nvPr/>
          </p:nvSpPr>
          <p:spPr>
            <a:xfrm>
              <a:off x="13102120" y="5477285"/>
              <a:ext cx="648641" cy="287101"/>
            </a:xfrm>
            <a:prstGeom prst="rect">
              <a:avLst/>
            </a:prstGeom>
            <a:noFill/>
          </p:spPr>
          <p:txBody>
            <a:bodyPr wrap="none" rtlCol="0">
              <a:spAutoFit/>
            </a:bodyPr>
            <a:lstStyle/>
            <a:p>
              <a:pPr algn="ctr"/>
              <a:r>
                <a:rPr lang="en-US" sz="1000" b="1" dirty="0">
                  <a:solidFill>
                    <a:schemeClr val="accent1">
                      <a:lumMod val="75000"/>
                    </a:schemeClr>
                  </a:solidFill>
                </a:rPr>
                <a:t>Client</a:t>
              </a:r>
            </a:p>
          </p:txBody>
        </p:sp>
        <p:sp>
          <p:nvSpPr>
            <p:cNvPr id="77" name="TextBox 76"/>
            <p:cNvSpPr txBox="1"/>
            <p:nvPr/>
          </p:nvSpPr>
          <p:spPr>
            <a:xfrm>
              <a:off x="10264391" y="7005288"/>
              <a:ext cx="648641" cy="287101"/>
            </a:xfrm>
            <a:prstGeom prst="rect">
              <a:avLst/>
            </a:prstGeom>
            <a:noFill/>
          </p:spPr>
          <p:txBody>
            <a:bodyPr wrap="none" rtlCol="0">
              <a:spAutoFit/>
            </a:bodyPr>
            <a:lstStyle/>
            <a:p>
              <a:pPr algn="ctr"/>
              <a:r>
                <a:rPr lang="en-US" sz="1000" b="1" dirty="0">
                  <a:solidFill>
                    <a:schemeClr val="accent1">
                      <a:lumMod val="75000"/>
                    </a:schemeClr>
                  </a:solidFill>
                </a:rPr>
                <a:t>Client</a:t>
              </a:r>
            </a:p>
          </p:txBody>
        </p:sp>
        <p:sp>
          <p:nvSpPr>
            <p:cNvPr id="78" name="TextBox 77"/>
            <p:cNvSpPr txBox="1"/>
            <p:nvPr/>
          </p:nvSpPr>
          <p:spPr>
            <a:xfrm>
              <a:off x="13149454" y="6969542"/>
              <a:ext cx="648641" cy="287101"/>
            </a:xfrm>
            <a:prstGeom prst="rect">
              <a:avLst/>
            </a:prstGeom>
            <a:noFill/>
          </p:spPr>
          <p:txBody>
            <a:bodyPr wrap="none" rtlCol="0">
              <a:spAutoFit/>
            </a:bodyPr>
            <a:lstStyle/>
            <a:p>
              <a:pPr algn="ctr"/>
              <a:r>
                <a:rPr lang="en-US" sz="1000" b="1" dirty="0">
                  <a:solidFill>
                    <a:schemeClr val="accent1">
                      <a:lumMod val="75000"/>
                    </a:schemeClr>
                  </a:solidFill>
                </a:rPr>
                <a:t>Client</a:t>
              </a:r>
            </a:p>
          </p:txBody>
        </p:sp>
        <p:sp>
          <p:nvSpPr>
            <p:cNvPr id="79" name="TextBox 78"/>
            <p:cNvSpPr txBox="1"/>
            <p:nvPr/>
          </p:nvSpPr>
          <p:spPr>
            <a:xfrm>
              <a:off x="10854741" y="4791262"/>
              <a:ext cx="321628" cy="317083"/>
            </a:xfrm>
            <a:prstGeom prst="rect">
              <a:avLst/>
            </a:prstGeom>
            <a:noFill/>
          </p:spPr>
          <p:txBody>
            <a:bodyPr wrap="none" rtlCol="0">
              <a:spAutoFit/>
            </a:bodyPr>
            <a:lstStyle/>
            <a:p>
              <a:pPr algn="ctr"/>
              <a:r>
                <a:rPr lang="en-US" sz="1167" b="1" dirty="0">
                  <a:solidFill>
                    <a:schemeClr val="accent1">
                      <a:lumMod val="75000"/>
                    </a:schemeClr>
                  </a:solidFill>
                </a:rPr>
                <a:t>1</a:t>
              </a:r>
            </a:p>
          </p:txBody>
        </p:sp>
        <p:sp>
          <p:nvSpPr>
            <p:cNvPr id="80" name="TextBox 79"/>
            <p:cNvSpPr txBox="1"/>
            <p:nvPr/>
          </p:nvSpPr>
          <p:spPr>
            <a:xfrm>
              <a:off x="12710864" y="4776931"/>
              <a:ext cx="331246" cy="317083"/>
            </a:xfrm>
            <a:prstGeom prst="rect">
              <a:avLst/>
            </a:prstGeom>
            <a:noFill/>
          </p:spPr>
          <p:txBody>
            <a:bodyPr wrap="none" rtlCol="0">
              <a:spAutoFit/>
            </a:bodyPr>
            <a:lstStyle/>
            <a:p>
              <a:pPr algn="ctr"/>
              <a:r>
                <a:rPr lang="en-US" sz="1167" b="1" dirty="0">
                  <a:solidFill>
                    <a:schemeClr val="accent1">
                      <a:lumMod val="75000"/>
                    </a:schemeClr>
                  </a:solidFill>
                </a:rPr>
                <a:t>n</a:t>
              </a:r>
            </a:p>
          </p:txBody>
        </p:sp>
        <p:sp>
          <p:nvSpPr>
            <p:cNvPr id="81" name="TextBox 80"/>
            <p:cNvSpPr txBox="1"/>
            <p:nvPr/>
          </p:nvSpPr>
          <p:spPr>
            <a:xfrm>
              <a:off x="13067518" y="6119912"/>
              <a:ext cx="331246" cy="317083"/>
            </a:xfrm>
            <a:prstGeom prst="rect">
              <a:avLst/>
            </a:prstGeom>
            <a:noFill/>
          </p:spPr>
          <p:txBody>
            <a:bodyPr wrap="none" rtlCol="0">
              <a:spAutoFit/>
            </a:bodyPr>
            <a:lstStyle/>
            <a:p>
              <a:pPr algn="ctr"/>
              <a:r>
                <a:rPr lang="en-US" sz="1167" b="1" dirty="0">
                  <a:solidFill>
                    <a:schemeClr val="accent1">
                      <a:lumMod val="75000"/>
                    </a:schemeClr>
                  </a:solidFill>
                </a:rPr>
                <a:t>n</a:t>
              </a:r>
            </a:p>
          </p:txBody>
        </p:sp>
        <p:sp>
          <p:nvSpPr>
            <p:cNvPr id="82" name="TextBox 81"/>
            <p:cNvSpPr txBox="1"/>
            <p:nvPr/>
          </p:nvSpPr>
          <p:spPr>
            <a:xfrm>
              <a:off x="12807650" y="6591590"/>
              <a:ext cx="331246" cy="317083"/>
            </a:xfrm>
            <a:prstGeom prst="rect">
              <a:avLst/>
            </a:prstGeom>
            <a:noFill/>
          </p:spPr>
          <p:txBody>
            <a:bodyPr wrap="none" rtlCol="0">
              <a:spAutoFit/>
            </a:bodyPr>
            <a:lstStyle/>
            <a:p>
              <a:pPr algn="ctr"/>
              <a:r>
                <a:rPr lang="en-US" sz="1167" b="1" dirty="0">
                  <a:solidFill>
                    <a:schemeClr val="accent1">
                      <a:lumMod val="75000"/>
                    </a:schemeClr>
                  </a:solidFill>
                </a:rPr>
                <a:t>n</a:t>
              </a:r>
            </a:p>
          </p:txBody>
        </p:sp>
        <p:sp>
          <p:nvSpPr>
            <p:cNvPr id="83" name="TextBox 82"/>
            <p:cNvSpPr txBox="1"/>
            <p:nvPr/>
          </p:nvSpPr>
          <p:spPr>
            <a:xfrm>
              <a:off x="10178562" y="6146736"/>
              <a:ext cx="331246" cy="317083"/>
            </a:xfrm>
            <a:prstGeom prst="rect">
              <a:avLst/>
            </a:prstGeom>
            <a:noFill/>
          </p:spPr>
          <p:txBody>
            <a:bodyPr wrap="none" rtlCol="0">
              <a:spAutoFit/>
            </a:bodyPr>
            <a:lstStyle/>
            <a:p>
              <a:pPr algn="ctr"/>
              <a:r>
                <a:rPr lang="en-US" sz="1167" b="1" dirty="0">
                  <a:solidFill>
                    <a:schemeClr val="accent1">
                      <a:lumMod val="75000"/>
                    </a:schemeClr>
                  </a:solidFill>
                </a:rPr>
                <a:t>n</a:t>
              </a:r>
            </a:p>
          </p:txBody>
        </p:sp>
        <p:sp>
          <p:nvSpPr>
            <p:cNvPr id="84" name="TextBox 83"/>
            <p:cNvSpPr txBox="1"/>
            <p:nvPr/>
          </p:nvSpPr>
          <p:spPr>
            <a:xfrm>
              <a:off x="10178562" y="5714449"/>
              <a:ext cx="321628" cy="317083"/>
            </a:xfrm>
            <a:prstGeom prst="rect">
              <a:avLst/>
            </a:prstGeom>
            <a:noFill/>
          </p:spPr>
          <p:txBody>
            <a:bodyPr wrap="none" rtlCol="0">
              <a:spAutoFit/>
            </a:bodyPr>
            <a:lstStyle/>
            <a:p>
              <a:pPr algn="ctr"/>
              <a:r>
                <a:rPr lang="en-US" sz="1167" b="1" dirty="0">
                  <a:solidFill>
                    <a:schemeClr val="accent1">
                      <a:lumMod val="75000"/>
                    </a:schemeClr>
                  </a:solidFill>
                </a:rPr>
                <a:t>1</a:t>
              </a:r>
            </a:p>
          </p:txBody>
        </p:sp>
        <p:sp>
          <p:nvSpPr>
            <p:cNvPr id="85" name="TextBox 84"/>
            <p:cNvSpPr txBox="1"/>
            <p:nvPr/>
          </p:nvSpPr>
          <p:spPr>
            <a:xfrm>
              <a:off x="13072095" y="5696805"/>
              <a:ext cx="321628" cy="317083"/>
            </a:xfrm>
            <a:prstGeom prst="rect">
              <a:avLst/>
            </a:prstGeom>
            <a:noFill/>
          </p:spPr>
          <p:txBody>
            <a:bodyPr wrap="none" rtlCol="0">
              <a:spAutoFit/>
            </a:bodyPr>
            <a:lstStyle/>
            <a:p>
              <a:pPr algn="ctr"/>
              <a:r>
                <a:rPr lang="en-US" sz="1167" b="1" dirty="0">
                  <a:solidFill>
                    <a:schemeClr val="accent1">
                      <a:lumMod val="75000"/>
                    </a:schemeClr>
                  </a:solidFill>
                </a:rPr>
                <a:t>1</a:t>
              </a:r>
            </a:p>
          </p:txBody>
        </p:sp>
        <p:sp>
          <p:nvSpPr>
            <p:cNvPr id="86" name="TextBox 85"/>
            <p:cNvSpPr txBox="1"/>
            <p:nvPr/>
          </p:nvSpPr>
          <p:spPr>
            <a:xfrm>
              <a:off x="10906420" y="6650988"/>
              <a:ext cx="321628" cy="317083"/>
            </a:xfrm>
            <a:prstGeom prst="rect">
              <a:avLst/>
            </a:prstGeom>
            <a:noFill/>
          </p:spPr>
          <p:txBody>
            <a:bodyPr wrap="none" rtlCol="0">
              <a:spAutoFit/>
            </a:bodyPr>
            <a:lstStyle/>
            <a:p>
              <a:pPr algn="ctr"/>
              <a:r>
                <a:rPr lang="en-US" sz="1167" b="1" dirty="0">
                  <a:solidFill>
                    <a:schemeClr val="accent1">
                      <a:lumMod val="75000"/>
                    </a:schemeClr>
                  </a:solidFill>
                </a:rPr>
                <a:t>1</a:t>
              </a:r>
            </a:p>
          </p:txBody>
        </p:sp>
      </p:grpSp>
      <p:grpSp>
        <p:nvGrpSpPr>
          <p:cNvPr id="88" name="Group 87"/>
          <p:cNvGrpSpPr/>
          <p:nvPr/>
        </p:nvGrpSpPr>
        <p:grpSpPr>
          <a:xfrm>
            <a:off x="130737" y="1073879"/>
            <a:ext cx="4937487" cy="2926872"/>
            <a:chOff x="8235993" y="652987"/>
            <a:chExt cx="5924984" cy="4024459"/>
          </a:xfrm>
        </p:grpSpPr>
        <p:sp>
          <p:nvSpPr>
            <p:cNvPr id="49" name="Rounded Rectangle 48"/>
            <p:cNvSpPr/>
            <p:nvPr/>
          </p:nvSpPr>
          <p:spPr>
            <a:xfrm>
              <a:off x="8267474" y="742951"/>
              <a:ext cx="2089760" cy="3224363"/>
            </a:xfrm>
            <a:prstGeom prst="roundRect">
              <a:avLst>
                <a:gd name="adj" fmla="val 5694"/>
              </a:avLst>
            </a:prstGeom>
            <a:solidFill>
              <a:srgbClr val="F2F7FC"/>
            </a:solidFill>
            <a:ln>
              <a:solidFill>
                <a:schemeClr val="accent1"/>
              </a:solid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sz="1500"/>
            </a:p>
          </p:txBody>
        </p:sp>
        <p:sp>
          <p:nvSpPr>
            <p:cNvPr id="47" name="Rounded Rectangle 46"/>
            <p:cNvSpPr/>
            <p:nvPr/>
          </p:nvSpPr>
          <p:spPr>
            <a:xfrm>
              <a:off x="11383273" y="742950"/>
              <a:ext cx="2777704" cy="3177901"/>
            </a:xfrm>
            <a:prstGeom prst="roundRect">
              <a:avLst>
                <a:gd name="adj" fmla="val 5694"/>
              </a:avLst>
            </a:prstGeom>
            <a:solidFill>
              <a:srgbClr val="F2F7FC"/>
            </a:solidFill>
            <a:ln>
              <a:solidFill>
                <a:schemeClr val="accent1"/>
              </a:solid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sz="1500"/>
            </a:p>
          </p:txBody>
        </p:sp>
        <p:sp>
          <p:nvSpPr>
            <p:cNvPr id="14" name="TextBox 13"/>
            <p:cNvSpPr txBox="1"/>
            <p:nvPr/>
          </p:nvSpPr>
          <p:spPr>
            <a:xfrm>
              <a:off x="8235993" y="3383003"/>
              <a:ext cx="2152719" cy="620861"/>
            </a:xfrm>
            <a:prstGeom prst="rect">
              <a:avLst/>
            </a:prstGeom>
            <a:noFill/>
          </p:spPr>
          <p:txBody>
            <a:bodyPr wrap="square" rtlCol="0">
              <a:spAutoFit/>
            </a:bodyPr>
            <a:lstStyle/>
            <a:p>
              <a:pPr algn="ctr"/>
              <a:r>
                <a:rPr lang="en-US" sz="1167" b="1" dirty="0">
                  <a:solidFill>
                    <a:schemeClr val="accent1">
                      <a:lumMod val="75000"/>
                    </a:schemeClr>
                  </a:solidFill>
                </a:rPr>
                <a:t>ALM Server</a:t>
              </a:r>
            </a:p>
            <a:p>
              <a:pPr algn="ctr"/>
              <a:r>
                <a:rPr lang="en-US" sz="1167" b="1" dirty="0">
                  <a:solidFill>
                    <a:srgbClr val="FF740B"/>
                  </a:solidFill>
                </a:rPr>
                <a:t>VM/Azure/AWS/Citrix</a:t>
              </a:r>
            </a:p>
          </p:txBody>
        </p:sp>
        <p:sp>
          <p:nvSpPr>
            <p:cNvPr id="44" name="Left-Right Arrow 43"/>
            <p:cNvSpPr/>
            <p:nvPr/>
          </p:nvSpPr>
          <p:spPr>
            <a:xfrm>
              <a:off x="10447248" y="2412023"/>
              <a:ext cx="846011" cy="191359"/>
            </a:xfrm>
            <a:prstGeom prst="leftRightArrow">
              <a:avLst/>
            </a:prstGeom>
            <a:ln>
              <a:no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sz="1500"/>
            </a:p>
          </p:txBody>
        </p:sp>
        <p:sp>
          <p:nvSpPr>
            <p:cNvPr id="48" name="Rounded Rectangle 47"/>
            <p:cNvSpPr/>
            <p:nvPr/>
          </p:nvSpPr>
          <p:spPr>
            <a:xfrm>
              <a:off x="11520275" y="901554"/>
              <a:ext cx="2515009" cy="2344231"/>
            </a:xfrm>
            <a:prstGeom prst="roundRect">
              <a:avLst>
                <a:gd name="adj" fmla="val 4202"/>
              </a:avLst>
            </a:prstGeom>
            <a:solidFill>
              <a:schemeClr val="bg1"/>
            </a:solidFill>
            <a:ln w="28575">
              <a:solidFill>
                <a:srgbClr val="0070C0"/>
              </a:solidFill>
              <a:prstDash val="sysDash"/>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sz="1500"/>
            </a:p>
          </p:txBody>
        </p:sp>
        <p:grpSp>
          <p:nvGrpSpPr>
            <p:cNvPr id="19" name="Group 18"/>
            <p:cNvGrpSpPr/>
            <p:nvPr/>
          </p:nvGrpSpPr>
          <p:grpSpPr>
            <a:xfrm>
              <a:off x="11948175" y="1573320"/>
              <a:ext cx="1686000" cy="1300301"/>
              <a:chOff x="10208760" y="1145194"/>
              <a:chExt cx="1686000" cy="1300301"/>
            </a:xfrm>
          </p:grpSpPr>
          <p:pic>
            <p:nvPicPr>
              <p:cNvPr id="17" name="Picture 1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208760" y="1145194"/>
                <a:ext cx="843000" cy="843000"/>
              </a:xfrm>
              <a:prstGeom prst="rect">
                <a:avLst/>
              </a:prstGeom>
            </p:spPr>
          </p:pic>
          <p:pic>
            <p:nvPicPr>
              <p:cNvPr id="16" name="Picture 1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051760" y="1145194"/>
                <a:ext cx="843000" cy="843000"/>
              </a:xfrm>
              <a:prstGeom prst="rect">
                <a:avLst/>
              </a:prstGeom>
            </p:spPr>
          </p:pic>
          <p:pic>
            <p:nvPicPr>
              <p:cNvPr id="15" name="Picture 1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663370" y="1602495"/>
                <a:ext cx="843000" cy="843000"/>
              </a:xfrm>
              <a:prstGeom prst="rect">
                <a:avLst/>
              </a:prstGeom>
            </p:spPr>
          </p:pic>
        </p:grpSp>
        <p:sp>
          <p:nvSpPr>
            <p:cNvPr id="20" name="TextBox 19"/>
            <p:cNvSpPr txBox="1"/>
            <p:nvPr/>
          </p:nvSpPr>
          <p:spPr>
            <a:xfrm>
              <a:off x="11501327" y="1056551"/>
              <a:ext cx="1179554" cy="497252"/>
            </a:xfrm>
            <a:prstGeom prst="rect">
              <a:avLst/>
            </a:prstGeom>
            <a:noFill/>
          </p:spPr>
          <p:txBody>
            <a:bodyPr wrap="none" rtlCol="0">
              <a:spAutoFit/>
            </a:bodyPr>
            <a:lstStyle/>
            <a:p>
              <a:pPr algn="ctr"/>
              <a:r>
                <a:rPr lang="en-US" sz="875" b="1" dirty="0">
                  <a:solidFill>
                    <a:schemeClr val="accent1">
                      <a:lumMod val="75000"/>
                    </a:schemeClr>
                  </a:solidFill>
                </a:rPr>
                <a:t>Test Execution</a:t>
              </a:r>
            </a:p>
            <a:p>
              <a:pPr algn="ctr"/>
              <a:r>
                <a:rPr lang="en-US" sz="875" b="1" dirty="0">
                  <a:solidFill>
                    <a:schemeClr val="accent1">
                      <a:lumMod val="75000"/>
                    </a:schemeClr>
                  </a:solidFill>
                </a:rPr>
                <a:t>Report DB</a:t>
              </a:r>
            </a:p>
          </p:txBody>
        </p:sp>
        <p:sp>
          <p:nvSpPr>
            <p:cNvPr id="21" name="TextBox 20"/>
            <p:cNvSpPr txBox="1"/>
            <p:nvPr/>
          </p:nvSpPr>
          <p:spPr>
            <a:xfrm>
              <a:off x="12718063" y="1033635"/>
              <a:ext cx="1337291" cy="497252"/>
            </a:xfrm>
            <a:prstGeom prst="rect">
              <a:avLst/>
            </a:prstGeom>
            <a:noFill/>
          </p:spPr>
          <p:txBody>
            <a:bodyPr wrap="none" rtlCol="0">
              <a:spAutoFit/>
            </a:bodyPr>
            <a:lstStyle/>
            <a:p>
              <a:pPr algn="ctr"/>
              <a:r>
                <a:rPr lang="en-US" sz="875" b="1" dirty="0">
                  <a:solidFill>
                    <a:schemeClr val="accent1">
                      <a:lumMod val="75000"/>
                    </a:schemeClr>
                  </a:solidFill>
                </a:rPr>
                <a:t>Master</a:t>
              </a:r>
            </a:p>
            <a:p>
              <a:pPr algn="ctr"/>
              <a:r>
                <a:rPr lang="en-US" sz="875" b="1" dirty="0">
                  <a:solidFill>
                    <a:schemeClr val="accent1">
                      <a:lumMod val="75000"/>
                    </a:schemeClr>
                  </a:solidFill>
                </a:rPr>
                <a:t>Configuration DB</a:t>
              </a:r>
            </a:p>
          </p:txBody>
        </p:sp>
        <p:sp>
          <p:nvSpPr>
            <p:cNvPr id="22" name="TextBox 21"/>
            <p:cNvSpPr txBox="1"/>
            <p:nvPr/>
          </p:nvSpPr>
          <p:spPr>
            <a:xfrm>
              <a:off x="11930991" y="2864450"/>
              <a:ext cx="1783566" cy="312105"/>
            </a:xfrm>
            <a:prstGeom prst="rect">
              <a:avLst/>
            </a:prstGeom>
            <a:noFill/>
          </p:spPr>
          <p:txBody>
            <a:bodyPr wrap="none" rtlCol="0">
              <a:spAutoFit/>
            </a:bodyPr>
            <a:lstStyle/>
            <a:p>
              <a:pPr algn="ctr"/>
              <a:r>
                <a:rPr lang="en-US" sz="875" b="1" dirty="0">
                  <a:solidFill>
                    <a:schemeClr val="accent1">
                      <a:lumMod val="75000"/>
                    </a:schemeClr>
                  </a:solidFill>
                </a:rPr>
                <a:t>Automation Artifacts DB</a:t>
              </a:r>
            </a:p>
          </p:txBody>
        </p:sp>
        <p:pic>
          <p:nvPicPr>
            <p:cNvPr id="50" name="Picture 4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489621" y="652987"/>
              <a:ext cx="1749242" cy="848117"/>
            </a:xfrm>
            <a:prstGeom prst="rect">
              <a:avLst/>
            </a:prstGeom>
          </p:spPr>
        </p:pic>
        <p:sp>
          <p:nvSpPr>
            <p:cNvPr id="87" name="Left-Right Arrow 86"/>
            <p:cNvSpPr/>
            <p:nvPr/>
          </p:nvSpPr>
          <p:spPr>
            <a:xfrm rot="5400000">
              <a:off x="12377831" y="4159570"/>
              <a:ext cx="783752" cy="252000"/>
            </a:xfrm>
            <a:prstGeom prst="leftRightArrow">
              <a:avLst/>
            </a:prstGeom>
            <a:ln>
              <a:no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sz="1500"/>
            </a:p>
          </p:txBody>
        </p:sp>
      </p:grpSp>
      <p:pic>
        <p:nvPicPr>
          <p:cNvPr id="98" name="Picture 9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121513" y="1027392"/>
            <a:ext cx="2455805" cy="2406469"/>
          </a:xfrm>
          <a:prstGeom prst="rect">
            <a:avLst/>
          </a:prstGeom>
        </p:spPr>
      </p:pic>
      <p:pic>
        <p:nvPicPr>
          <p:cNvPr id="99" name="Picture 9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295335" y="3283725"/>
            <a:ext cx="1015916" cy="1015916"/>
          </a:xfrm>
          <a:prstGeom prst="rect">
            <a:avLst/>
          </a:prstGeom>
        </p:spPr>
      </p:pic>
      <p:pic>
        <p:nvPicPr>
          <p:cNvPr id="100" name="Picture 99"/>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188315" y="856263"/>
            <a:ext cx="1015916" cy="1015916"/>
          </a:xfrm>
          <a:prstGeom prst="rect">
            <a:avLst/>
          </a:prstGeom>
        </p:spPr>
      </p:pic>
      <p:pic>
        <p:nvPicPr>
          <p:cNvPr id="101" name="Picture 100"/>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0349725" y="2388837"/>
            <a:ext cx="1015916" cy="1015916"/>
          </a:xfrm>
          <a:prstGeom prst="rect">
            <a:avLst/>
          </a:prstGeom>
        </p:spPr>
      </p:pic>
      <p:sp>
        <p:nvSpPr>
          <p:cNvPr id="102" name="object 8">
            <a:extLst>
              <a:ext uri="{FF2B5EF4-FFF2-40B4-BE49-F238E27FC236}">
                <a16:creationId xmlns:a16="http://schemas.microsoft.com/office/drawing/2014/main" id="{3702B6CF-7FEA-4F3F-A1C7-7086FD615D1D}"/>
              </a:ext>
            </a:extLst>
          </p:cNvPr>
          <p:cNvSpPr txBox="1">
            <a:spLocks noChangeArrowheads="1"/>
          </p:cNvSpPr>
          <p:nvPr/>
        </p:nvSpPr>
        <p:spPr bwMode="auto">
          <a:xfrm>
            <a:off x="6774512" y="4323093"/>
            <a:ext cx="5240357" cy="1915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12700">
              <a:lnSpc>
                <a:spcPct val="92000"/>
              </a:lnSpc>
              <a:spcBef>
                <a:spcPts val="800"/>
              </a:spcBef>
              <a:buClr>
                <a:srgbClr val="000000"/>
              </a:buClr>
              <a:buSzPct val="100000"/>
              <a:buFont typeface="Times New Roman" panose="02020603050405020304" pitchFamily="18" charset="0"/>
              <a:buChar char="•"/>
              <a:defRPr sz="3200">
                <a:solidFill>
                  <a:srgbClr val="000000"/>
                </a:solidFill>
                <a:latin typeface="Arial" panose="020B0604020202020204" pitchFamily="34" charset="0"/>
                <a:cs typeface="Lucida Sans Unicode" panose="020B0602030504020204" pitchFamily="34" charset="0"/>
              </a:defRPr>
            </a:lvl1pPr>
            <a:lvl2pPr>
              <a:lnSpc>
                <a:spcPct val="92000"/>
              </a:lnSpc>
              <a:spcBef>
                <a:spcPts val="700"/>
              </a:spcBef>
              <a:buClr>
                <a:srgbClr val="000000"/>
              </a:buClr>
              <a:buSzPct val="100000"/>
              <a:buFont typeface="Times New Roman" panose="02020603050405020304" pitchFamily="18" charset="0"/>
              <a:buChar char="–"/>
              <a:defRPr sz="2800">
                <a:solidFill>
                  <a:srgbClr val="000000"/>
                </a:solidFill>
                <a:latin typeface="Arial" panose="020B0604020202020204" pitchFamily="34" charset="0"/>
                <a:cs typeface="Lucida Sans Unicode" panose="020B0602030504020204" pitchFamily="34" charset="0"/>
              </a:defRPr>
            </a:lvl2pPr>
            <a:lvl3pPr>
              <a:lnSpc>
                <a:spcPct val="92000"/>
              </a:lnSpc>
              <a:spcBef>
                <a:spcPts val="600"/>
              </a:spcBef>
              <a:buClr>
                <a:srgbClr val="000000"/>
              </a:buClr>
              <a:buSzPct val="100000"/>
              <a:buFont typeface="Times New Roman" panose="02020603050405020304" pitchFamily="18" charset="0"/>
              <a:buChar char="•"/>
              <a:defRPr sz="2400">
                <a:solidFill>
                  <a:srgbClr val="000000"/>
                </a:solidFill>
                <a:latin typeface="Arial" panose="020B0604020202020204" pitchFamily="34" charset="0"/>
                <a:cs typeface="Lucida Sans Unicode" panose="020B0602030504020204" pitchFamily="34" charset="0"/>
              </a:defRPr>
            </a:lvl3pPr>
            <a:lvl4pPr>
              <a:lnSpc>
                <a:spcPct val="92000"/>
              </a:lnSpc>
              <a:spcBef>
                <a:spcPts val="500"/>
              </a:spcBef>
              <a:buClr>
                <a:srgbClr val="000000"/>
              </a:buClr>
              <a:buSzPct val="100000"/>
              <a:buFont typeface="Times New Roman" panose="02020603050405020304" pitchFamily="18" charset="0"/>
              <a:buChar char="–"/>
              <a:defRPr sz="2000">
                <a:solidFill>
                  <a:srgbClr val="000000"/>
                </a:solidFill>
                <a:latin typeface="Arial" panose="020B0604020202020204" pitchFamily="34" charset="0"/>
                <a:cs typeface="Lucida Sans Unicode" panose="020B0602030504020204" pitchFamily="34" charset="0"/>
              </a:defRPr>
            </a:lvl4pPr>
            <a:lvl5pPr>
              <a:lnSpc>
                <a:spcPct val="92000"/>
              </a:lnSpc>
              <a:spcBef>
                <a:spcPts val="500"/>
              </a:spcBef>
              <a:buClr>
                <a:srgbClr val="000000"/>
              </a:buClr>
              <a:buSzPct val="100000"/>
              <a:buFont typeface="Times New Roman" panose="02020603050405020304" pitchFamily="18" charset="0"/>
              <a:buChar char="»"/>
              <a:defRPr sz="2000">
                <a:solidFill>
                  <a:srgbClr val="000000"/>
                </a:solidFill>
                <a:latin typeface="Arial" panose="020B0604020202020204" pitchFamily="34" charset="0"/>
                <a:cs typeface="Lucida Sans Unicode" panose="020B0602030504020204" pitchFamily="34" charset="0"/>
              </a:defRPr>
            </a:lvl5pPr>
            <a:lvl6pPr marL="2514600" indent="-228600" defTabSz="457200" eaLnBrk="0" fontAlgn="base" hangingPunct="0">
              <a:lnSpc>
                <a:spcPct val="92000"/>
              </a:lnSpc>
              <a:spcBef>
                <a:spcPts val="500"/>
              </a:spcBef>
              <a:spcAft>
                <a:spcPct val="0"/>
              </a:spcAft>
              <a:buClr>
                <a:srgbClr val="000000"/>
              </a:buClr>
              <a:buSzPct val="100000"/>
              <a:buFont typeface="Times New Roman" panose="02020603050405020304" pitchFamily="18" charset="0"/>
              <a:buChar char="»"/>
              <a:defRPr sz="2000">
                <a:solidFill>
                  <a:srgbClr val="000000"/>
                </a:solidFill>
                <a:latin typeface="Arial" panose="020B0604020202020204" pitchFamily="34" charset="0"/>
                <a:cs typeface="Lucida Sans Unicode" panose="020B0602030504020204" pitchFamily="34" charset="0"/>
              </a:defRPr>
            </a:lvl6pPr>
            <a:lvl7pPr marL="2971800" indent="-228600" defTabSz="457200" eaLnBrk="0" fontAlgn="base" hangingPunct="0">
              <a:lnSpc>
                <a:spcPct val="92000"/>
              </a:lnSpc>
              <a:spcBef>
                <a:spcPts val="500"/>
              </a:spcBef>
              <a:spcAft>
                <a:spcPct val="0"/>
              </a:spcAft>
              <a:buClr>
                <a:srgbClr val="000000"/>
              </a:buClr>
              <a:buSzPct val="100000"/>
              <a:buFont typeface="Times New Roman" panose="02020603050405020304" pitchFamily="18" charset="0"/>
              <a:buChar char="»"/>
              <a:defRPr sz="2000">
                <a:solidFill>
                  <a:srgbClr val="000000"/>
                </a:solidFill>
                <a:latin typeface="Arial" panose="020B0604020202020204" pitchFamily="34" charset="0"/>
                <a:cs typeface="Lucida Sans Unicode" panose="020B0602030504020204" pitchFamily="34" charset="0"/>
              </a:defRPr>
            </a:lvl7pPr>
            <a:lvl8pPr marL="3429000" indent="-228600" defTabSz="457200" eaLnBrk="0" fontAlgn="base" hangingPunct="0">
              <a:lnSpc>
                <a:spcPct val="92000"/>
              </a:lnSpc>
              <a:spcBef>
                <a:spcPts val="500"/>
              </a:spcBef>
              <a:spcAft>
                <a:spcPct val="0"/>
              </a:spcAft>
              <a:buClr>
                <a:srgbClr val="000000"/>
              </a:buClr>
              <a:buSzPct val="100000"/>
              <a:buFont typeface="Times New Roman" panose="02020603050405020304" pitchFamily="18" charset="0"/>
              <a:buChar char="»"/>
              <a:defRPr sz="2000">
                <a:solidFill>
                  <a:srgbClr val="000000"/>
                </a:solidFill>
                <a:latin typeface="Arial" panose="020B0604020202020204" pitchFamily="34" charset="0"/>
                <a:cs typeface="Lucida Sans Unicode" panose="020B0602030504020204" pitchFamily="34" charset="0"/>
              </a:defRPr>
            </a:lvl8pPr>
            <a:lvl9pPr marL="3886200" indent="-228600" defTabSz="457200" eaLnBrk="0" fontAlgn="base" hangingPunct="0">
              <a:lnSpc>
                <a:spcPct val="92000"/>
              </a:lnSpc>
              <a:spcBef>
                <a:spcPts val="500"/>
              </a:spcBef>
              <a:spcAft>
                <a:spcPct val="0"/>
              </a:spcAft>
              <a:buClr>
                <a:srgbClr val="000000"/>
              </a:buClr>
              <a:buSzPct val="100000"/>
              <a:buFont typeface="Times New Roman" panose="02020603050405020304" pitchFamily="18" charset="0"/>
              <a:buChar char="»"/>
              <a:defRPr sz="2000">
                <a:solidFill>
                  <a:srgbClr val="000000"/>
                </a:solidFill>
                <a:latin typeface="Arial" panose="020B0604020202020204" pitchFamily="34" charset="0"/>
                <a:cs typeface="Lucida Sans Unicode" panose="020B0602030504020204" pitchFamily="34" charset="0"/>
              </a:defRPr>
            </a:lvl9pPr>
          </a:lstStyle>
          <a:p>
            <a:pPr marL="179993" indent="-179993">
              <a:lnSpc>
                <a:spcPct val="100000"/>
              </a:lnSpc>
              <a:spcBef>
                <a:spcPts val="300"/>
              </a:spcBef>
              <a:buClrTx/>
              <a:buSzTx/>
              <a:buFont typeface="Arial" panose="020B0604020202020204" pitchFamily="34" charset="0"/>
              <a:buChar char="•"/>
              <a:defRPr/>
            </a:pPr>
            <a:r>
              <a:rPr lang="en-IN" altLang="en-US" sz="1600" dirty="0" err="1">
                <a:solidFill>
                  <a:schemeClr val="accent1">
                    <a:lumMod val="75000"/>
                  </a:schemeClr>
                </a:solidFill>
                <a:cs typeface="Arial" panose="020B0604020202020204" pitchFamily="34" charset="0"/>
              </a:rPr>
              <a:t>TestMagic</a:t>
            </a:r>
            <a:endParaRPr lang="en-IN" altLang="en-US" sz="1600" dirty="0">
              <a:solidFill>
                <a:schemeClr val="accent1">
                  <a:lumMod val="75000"/>
                </a:schemeClr>
              </a:solidFill>
              <a:cs typeface="Arial" panose="020B0604020202020204" pitchFamily="34" charset="0"/>
            </a:endParaRPr>
          </a:p>
          <a:p>
            <a:pPr marL="359986" indent="-179993">
              <a:lnSpc>
                <a:spcPct val="100000"/>
              </a:lnSpc>
              <a:spcBef>
                <a:spcPts val="300"/>
              </a:spcBef>
              <a:buClrTx/>
              <a:buSzTx/>
              <a:buFont typeface="Arial" panose="020B0604020202020204" pitchFamily="34" charset="0"/>
              <a:buChar char="–"/>
              <a:defRPr/>
            </a:pPr>
            <a:r>
              <a:rPr lang="en-IN" altLang="en-US" sz="1600" dirty="0">
                <a:solidFill>
                  <a:schemeClr val="accent1">
                    <a:lumMod val="75000"/>
                  </a:schemeClr>
                </a:solidFill>
                <a:cs typeface="Arial" panose="020B0604020202020204" pitchFamily="34" charset="0"/>
              </a:rPr>
              <a:t>Automation Lifecycle and Defect Management (ALM)</a:t>
            </a:r>
          </a:p>
          <a:p>
            <a:pPr marL="179993" indent="-179993">
              <a:lnSpc>
                <a:spcPct val="100000"/>
              </a:lnSpc>
              <a:spcBef>
                <a:spcPts val="300"/>
              </a:spcBef>
              <a:buClrTx/>
              <a:buSzTx/>
              <a:buFont typeface="Arial" panose="020B0604020202020204" pitchFamily="34" charset="0"/>
              <a:buChar char="•"/>
              <a:defRPr/>
            </a:pPr>
            <a:r>
              <a:rPr lang="en-IN" altLang="en-US" sz="1600" dirty="0" err="1">
                <a:solidFill>
                  <a:schemeClr val="accent1">
                    <a:lumMod val="75000"/>
                  </a:schemeClr>
                </a:solidFill>
                <a:cs typeface="Arial" panose="020B0604020202020204" pitchFamily="34" charset="0"/>
              </a:rPr>
              <a:t>eZAutomate</a:t>
            </a:r>
            <a:endParaRPr lang="en-IN" altLang="en-US" sz="1600" dirty="0">
              <a:solidFill>
                <a:schemeClr val="accent1">
                  <a:lumMod val="75000"/>
                </a:schemeClr>
              </a:solidFill>
              <a:cs typeface="Arial" panose="020B0604020202020204" pitchFamily="34" charset="0"/>
            </a:endParaRPr>
          </a:p>
          <a:p>
            <a:pPr marL="359986" indent="-179993">
              <a:lnSpc>
                <a:spcPct val="100000"/>
              </a:lnSpc>
              <a:spcBef>
                <a:spcPts val="300"/>
              </a:spcBef>
              <a:buClrTx/>
              <a:buSzTx/>
              <a:buFont typeface="Arial" panose="020B0604020202020204" pitchFamily="34" charset="0"/>
              <a:buChar char="–"/>
              <a:defRPr/>
            </a:pPr>
            <a:r>
              <a:rPr lang="en-IN" altLang="en-US" sz="1600" dirty="0">
                <a:solidFill>
                  <a:schemeClr val="accent1">
                    <a:lumMod val="75000"/>
                  </a:schemeClr>
                </a:solidFill>
                <a:cs typeface="Arial" panose="020B0604020202020204" pitchFamily="34" charset="0"/>
              </a:rPr>
              <a:t>AI-enabled Learning and Performing Engine</a:t>
            </a:r>
          </a:p>
          <a:p>
            <a:pPr marL="179993" indent="-179993">
              <a:lnSpc>
                <a:spcPct val="100000"/>
              </a:lnSpc>
              <a:spcBef>
                <a:spcPts val="300"/>
              </a:spcBef>
              <a:buClrTx/>
              <a:buSzTx/>
              <a:buFont typeface="Arial" panose="020B0604020202020204" pitchFamily="34" charset="0"/>
              <a:buChar char="•"/>
              <a:defRPr/>
            </a:pPr>
            <a:r>
              <a:rPr lang="en-IN" altLang="en-US" sz="1600" dirty="0" err="1">
                <a:solidFill>
                  <a:schemeClr val="accent1">
                    <a:lumMod val="75000"/>
                  </a:schemeClr>
                </a:solidFill>
                <a:cs typeface="Arial" panose="020B0604020202020204" pitchFamily="34" charset="0"/>
              </a:rPr>
              <a:t>MagicSchedular</a:t>
            </a:r>
            <a:endParaRPr lang="en-IN" altLang="en-US" sz="1600" dirty="0">
              <a:solidFill>
                <a:schemeClr val="accent1">
                  <a:lumMod val="75000"/>
                </a:schemeClr>
              </a:solidFill>
              <a:cs typeface="Arial" panose="020B0604020202020204" pitchFamily="34" charset="0"/>
            </a:endParaRPr>
          </a:p>
          <a:p>
            <a:pPr marL="359986" indent="-179993">
              <a:lnSpc>
                <a:spcPct val="100000"/>
              </a:lnSpc>
              <a:spcBef>
                <a:spcPts val="300"/>
              </a:spcBef>
              <a:buClrTx/>
              <a:buSzTx/>
              <a:buFont typeface="Arial" panose="020B0604020202020204" pitchFamily="34" charset="0"/>
              <a:buChar char="–"/>
              <a:defRPr/>
            </a:pPr>
            <a:r>
              <a:rPr lang="en-IN" altLang="en-US" sz="1600" dirty="0">
                <a:solidFill>
                  <a:schemeClr val="accent1">
                    <a:lumMod val="75000"/>
                  </a:schemeClr>
                </a:solidFill>
                <a:cs typeface="Arial" panose="020B0604020202020204" pitchFamily="34" charset="0"/>
              </a:rPr>
              <a:t> AI-enabled Execution Auto Test Execution Distribution</a:t>
            </a:r>
          </a:p>
        </p:txBody>
      </p:sp>
      <p:sp>
        <p:nvSpPr>
          <p:cNvPr id="103" name="Rectangle 2"/>
          <p:cNvSpPr txBox="1">
            <a:spLocks noChangeArrowheads="1"/>
          </p:cNvSpPr>
          <p:nvPr/>
        </p:nvSpPr>
        <p:spPr bwMode="auto">
          <a:xfrm>
            <a:off x="342094" y="247590"/>
            <a:ext cx="10822143" cy="464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7500" tIns="35100" rIns="67500" bIns="35100" anchor="ctr"/>
          <a:lstStyle>
            <a:lvl1pPr eaLnBrk="0" hangingPunct="0">
              <a:lnSpc>
                <a:spcPct val="92000"/>
              </a:lnSpc>
              <a:spcBef>
                <a:spcPts val="800"/>
              </a:spcBef>
              <a:buClr>
                <a:srgbClr val="000000"/>
              </a:buClr>
              <a:buSzPct val="100000"/>
              <a:buFont typeface="Times New Roman" panose="02020603050405020304" pitchFamily="18" charset="0"/>
              <a:buChar char="•"/>
              <a:defRPr sz="3200">
                <a:solidFill>
                  <a:srgbClr val="000000"/>
                </a:solidFill>
                <a:latin typeface="Arial" panose="020B0604020202020204" pitchFamily="34" charset="0"/>
                <a:cs typeface="Lucida Sans Unicode" panose="020B0602030504020204" pitchFamily="34" charset="0"/>
              </a:defRPr>
            </a:lvl1pPr>
            <a:lvl2pPr marL="742950" indent="-285750" eaLnBrk="0" hangingPunct="0">
              <a:lnSpc>
                <a:spcPct val="92000"/>
              </a:lnSpc>
              <a:spcBef>
                <a:spcPts val="700"/>
              </a:spcBef>
              <a:buClr>
                <a:srgbClr val="000000"/>
              </a:buClr>
              <a:buSzPct val="100000"/>
              <a:buFont typeface="Times New Roman" panose="02020603050405020304" pitchFamily="18" charset="0"/>
              <a:buChar char="–"/>
              <a:defRPr sz="2800">
                <a:solidFill>
                  <a:srgbClr val="000000"/>
                </a:solidFill>
                <a:latin typeface="Arial" panose="020B0604020202020204" pitchFamily="34" charset="0"/>
                <a:cs typeface="Lucida Sans Unicode" panose="020B0602030504020204" pitchFamily="34" charset="0"/>
              </a:defRPr>
            </a:lvl2pPr>
            <a:lvl3pPr eaLnBrk="0" hangingPunct="0">
              <a:lnSpc>
                <a:spcPct val="92000"/>
              </a:lnSpc>
              <a:spcBef>
                <a:spcPts val="600"/>
              </a:spcBef>
              <a:buClr>
                <a:srgbClr val="000000"/>
              </a:buClr>
              <a:buSzPct val="100000"/>
              <a:buFont typeface="Times New Roman" panose="02020603050405020304" pitchFamily="18" charset="0"/>
              <a:buChar char="•"/>
              <a:defRPr sz="2400">
                <a:solidFill>
                  <a:srgbClr val="000000"/>
                </a:solidFill>
                <a:latin typeface="Arial" panose="020B0604020202020204" pitchFamily="34" charset="0"/>
                <a:cs typeface="Lucida Sans Unicode" panose="020B0602030504020204" pitchFamily="34" charset="0"/>
              </a:defRPr>
            </a:lvl3pPr>
            <a:lvl4pPr eaLnBrk="0" hangingPunct="0">
              <a:lnSpc>
                <a:spcPct val="92000"/>
              </a:lnSpc>
              <a:spcBef>
                <a:spcPts val="500"/>
              </a:spcBef>
              <a:buClr>
                <a:srgbClr val="000000"/>
              </a:buClr>
              <a:buSzPct val="100000"/>
              <a:buFont typeface="Times New Roman" panose="02020603050405020304" pitchFamily="18" charset="0"/>
              <a:buChar char="–"/>
              <a:defRPr sz="2000">
                <a:solidFill>
                  <a:srgbClr val="000000"/>
                </a:solidFill>
                <a:latin typeface="Arial" panose="020B0604020202020204" pitchFamily="34" charset="0"/>
                <a:cs typeface="Lucida Sans Unicode" panose="020B0602030504020204" pitchFamily="34" charset="0"/>
              </a:defRPr>
            </a:lvl4pPr>
            <a:lvl5pPr eaLnBrk="0" hangingPunct="0">
              <a:lnSpc>
                <a:spcPct val="92000"/>
              </a:lnSpc>
              <a:spcBef>
                <a:spcPts val="500"/>
              </a:spcBef>
              <a:buClr>
                <a:srgbClr val="000000"/>
              </a:buClr>
              <a:buSzPct val="100000"/>
              <a:buFont typeface="Times New Roman" panose="02020603050405020304" pitchFamily="18" charset="0"/>
              <a:buChar char="»"/>
              <a:defRPr sz="2000">
                <a:solidFill>
                  <a:srgbClr val="000000"/>
                </a:solidFill>
                <a:latin typeface="Arial" panose="020B0604020202020204" pitchFamily="34" charset="0"/>
                <a:cs typeface="Lucida Sans Unicode" panose="020B0602030504020204" pitchFamily="34" charset="0"/>
              </a:defRPr>
            </a:lvl5pPr>
            <a:lvl6pPr marL="2514600" indent="-228600" defTabSz="457200" eaLnBrk="0" fontAlgn="base" hangingPunct="0">
              <a:lnSpc>
                <a:spcPct val="92000"/>
              </a:lnSpc>
              <a:spcBef>
                <a:spcPts val="500"/>
              </a:spcBef>
              <a:spcAft>
                <a:spcPct val="0"/>
              </a:spcAft>
              <a:buClr>
                <a:srgbClr val="000000"/>
              </a:buClr>
              <a:buSzPct val="100000"/>
              <a:buFont typeface="Times New Roman" panose="02020603050405020304" pitchFamily="18" charset="0"/>
              <a:buChar char="»"/>
              <a:defRPr sz="2000">
                <a:solidFill>
                  <a:srgbClr val="000000"/>
                </a:solidFill>
                <a:latin typeface="Arial" panose="020B0604020202020204" pitchFamily="34" charset="0"/>
                <a:cs typeface="Lucida Sans Unicode" panose="020B0602030504020204" pitchFamily="34" charset="0"/>
              </a:defRPr>
            </a:lvl6pPr>
            <a:lvl7pPr marL="2971800" indent="-228600" defTabSz="457200" eaLnBrk="0" fontAlgn="base" hangingPunct="0">
              <a:lnSpc>
                <a:spcPct val="92000"/>
              </a:lnSpc>
              <a:spcBef>
                <a:spcPts val="500"/>
              </a:spcBef>
              <a:spcAft>
                <a:spcPct val="0"/>
              </a:spcAft>
              <a:buClr>
                <a:srgbClr val="000000"/>
              </a:buClr>
              <a:buSzPct val="100000"/>
              <a:buFont typeface="Times New Roman" panose="02020603050405020304" pitchFamily="18" charset="0"/>
              <a:buChar char="»"/>
              <a:defRPr sz="2000">
                <a:solidFill>
                  <a:srgbClr val="000000"/>
                </a:solidFill>
                <a:latin typeface="Arial" panose="020B0604020202020204" pitchFamily="34" charset="0"/>
                <a:cs typeface="Lucida Sans Unicode" panose="020B0602030504020204" pitchFamily="34" charset="0"/>
              </a:defRPr>
            </a:lvl7pPr>
            <a:lvl8pPr marL="3429000" indent="-228600" defTabSz="457200" eaLnBrk="0" fontAlgn="base" hangingPunct="0">
              <a:lnSpc>
                <a:spcPct val="92000"/>
              </a:lnSpc>
              <a:spcBef>
                <a:spcPts val="500"/>
              </a:spcBef>
              <a:spcAft>
                <a:spcPct val="0"/>
              </a:spcAft>
              <a:buClr>
                <a:srgbClr val="000000"/>
              </a:buClr>
              <a:buSzPct val="100000"/>
              <a:buFont typeface="Times New Roman" panose="02020603050405020304" pitchFamily="18" charset="0"/>
              <a:buChar char="»"/>
              <a:defRPr sz="2000">
                <a:solidFill>
                  <a:srgbClr val="000000"/>
                </a:solidFill>
                <a:latin typeface="Arial" panose="020B0604020202020204" pitchFamily="34" charset="0"/>
                <a:cs typeface="Lucida Sans Unicode" panose="020B0602030504020204" pitchFamily="34" charset="0"/>
              </a:defRPr>
            </a:lvl8pPr>
            <a:lvl9pPr marL="3886200" indent="-228600" defTabSz="457200" eaLnBrk="0" fontAlgn="base" hangingPunct="0">
              <a:lnSpc>
                <a:spcPct val="92000"/>
              </a:lnSpc>
              <a:spcBef>
                <a:spcPts val="500"/>
              </a:spcBef>
              <a:spcAft>
                <a:spcPct val="0"/>
              </a:spcAft>
              <a:buClr>
                <a:srgbClr val="000000"/>
              </a:buClr>
              <a:buSzPct val="100000"/>
              <a:buFont typeface="Times New Roman" panose="02020603050405020304" pitchFamily="18" charset="0"/>
              <a:buChar char="»"/>
              <a:defRPr sz="2000">
                <a:solidFill>
                  <a:srgbClr val="000000"/>
                </a:solidFill>
                <a:latin typeface="Arial" panose="020B0604020202020204" pitchFamily="34" charset="0"/>
                <a:cs typeface="Lucida Sans Unicode" panose="020B0602030504020204" pitchFamily="34" charset="0"/>
              </a:defRPr>
            </a:lvl9pPr>
          </a:lstStyle>
          <a:p>
            <a:pPr eaLnBrk="1" hangingPunct="1">
              <a:spcBef>
                <a:spcPct val="0"/>
              </a:spcBef>
              <a:buFontTx/>
              <a:buNone/>
            </a:pPr>
            <a:br>
              <a:rPr lang="en-GB" altLang="en-US" sz="2400" dirty="0">
                <a:solidFill>
                  <a:srgbClr val="FF6600"/>
                </a:solidFill>
              </a:rPr>
            </a:br>
            <a:endParaRPr lang="en-GB" altLang="en-US" sz="2400" dirty="0">
              <a:solidFill>
                <a:srgbClr val="FF6600"/>
              </a:solidFill>
            </a:endParaRPr>
          </a:p>
          <a:p>
            <a:pPr eaLnBrk="1" hangingPunct="1">
              <a:lnSpc>
                <a:spcPct val="100000"/>
              </a:lnSpc>
              <a:spcBef>
                <a:spcPct val="0"/>
              </a:spcBef>
              <a:buClrTx/>
              <a:buSzTx/>
              <a:buFontTx/>
              <a:buNone/>
            </a:pPr>
            <a:r>
              <a:rPr lang="en-GB" sz="3000" b="1" dirty="0">
                <a:solidFill>
                  <a:schemeClr val="bg1">
                    <a:lumMod val="50000"/>
                  </a:schemeClr>
                </a:solidFill>
                <a:latin typeface="Arial (Headings)"/>
                <a:ea typeface="+mj-ea"/>
                <a:cs typeface="+mj-cs"/>
              </a:rPr>
              <a:t>TestMagic</a:t>
            </a:r>
            <a:r>
              <a:rPr lang="en-GB" sz="3000" b="1" baseline="30000" dirty="0">
                <a:solidFill>
                  <a:schemeClr val="bg1">
                    <a:lumMod val="50000"/>
                  </a:schemeClr>
                </a:solidFill>
                <a:latin typeface="Arial (Headings)"/>
                <a:ea typeface="+mj-ea"/>
                <a:cs typeface="+mj-cs"/>
              </a:rPr>
              <a:t>TM</a:t>
            </a:r>
            <a:r>
              <a:rPr lang="en-GB" sz="3000" b="1" dirty="0">
                <a:solidFill>
                  <a:schemeClr val="bg1">
                    <a:lumMod val="50000"/>
                  </a:schemeClr>
                </a:solidFill>
                <a:latin typeface="Arial (Headings)"/>
                <a:ea typeface="+mj-ea"/>
                <a:cs typeface="+mj-cs"/>
              </a:rPr>
              <a:t> </a:t>
            </a:r>
            <a:r>
              <a:rPr lang="en-US" altLang="en-US" sz="3000" b="1" dirty="0">
                <a:solidFill>
                  <a:schemeClr val="bg1">
                    <a:lumMod val="50000"/>
                  </a:schemeClr>
                </a:solidFill>
                <a:latin typeface="Arial (Headings)"/>
                <a:ea typeface="+mj-ea"/>
                <a:cs typeface="+mj-cs"/>
              </a:rPr>
              <a:t> A SaaS compliant As Automation Platform</a:t>
            </a:r>
          </a:p>
          <a:p>
            <a:pPr eaLnBrk="1" hangingPunct="1">
              <a:spcBef>
                <a:spcPct val="0"/>
              </a:spcBef>
              <a:buFont typeface="Times New Roman" panose="02020603050405020304" pitchFamily="18" charset="0"/>
              <a:buNone/>
            </a:pPr>
            <a:br>
              <a:rPr lang="en-US" altLang="en-US" sz="2700" dirty="0">
                <a:solidFill>
                  <a:srgbClr val="FF6600"/>
                </a:solidFill>
              </a:rPr>
            </a:br>
            <a:endParaRPr lang="en-US" altLang="en-US" sz="2400" dirty="0">
              <a:solidFill>
                <a:srgbClr val="FF6600"/>
              </a:solidFill>
            </a:endParaRPr>
          </a:p>
        </p:txBody>
      </p:sp>
      <p:sp>
        <p:nvSpPr>
          <p:cNvPr id="68" name="TextBox 67"/>
          <p:cNvSpPr txBox="1"/>
          <p:nvPr/>
        </p:nvSpPr>
        <p:spPr>
          <a:xfrm>
            <a:off x="3021714" y="2981546"/>
            <a:ext cx="1793933" cy="451534"/>
          </a:xfrm>
          <a:prstGeom prst="rect">
            <a:avLst/>
          </a:prstGeom>
          <a:noFill/>
        </p:spPr>
        <p:txBody>
          <a:bodyPr wrap="square" rtlCol="0">
            <a:spAutoFit/>
          </a:bodyPr>
          <a:lstStyle/>
          <a:p>
            <a:pPr algn="ctr"/>
            <a:r>
              <a:rPr lang="en-US" sz="1167" b="1" dirty="0">
                <a:solidFill>
                  <a:schemeClr val="accent1">
                    <a:lumMod val="75000"/>
                  </a:schemeClr>
                </a:solidFill>
              </a:rPr>
              <a:t>DB Server</a:t>
            </a:r>
          </a:p>
          <a:p>
            <a:pPr algn="ctr"/>
            <a:r>
              <a:rPr lang="en-US" sz="1167" b="1" dirty="0">
                <a:solidFill>
                  <a:srgbClr val="FF740B"/>
                </a:solidFill>
              </a:rPr>
              <a:t>VM /Azure/AWS/Citrix</a:t>
            </a:r>
          </a:p>
        </p:txBody>
      </p:sp>
      <p:sp>
        <p:nvSpPr>
          <p:cNvPr id="72" name="TextBox 71"/>
          <p:cNvSpPr txBox="1"/>
          <p:nvPr/>
        </p:nvSpPr>
        <p:spPr>
          <a:xfrm>
            <a:off x="2029199" y="4725787"/>
            <a:ext cx="2559213" cy="631135"/>
          </a:xfrm>
          <a:prstGeom prst="rect">
            <a:avLst/>
          </a:prstGeom>
          <a:noFill/>
        </p:spPr>
        <p:txBody>
          <a:bodyPr wrap="square" rtlCol="0">
            <a:spAutoFit/>
          </a:bodyPr>
          <a:lstStyle/>
          <a:p>
            <a:pPr algn="ctr"/>
            <a:r>
              <a:rPr lang="en-US" sz="1167" b="1" i="1" dirty="0">
                <a:solidFill>
                  <a:srgbClr val="FF740B"/>
                </a:solidFill>
              </a:rPr>
              <a:t>Client Machines</a:t>
            </a:r>
          </a:p>
          <a:p>
            <a:pPr algn="ctr"/>
            <a:r>
              <a:rPr lang="en-US" sz="1167" b="1" i="1" dirty="0">
                <a:solidFill>
                  <a:srgbClr val="FF740B"/>
                </a:solidFill>
              </a:rPr>
              <a:t>Physical / VM / Azure / AWS / Citrix / Dockers</a:t>
            </a:r>
          </a:p>
        </p:txBody>
      </p:sp>
      <p:grpSp>
        <p:nvGrpSpPr>
          <p:cNvPr id="73" name="Group 72"/>
          <p:cNvGrpSpPr/>
          <p:nvPr/>
        </p:nvGrpSpPr>
        <p:grpSpPr>
          <a:xfrm>
            <a:off x="169026" y="1537560"/>
            <a:ext cx="1717355" cy="1717355"/>
            <a:chOff x="939251" y="1649949"/>
            <a:chExt cx="2060826" cy="2060826"/>
          </a:xfrm>
        </p:grpSpPr>
        <p:pic>
          <p:nvPicPr>
            <p:cNvPr id="89" name="Picture 88"/>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39251" y="1649949"/>
              <a:ext cx="2060826" cy="2060826"/>
            </a:xfrm>
            <a:prstGeom prst="rect">
              <a:avLst/>
            </a:prstGeom>
          </p:spPr>
        </p:pic>
        <p:sp>
          <p:nvSpPr>
            <p:cNvPr id="90" name="Rectangle 89"/>
            <p:cNvSpPr/>
            <p:nvPr/>
          </p:nvSpPr>
          <p:spPr>
            <a:xfrm>
              <a:off x="1516645" y="2983562"/>
              <a:ext cx="858097" cy="470909"/>
            </a:xfrm>
            <a:prstGeom prst="rect">
              <a:avLst/>
            </a:prstGeom>
            <a:solidFill>
              <a:schemeClr val="bg1"/>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sz="1500"/>
            </a:p>
          </p:txBody>
        </p:sp>
        <p:pic>
          <p:nvPicPr>
            <p:cNvPr id="96" name="Picture 95" descr="Logo&#10;&#10;Description automatically generated with low confidence">
              <a:extLst>
                <a:ext uri="{FF2B5EF4-FFF2-40B4-BE49-F238E27FC236}">
                  <a16:creationId xmlns:a16="http://schemas.microsoft.com/office/drawing/2014/main" id="{74880E6E-9C4A-46D1-89E3-DDD718CECA93}"/>
                </a:ext>
              </a:extLst>
            </p:cNvPr>
            <p:cNvPicPr>
              <a:picLocks noChangeAspect="1"/>
            </p:cNvPicPr>
            <p:nvPr/>
          </p:nvPicPr>
          <p:blipFill>
            <a:blip r:embed="rId3"/>
            <a:stretch>
              <a:fillRect/>
            </a:stretch>
          </p:blipFill>
          <p:spPr>
            <a:xfrm>
              <a:off x="1537258" y="3026953"/>
              <a:ext cx="816873" cy="365760"/>
            </a:xfrm>
            <a:prstGeom prst="rect">
              <a:avLst/>
            </a:prstGeom>
          </p:spPr>
        </p:pic>
      </p:grpSp>
    </p:spTree>
    <p:extLst>
      <p:ext uri="{BB962C8B-B14F-4D97-AF65-F5344CB8AC3E}">
        <p14:creationId xmlns:p14="http://schemas.microsoft.com/office/powerpoint/2010/main" val="3146636853"/>
      </p:ext>
    </p:extLst>
  </p:cSld>
  <p:clrMapOvr>
    <a:masterClrMapping/>
  </p:clrMapOvr>
  <mc:AlternateContent xmlns:mc="http://schemas.openxmlformats.org/markup-compatibility/2006" xmlns:p14="http://schemas.microsoft.com/office/powerpoint/2010/main">
    <mc:Choice Requires="p14">
      <p:transition spd="slow" p14:dur="2500">
        <p:checker dir="vert"/>
      </p:transition>
    </mc:Choice>
    <mc:Fallback xmlns="">
      <p:transition spd="slow">
        <p:checker dir="vert"/>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17">
            <a:extLst>
              <a:ext uri="{FF2B5EF4-FFF2-40B4-BE49-F238E27FC236}">
                <a16:creationId xmlns:a16="http://schemas.microsoft.com/office/drawing/2014/main" id="{197BD3B0-8155-4019-8883-64013068C737}"/>
              </a:ext>
            </a:extLst>
          </p:cNvPr>
          <p:cNvSpPr>
            <a:spLocks noGrp="1"/>
          </p:cNvSpPr>
          <p:nvPr>
            <p:ph type="title"/>
          </p:nvPr>
        </p:nvSpPr>
        <p:spPr>
          <a:xfrm>
            <a:off x="571500" y="533136"/>
            <a:ext cx="11049000" cy="419364"/>
          </a:xfrm>
        </p:spPr>
        <p:txBody>
          <a:bodyPr>
            <a:noAutofit/>
          </a:bodyPr>
          <a:lstStyle/>
          <a:p>
            <a:r>
              <a:rPr lang="en-IN" sz="3000" dirty="0">
                <a:solidFill>
                  <a:srgbClr val="EF6F0E"/>
                </a:solidFill>
              </a:rPr>
              <a:t>TestMagic</a:t>
            </a:r>
            <a:r>
              <a:rPr lang="en-IN" sz="3000" baseline="30000" dirty="0">
                <a:solidFill>
                  <a:srgbClr val="EF6F0E"/>
                </a:solidFill>
              </a:rPr>
              <a:t>TM</a:t>
            </a:r>
            <a:r>
              <a:rPr lang="en-IN" altLang="en-US" sz="3000" dirty="0">
                <a:solidFill>
                  <a:srgbClr val="EF6F0E"/>
                </a:solidFill>
              </a:rPr>
              <a:t> – Various Component of TestMagic</a:t>
            </a:r>
            <a:r>
              <a:rPr lang="en-IN" altLang="en-US" sz="3000" baseline="30000" dirty="0">
                <a:solidFill>
                  <a:srgbClr val="EF6F0E"/>
                </a:solidFill>
              </a:rPr>
              <a:t>TM</a:t>
            </a:r>
            <a:br>
              <a:rPr lang="en-IN" altLang="en-US" sz="3333" dirty="0"/>
            </a:br>
            <a:br>
              <a:rPr lang="en-US" altLang="en-US" sz="3333" dirty="0"/>
            </a:br>
            <a:br>
              <a:rPr lang="en-US" altLang="en-US" sz="3333" dirty="0"/>
            </a:br>
            <a:br>
              <a:rPr lang="en-US" altLang="en-US" sz="3333" dirty="0"/>
            </a:br>
            <a:r>
              <a:rPr lang="en-US" altLang="en-US" sz="3333" dirty="0"/>
              <a:t>  </a:t>
            </a:r>
          </a:p>
        </p:txBody>
      </p:sp>
      <p:sp>
        <p:nvSpPr>
          <p:cNvPr id="20" name="Diamond 19">
            <a:extLst>
              <a:ext uri="{FF2B5EF4-FFF2-40B4-BE49-F238E27FC236}">
                <a16:creationId xmlns:a16="http://schemas.microsoft.com/office/drawing/2014/main" id="{6E65901C-A781-41BA-A94C-65FC802CF358}"/>
              </a:ext>
            </a:extLst>
          </p:cNvPr>
          <p:cNvSpPr>
            <a:spLocks noChangeAspect="1"/>
          </p:cNvSpPr>
          <p:nvPr/>
        </p:nvSpPr>
        <p:spPr>
          <a:xfrm>
            <a:off x="1236086" y="1347106"/>
            <a:ext cx="1494414" cy="1178073"/>
          </a:xfrm>
          <a:prstGeom prst="diamond">
            <a:avLst/>
          </a:prstGeom>
          <a:solidFill>
            <a:srgbClr val="E1EFD9"/>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sz="1500" b="1"/>
          </a:p>
        </p:txBody>
      </p:sp>
      <p:sp>
        <p:nvSpPr>
          <p:cNvPr id="30" name="TextBox 29">
            <a:extLst>
              <a:ext uri="{FF2B5EF4-FFF2-40B4-BE49-F238E27FC236}">
                <a16:creationId xmlns:a16="http://schemas.microsoft.com/office/drawing/2014/main" id="{364C2748-764E-45A0-B4EB-F973A4130B9A}"/>
              </a:ext>
            </a:extLst>
          </p:cNvPr>
          <p:cNvSpPr txBox="1"/>
          <p:nvPr/>
        </p:nvSpPr>
        <p:spPr>
          <a:xfrm>
            <a:off x="917309" y="2488181"/>
            <a:ext cx="2190022" cy="284693"/>
          </a:xfrm>
          <a:prstGeom prst="rect">
            <a:avLst/>
          </a:prstGeom>
          <a:noFill/>
        </p:spPr>
        <p:txBody>
          <a:bodyPr wrap="none" rtlCol="0">
            <a:spAutoFit/>
          </a:bodyPr>
          <a:lstStyle/>
          <a:p>
            <a:pPr algn="ctr" defTabSz="914363">
              <a:defRPr/>
            </a:pPr>
            <a:r>
              <a:rPr lang="en-US" sz="1250" b="1" kern="0" dirty="0">
                <a:solidFill>
                  <a:srgbClr val="E7E6E6">
                    <a:lumMod val="50000"/>
                  </a:srgbClr>
                </a:solidFill>
                <a:latin typeface="Arial"/>
              </a:rPr>
              <a:t>Test Automation Creation</a:t>
            </a:r>
          </a:p>
        </p:txBody>
      </p:sp>
      <p:sp>
        <p:nvSpPr>
          <p:cNvPr id="34" name="TextBox 33">
            <a:extLst>
              <a:ext uri="{FF2B5EF4-FFF2-40B4-BE49-F238E27FC236}">
                <a16:creationId xmlns:a16="http://schemas.microsoft.com/office/drawing/2014/main" id="{B2A665EC-2B72-41BD-B41D-05BD0B478973}"/>
              </a:ext>
            </a:extLst>
          </p:cNvPr>
          <p:cNvSpPr txBox="1"/>
          <p:nvPr/>
        </p:nvSpPr>
        <p:spPr>
          <a:xfrm>
            <a:off x="804755" y="4127501"/>
            <a:ext cx="2307042" cy="284693"/>
          </a:xfrm>
          <a:prstGeom prst="rect">
            <a:avLst/>
          </a:prstGeom>
          <a:noFill/>
        </p:spPr>
        <p:txBody>
          <a:bodyPr wrap="none" rtlCol="0">
            <a:spAutoFit/>
          </a:bodyPr>
          <a:lstStyle/>
          <a:p>
            <a:pPr algn="ctr" defTabSz="914363">
              <a:defRPr/>
            </a:pPr>
            <a:r>
              <a:rPr lang="en-US" sz="1250" b="1" kern="0" dirty="0">
                <a:solidFill>
                  <a:srgbClr val="E7E6E6">
                    <a:lumMod val="50000"/>
                  </a:srgbClr>
                </a:solidFill>
                <a:latin typeface="Arial"/>
              </a:rPr>
              <a:t>Test Automation Execution</a:t>
            </a:r>
          </a:p>
        </p:txBody>
      </p:sp>
      <p:sp>
        <p:nvSpPr>
          <p:cNvPr id="41" name="Diamond 40">
            <a:extLst>
              <a:ext uri="{FF2B5EF4-FFF2-40B4-BE49-F238E27FC236}">
                <a16:creationId xmlns:a16="http://schemas.microsoft.com/office/drawing/2014/main" id="{1B26BE38-F57A-40D9-B7B4-0FB0B207BE6C}"/>
              </a:ext>
            </a:extLst>
          </p:cNvPr>
          <p:cNvSpPr>
            <a:spLocks noChangeAspect="1"/>
          </p:cNvSpPr>
          <p:nvPr/>
        </p:nvSpPr>
        <p:spPr>
          <a:xfrm>
            <a:off x="1211067" y="2953424"/>
            <a:ext cx="1494414" cy="1178073"/>
          </a:xfrm>
          <a:prstGeom prst="diamond">
            <a:avLst/>
          </a:prstGeom>
          <a:solidFill>
            <a:srgbClr val="FFF0C1"/>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sz="1500" b="1" dirty="0"/>
          </a:p>
        </p:txBody>
      </p:sp>
      <p:pic>
        <p:nvPicPr>
          <p:cNvPr id="28" name="Picture 27" descr="A close up of a logo&#10;&#10;Description automatically generated">
            <a:extLst>
              <a:ext uri="{FF2B5EF4-FFF2-40B4-BE49-F238E27FC236}">
                <a16:creationId xmlns:a16="http://schemas.microsoft.com/office/drawing/2014/main" id="{1BACDC2D-CE07-423C-A80B-BD4D20FD7F7E}"/>
              </a:ext>
            </a:extLst>
          </p:cNvPr>
          <p:cNvPicPr>
            <a:picLocks noChangeAspect="1"/>
          </p:cNvPicPr>
          <p:nvPr/>
        </p:nvPicPr>
        <p:blipFill>
          <a:blip r:embed="rId3"/>
          <a:stretch>
            <a:fillRect/>
          </a:stretch>
        </p:blipFill>
        <p:spPr>
          <a:xfrm>
            <a:off x="1655100" y="3289339"/>
            <a:ext cx="642901" cy="596979"/>
          </a:xfrm>
          <a:prstGeom prst="rect">
            <a:avLst/>
          </a:prstGeom>
        </p:spPr>
      </p:pic>
      <p:sp>
        <p:nvSpPr>
          <p:cNvPr id="44" name="TextBox 43">
            <a:extLst>
              <a:ext uri="{FF2B5EF4-FFF2-40B4-BE49-F238E27FC236}">
                <a16:creationId xmlns:a16="http://schemas.microsoft.com/office/drawing/2014/main" id="{B5507B38-4F48-4378-BC1B-34BF676795CB}"/>
              </a:ext>
            </a:extLst>
          </p:cNvPr>
          <p:cNvSpPr txBox="1"/>
          <p:nvPr/>
        </p:nvSpPr>
        <p:spPr>
          <a:xfrm>
            <a:off x="522157" y="5778501"/>
            <a:ext cx="2996334" cy="284693"/>
          </a:xfrm>
          <a:prstGeom prst="rect">
            <a:avLst/>
          </a:prstGeom>
          <a:noFill/>
        </p:spPr>
        <p:txBody>
          <a:bodyPr wrap="none" rtlCol="0">
            <a:spAutoFit/>
          </a:bodyPr>
          <a:lstStyle/>
          <a:p>
            <a:pPr algn="ctr" defTabSz="914363">
              <a:defRPr/>
            </a:pPr>
            <a:r>
              <a:rPr lang="en-US" sz="1250" b="1" kern="0" dirty="0">
                <a:solidFill>
                  <a:srgbClr val="E7E6E6">
                    <a:lumMod val="50000"/>
                  </a:srgbClr>
                </a:solidFill>
                <a:latin typeface="Arial"/>
              </a:rPr>
              <a:t>Test Execution Reporting &amp; Analysis</a:t>
            </a:r>
          </a:p>
        </p:txBody>
      </p:sp>
      <p:sp>
        <p:nvSpPr>
          <p:cNvPr id="46" name="Diamond 45">
            <a:extLst>
              <a:ext uri="{FF2B5EF4-FFF2-40B4-BE49-F238E27FC236}">
                <a16:creationId xmlns:a16="http://schemas.microsoft.com/office/drawing/2014/main" id="{6DEB5FEF-3DF8-4236-976D-AFAF3C690234}"/>
              </a:ext>
            </a:extLst>
          </p:cNvPr>
          <p:cNvSpPr>
            <a:spLocks noChangeAspect="1"/>
          </p:cNvSpPr>
          <p:nvPr/>
        </p:nvSpPr>
        <p:spPr>
          <a:xfrm>
            <a:off x="1236086" y="4508500"/>
            <a:ext cx="1494414" cy="1178073"/>
          </a:xfrm>
          <a:prstGeom prst="diamond">
            <a:avLst/>
          </a:prstGeom>
          <a:solidFill>
            <a:srgbClr val="DEEBF6"/>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sz="1500" b="1"/>
          </a:p>
        </p:txBody>
      </p:sp>
      <p:sp>
        <p:nvSpPr>
          <p:cNvPr id="107" name="Arrow: Right 106">
            <a:extLst>
              <a:ext uri="{FF2B5EF4-FFF2-40B4-BE49-F238E27FC236}">
                <a16:creationId xmlns:a16="http://schemas.microsoft.com/office/drawing/2014/main" id="{91ECDED4-1EEF-4632-ACCF-79E1BD1362EF}"/>
              </a:ext>
            </a:extLst>
          </p:cNvPr>
          <p:cNvSpPr/>
          <p:nvPr/>
        </p:nvSpPr>
        <p:spPr>
          <a:xfrm>
            <a:off x="3540392" y="1660833"/>
            <a:ext cx="815340" cy="403860"/>
          </a:xfrm>
          <a:prstGeom prst="rightArrow">
            <a:avLst/>
          </a:prstGeom>
          <a:solidFill>
            <a:schemeClr val="accent6">
              <a:lumMod val="60000"/>
              <a:lumOff val="40000"/>
            </a:schemeClr>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sz="1500"/>
          </a:p>
        </p:txBody>
      </p:sp>
      <p:sp>
        <p:nvSpPr>
          <p:cNvPr id="80" name="Arrow: Right 79">
            <a:extLst>
              <a:ext uri="{FF2B5EF4-FFF2-40B4-BE49-F238E27FC236}">
                <a16:creationId xmlns:a16="http://schemas.microsoft.com/office/drawing/2014/main" id="{C0395BF9-5AB8-445D-BC95-C7A430F5D3D9}"/>
              </a:ext>
            </a:extLst>
          </p:cNvPr>
          <p:cNvSpPr/>
          <p:nvPr/>
        </p:nvSpPr>
        <p:spPr>
          <a:xfrm>
            <a:off x="3551402" y="3259319"/>
            <a:ext cx="815340" cy="403860"/>
          </a:xfrm>
          <a:prstGeom prst="rightArrow">
            <a:avLst/>
          </a:prstGeom>
          <a:solidFill>
            <a:schemeClr val="accent4">
              <a:lumMod val="40000"/>
              <a:lumOff val="60000"/>
            </a:schemeClr>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sz="1500"/>
          </a:p>
        </p:txBody>
      </p:sp>
      <p:sp>
        <p:nvSpPr>
          <p:cNvPr id="81" name="Arrow: Right 80">
            <a:extLst>
              <a:ext uri="{FF2B5EF4-FFF2-40B4-BE49-F238E27FC236}">
                <a16:creationId xmlns:a16="http://schemas.microsoft.com/office/drawing/2014/main" id="{94520DBB-4D4E-4E3E-BC8C-8E597CB85113}"/>
              </a:ext>
            </a:extLst>
          </p:cNvPr>
          <p:cNvSpPr/>
          <p:nvPr/>
        </p:nvSpPr>
        <p:spPr>
          <a:xfrm>
            <a:off x="3540392" y="4842787"/>
            <a:ext cx="815340" cy="403860"/>
          </a:xfrm>
          <a:prstGeom prst="rightArrow">
            <a:avLst/>
          </a:prstGeom>
          <a:solidFill>
            <a:schemeClr val="accent5">
              <a:lumMod val="40000"/>
              <a:lumOff val="60000"/>
            </a:schemeClr>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sz="1500"/>
          </a:p>
        </p:txBody>
      </p:sp>
      <p:pic>
        <p:nvPicPr>
          <p:cNvPr id="2" name="Picture 1"/>
          <p:cNvPicPr>
            <a:picLocks noChangeAspect="1"/>
          </p:cNvPicPr>
          <p:nvPr/>
        </p:nvPicPr>
        <p:blipFill>
          <a:blip r:embed="rId4">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1673854" y="1660833"/>
            <a:ext cx="568839" cy="568839"/>
          </a:xfrm>
          <a:prstGeom prst="rect">
            <a:avLst/>
          </a:prstGeom>
        </p:spPr>
      </p:pic>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98748" y="4842787"/>
            <a:ext cx="543945" cy="543945"/>
          </a:xfrm>
          <a:prstGeom prst="rect">
            <a:avLst/>
          </a:prstGeom>
        </p:spPr>
      </p:pic>
      <p:pic>
        <p:nvPicPr>
          <p:cNvPr id="3" name="Picture 2">
            <a:extLst>
              <a:ext uri="{FF2B5EF4-FFF2-40B4-BE49-F238E27FC236}">
                <a16:creationId xmlns:a16="http://schemas.microsoft.com/office/drawing/2014/main" id="{CB17FA75-BB78-4335-A18B-63DB09428A5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165624" y="1590381"/>
            <a:ext cx="1353327" cy="515528"/>
          </a:xfrm>
          <a:prstGeom prst="rect">
            <a:avLst/>
          </a:prstGeom>
        </p:spPr>
      </p:pic>
      <p:pic>
        <p:nvPicPr>
          <p:cNvPr id="11" name="Picture 10">
            <a:extLst>
              <a:ext uri="{FF2B5EF4-FFF2-40B4-BE49-F238E27FC236}">
                <a16:creationId xmlns:a16="http://schemas.microsoft.com/office/drawing/2014/main" id="{9D402E01-0D26-4FDB-BD84-6288F3A3E22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825260" y="3052003"/>
            <a:ext cx="1353327" cy="515528"/>
          </a:xfrm>
          <a:prstGeom prst="rect">
            <a:avLst/>
          </a:prstGeom>
        </p:spPr>
      </p:pic>
      <p:pic>
        <p:nvPicPr>
          <p:cNvPr id="12" name="Picture 11">
            <a:extLst>
              <a:ext uri="{FF2B5EF4-FFF2-40B4-BE49-F238E27FC236}">
                <a16:creationId xmlns:a16="http://schemas.microsoft.com/office/drawing/2014/main" id="{864432DD-132D-400E-9D08-D2E587873BE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084852" y="2924016"/>
            <a:ext cx="1649689" cy="670605"/>
          </a:xfrm>
          <a:prstGeom prst="rect">
            <a:avLst/>
          </a:prstGeom>
        </p:spPr>
      </p:pic>
      <p:pic>
        <p:nvPicPr>
          <p:cNvPr id="14" name="Picture 13">
            <a:extLst>
              <a:ext uri="{FF2B5EF4-FFF2-40B4-BE49-F238E27FC236}">
                <a16:creationId xmlns:a16="http://schemas.microsoft.com/office/drawing/2014/main" id="{B340C4FF-B989-43D0-B062-2B9B2E0A9FA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084851" y="4601831"/>
            <a:ext cx="1649689" cy="670605"/>
          </a:xfrm>
          <a:prstGeom prst="rect">
            <a:avLst/>
          </a:prstGeom>
        </p:spPr>
      </p:pic>
    </p:spTree>
    <p:extLst>
      <p:ext uri="{BB962C8B-B14F-4D97-AF65-F5344CB8AC3E}">
        <p14:creationId xmlns:p14="http://schemas.microsoft.com/office/powerpoint/2010/main" val="3271820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6" name="Group 95"/>
          <p:cNvGrpSpPr/>
          <p:nvPr/>
        </p:nvGrpSpPr>
        <p:grpSpPr>
          <a:xfrm>
            <a:off x="7108656" y="1411534"/>
            <a:ext cx="320844" cy="321932"/>
            <a:chOff x="7385847" y="943243"/>
            <a:chExt cx="609360" cy="611425"/>
          </a:xfrm>
          <a:solidFill>
            <a:schemeClr val="bg1"/>
          </a:solidFill>
        </p:grpSpPr>
        <p:sp>
          <p:nvSpPr>
            <p:cNvPr id="97" name="Freeform 22"/>
            <p:cNvSpPr>
              <a:spLocks noEditPoints="1"/>
            </p:cNvSpPr>
            <p:nvPr/>
          </p:nvSpPr>
          <p:spPr bwMode="auto">
            <a:xfrm flipH="1">
              <a:off x="7385847" y="943243"/>
              <a:ext cx="609360" cy="611425"/>
            </a:xfrm>
            <a:custGeom>
              <a:avLst/>
              <a:gdLst>
                <a:gd name="T0" fmla="*/ 76 w 125"/>
                <a:gd name="T1" fmla="*/ 0 h 125"/>
                <a:gd name="T2" fmla="*/ 27 w 125"/>
                <a:gd name="T3" fmla="*/ 49 h 125"/>
                <a:gd name="T4" fmla="*/ 34 w 125"/>
                <a:gd name="T5" fmla="*/ 73 h 125"/>
                <a:gd name="T6" fmla="*/ 5 w 125"/>
                <a:gd name="T7" fmla="*/ 102 h 125"/>
                <a:gd name="T8" fmla="*/ 5 w 125"/>
                <a:gd name="T9" fmla="*/ 120 h 125"/>
                <a:gd name="T10" fmla="*/ 24 w 125"/>
                <a:gd name="T11" fmla="*/ 120 h 125"/>
                <a:gd name="T12" fmla="*/ 52 w 125"/>
                <a:gd name="T13" fmla="*/ 92 h 125"/>
                <a:gd name="T14" fmla="*/ 76 w 125"/>
                <a:gd name="T15" fmla="*/ 98 h 125"/>
                <a:gd name="T16" fmla="*/ 125 w 125"/>
                <a:gd name="T17" fmla="*/ 49 h 125"/>
                <a:gd name="T18" fmla="*/ 76 w 125"/>
                <a:gd name="T19" fmla="*/ 0 h 125"/>
                <a:gd name="T20" fmla="*/ 76 w 125"/>
                <a:gd name="T21" fmla="*/ 85 h 125"/>
                <a:gd name="T22" fmla="*/ 40 w 125"/>
                <a:gd name="T23" fmla="*/ 49 h 125"/>
                <a:gd name="T24" fmla="*/ 76 w 125"/>
                <a:gd name="T25" fmla="*/ 13 h 125"/>
                <a:gd name="T26" fmla="*/ 112 w 125"/>
                <a:gd name="T27" fmla="*/ 49 h 125"/>
                <a:gd name="T28" fmla="*/ 76 w 125"/>
                <a:gd name="T29" fmla="*/ 8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 h="125">
                  <a:moveTo>
                    <a:pt x="76" y="0"/>
                  </a:moveTo>
                  <a:cubicBezTo>
                    <a:pt x="49" y="0"/>
                    <a:pt x="27" y="22"/>
                    <a:pt x="27" y="49"/>
                  </a:cubicBezTo>
                  <a:cubicBezTo>
                    <a:pt x="27" y="58"/>
                    <a:pt x="30" y="66"/>
                    <a:pt x="34" y="73"/>
                  </a:cubicBezTo>
                  <a:cubicBezTo>
                    <a:pt x="5" y="102"/>
                    <a:pt x="5" y="102"/>
                    <a:pt x="5" y="102"/>
                  </a:cubicBezTo>
                  <a:cubicBezTo>
                    <a:pt x="0" y="107"/>
                    <a:pt x="0" y="115"/>
                    <a:pt x="5" y="120"/>
                  </a:cubicBezTo>
                  <a:cubicBezTo>
                    <a:pt x="10" y="125"/>
                    <a:pt x="19" y="125"/>
                    <a:pt x="24" y="120"/>
                  </a:cubicBezTo>
                  <a:cubicBezTo>
                    <a:pt x="52" y="92"/>
                    <a:pt x="52" y="92"/>
                    <a:pt x="52" y="92"/>
                  </a:cubicBezTo>
                  <a:cubicBezTo>
                    <a:pt x="59" y="96"/>
                    <a:pt x="68" y="98"/>
                    <a:pt x="76" y="98"/>
                  </a:cubicBezTo>
                  <a:cubicBezTo>
                    <a:pt x="103" y="98"/>
                    <a:pt x="125" y="76"/>
                    <a:pt x="125" y="49"/>
                  </a:cubicBezTo>
                  <a:cubicBezTo>
                    <a:pt x="125" y="22"/>
                    <a:pt x="103" y="0"/>
                    <a:pt x="76" y="0"/>
                  </a:cubicBezTo>
                  <a:close/>
                  <a:moveTo>
                    <a:pt x="76" y="85"/>
                  </a:moveTo>
                  <a:cubicBezTo>
                    <a:pt x="56" y="85"/>
                    <a:pt x="40" y="69"/>
                    <a:pt x="40" y="49"/>
                  </a:cubicBezTo>
                  <a:cubicBezTo>
                    <a:pt x="40" y="29"/>
                    <a:pt x="56" y="13"/>
                    <a:pt x="76" y="13"/>
                  </a:cubicBezTo>
                  <a:cubicBezTo>
                    <a:pt x="96" y="13"/>
                    <a:pt x="112" y="29"/>
                    <a:pt x="112" y="49"/>
                  </a:cubicBezTo>
                  <a:cubicBezTo>
                    <a:pt x="112" y="69"/>
                    <a:pt x="96" y="85"/>
                    <a:pt x="76"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2449">
                <a:solidFill>
                  <a:schemeClr val="bg1"/>
                </a:solidFill>
              </a:endParaRPr>
            </a:p>
          </p:txBody>
        </p:sp>
        <p:sp>
          <p:nvSpPr>
            <p:cNvPr id="98" name="Freeform 23"/>
            <p:cNvSpPr>
              <a:spLocks/>
            </p:cNvSpPr>
            <p:nvPr/>
          </p:nvSpPr>
          <p:spPr bwMode="auto">
            <a:xfrm>
              <a:off x="7472603" y="1089903"/>
              <a:ext cx="307779" cy="210694"/>
            </a:xfrm>
            <a:custGeom>
              <a:avLst/>
              <a:gdLst>
                <a:gd name="T0" fmla="*/ 58 w 63"/>
                <a:gd name="T1" fmla="*/ 0 h 43"/>
                <a:gd name="T2" fmla="*/ 36 w 63"/>
                <a:gd name="T3" fmla="*/ 25 h 43"/>
                <a:gd name="T4" fmla="*/ 17 w 63"/>
                <a:gd name="T5" fmla="*/ 4 h 43"/>
                <a:gd name="T6" fmla="*/ 0 w 63"/>
                <a:gd name="T7" fmla="*/ 20 h 43"/>
                <a:gd name="T8" fmla="*/ 3 w 63"/>
                <a:gd name="T9" fmla="*/ 33 h 43"/>
                <a:gd name="T10" fmla="*/ 17 w 63"/>
                <a:gd name="T11" fmla="*/ 21 h 43"/>
                <a:gd name="T12" fmla="*/ 36 w 63"/>
                <a:gd name="T13" fmla="*/ 43 h 43"/>
                <a:gd name="T14" fmla="*/ 63 w 63"/>
                <a:gd name="T15" fmla="*/ 12 h 43"/>
                <a:gd name="T16" fmla="*/ 58 w 63"/>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3">
                  <a:moveTo>
                    <a:pt x="58" y="0"/>
                  </a:moveTo>
                  <a:cubicBezTo>
                    <a:pt x="36" y="25"/>
                    <a:pt x="36" y="25"/>
                    <a:pt x="36" y="25"/>
                  </a:cubicBezTo>
                  <a:cubicBezTo>
                    <a:pt x="17" y="4"/>
                    <a:pt x="17" y="4"/>
                    <a:pt x="17" y="4"/>
                  </a:cubicBezTo>
                  <a:cubicBezTo>
                    <a:pt x="0" y="20"/>
                    <a:pt x="0" y="20"/>
                    <a:pt x="0" y="20"/>
                  </a:cubicBezTo>
                  <a:cubicBezTo>
                    <a:pt x="0" y="24"/>
                    <a:pt x="1" y="29"/>
                    <a:pt x="3" y="33"/>
                  </a:cubicBezTo>
                  <a:cubicBezTo>
                    <a:pt x="17" y="21"/>
                    <a:pt x="17" y="21"/>
                    <a:pt x="17" y="21"/>
                  </a:cubicBezTo>
                  <a:cubicBezTo>
                    <a:pt x="36" y="43"/>
                    <a:pt x="36" y="43"/>
                    <a:pt x="36" y="43"/>
                  </a:cubicBezTo>
                  <a:cubicBezTo>
                    <a:pt x="63" y="12"/>
                    <a:pt x="63" y="12"/>
                    <a:pt x="63" y="12"/>
                  </a:cubicBezTo>
                  <a:cubicBezTo>
                    <a:pt x="62" y="7"/>
                    <a:pt x="60" y="3"/>
                    <a:pt x="58"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endParaRPr lang="en-US" sz="2449">
                <a:solidFill>
                  <a:schemeClr val="bg1"/>
                </a:solidFill>
              </a:endParaRPr>
            </a:p>
          </p:txBody>
        </p:sp>
      </p:grpSp>
      <p:sp>
        <p:nvSpPr>
          <p:cNvPr id="10" name="Title 117">
            <a:extLst>
              <a:ext uri="{FF2B5EF4-FFF2-40B4-BE49-F238E27FC236}">
                <a16:creationId xmlns:a16="http://schemas.microsoft.com/office/drawing/2014/main" id="{197BD3B0-8155-4019-8883-64013068C737}"/>
              </a:ext>
            </a:extLst>
          </p:cNvPr>
          <p:cNvSpPr>
            <a:spLocks noGrp="1"/>
          </p:cNvSpPr>
          <p:nvPr>
            <p:ph type="title"/>
          </p:nvPr>
        </p:nvSpPr>
        <p:spPr>
          <a:xfrm>
            <a:off x="571500" y="533136"/>
            <a:ext cx="11049000" cy="419364"/>
          </a:xfrm>
        </p:spPr>
        <p:txBody>
          <a:bodyPr>
            <a:noAutofit/>
          </a:bodyPr>
          <a:lstStyle/>
          <a:p>
            <a:r>
              <a:rPr lang="en-IN" sz="3000" dirty="0">
                <a:solidFill>
                  <a:srgbClr val="EF6F0E"/>
                </a:solidFill>
              </a:rPr>
              <a:t>TestMagic</a:t>
            </a:r>
            <a:r>
              <a:rPr lang="en-IN" sz="3000" baseline="30000" dirty="0">
                <a:solidFill>
                  <a:srgbClr val="EF6F0E"/>
                </a:solidFill>
              </a:rPr>
              <a:t>TM</a:t>
            </a:r>
            <a:r>
              <a:rPr lang="en-IN" altLang="en-US" sz="3000" dirty="0">
                <a:solidFill>
                  <a:srgbClr val="EF6F0E"/>
                </a:solidFill>
              </a:rPr>
              <a:t> – Business Process Techniques….</a:t>
            </a:r>
            <a:br>
              <a:rPr lang="en-IN" altLang="en-US" sz="3333" dirty="0">
                <a:solidFill>
                  <a:schemeClr val="accent4">
                    <a:lumMod val="75000"/>
                  </a:schemeClr>
                </a:solidFill>
              </a:rPr>
            </a:br>
            <a:br>
              <a:rPr lang="en-US" altLang="en-US" sz="3333" dirty="0">
                <a:solidFill>
                  <a:schemeClr val="accent4">
                    <a:lumMod val="75000"/>
                  </a:schemeClr>
                </a:solidFill>
              </a:rPr>
            </a:br>
            <a:br>
              <a:rPr lang="en-US" altLang="en-US" sz="3333" dirty="0"/>
            </a:br>
            <a:br>
              <a:rPr lang="en-US" altLang="en-US" sz="3333" dirty="0"/>
            </a:br>
            <a:r>
              <a:rPr lang="en-US" altLang="en-US" sz="3333" dirty="0"/>
              <a:t>  </a:t>
            </a:r>
          </a:p>
        </p:txBody>
      </p:sp>
      <p:grpSp>
        <p:nvGrpSpPr>
          <p:cNvPr id="2" name="Group 1">
            <a:extLst>
              <a:ext uri="{FF2B5EF4-FFF2-40B4-BE49-F238E27FC236}">
                <a16:creationId xmlns:a16="http://schemas.microsoft.com/office/drawing/2014/main" id="{A057B3CA-545E-41CF-9056-466431C5BCA1}"/>
              </a:ext>
            </a:extLst>
          </p:cNvPr>
          <p:cNvGrpSpPr>
            <a:grpSpLocks noChangeAspect="1"/>
          </p:cNvGrpSpPr>
          <p:nvPr/>
        </p:nvGrpSpPr>
        <p:grpSpPr>
          <a:xfrm>
            <a:off x="1468520" y="1054318"/>
            <a:ext cx="8932700" cy="5486400"/>
            <a:chOff x="216138" y="956334"/>
            <a:chExt cx="8457247" cy="5194377"/>
          </a:xfrm>
        </p:grpSpPr>
        <p:sp>
          <p:nvSpPr>
            <p:cNvPr id="8" name="Rectangle: Rounded Corners 7">
              <a:extLst>
                <a:ext uri="{FF2B5EF4-FFF2-40B4-BE49-F238E27FC236}">
                  <a16:creationId xmlns:a16="http://schemas.microsoft.com/office/drawing/2014/main" id="{C8D918C2-3160-4A21-9585-745CAD607D2F}"/>
                </a:ext>
              </a:extLst>
            </p:cNvPr>
            <p:cNvSpPr/>
            <p:nvPr/>
          </p:nvSpPr>
          <p:spPr bwMode="auto">
            <a:xfrm>
              <a:off x="677361" y="2139685"/>
              <a:ext cx="3361654" cy="4011026"/>
            </a:xfrm>
            <a:prstGeom prst="roundRect">
              <a:avLst/>
            </a:prstGeom>
            <a:solidFill>
              <a:srgbClr val="00B0F0"/>
            </a:solidFill>
            <a:ln w="9525" cap="flat" cmpd="sng" algn="ctr">
              <a:solidFill>
                <a:schemeClr val="tx1"/>
              </a:solidFill>
              <a:prstDash val="solid"/>
              <a:round/>
              <a:headEnd type="none" w="med" len="med"/>
              <a:tailEnd type="none" w="med" len="med"/>
            </a:ln>
            <a:effectLst/>
          </p:spPr>
          <p:txBody>
            <a:bodyPr vert="horz" wrap="square" lIns="76200" tIns="38100" rIns="76200" bIns="38100" numCol="1" rtlCol="0" anchor="t" anchorCtr="0" compatLnSpc="1">
              <a:prstTxWarp prst="textNoShape">
                <a:avLst/>
              </a:prstTxWarp>
            </a:bodyPr>
            <a:lstStyle/>
            <a:p>
              <a:pPr defTabSz="380985" fontAlgn="base">
                <a:lnSpc>
                  <a:spcPct val="92000"/>
                </a:lnSpc>
                <a:spcBef>
                  <a:spcPct val="0"/>
                </a:spcBef>
                <a:spcAft>
                  <a:spcPct val="0"/>
                </a:spcAft>
                <a:buClr>
                  <a:srgbClr val="000000"/>
                </a:buClr>
                <a:buSzPct val="100000"/>
              </a:pPr>
              <a:endParaRPr lang="en-US" sz="1500">
                <a:solidFill>
                  <a:schemeClr val="bg1"/>
                </a:solidFill>
                <a:latin typeface="Arial" charset="0"/>
                <a:cs typeface="Lucida Sans Unicode" pitchFamily="34" charset="0"/>
              </a:endParaRPr>
            </a:p>
          </p:txBody>
        </p:sp>
        <p:grpSp>
          <p:nvGrpSpPr>
            <p:cNvPr id="9" name="Group 8">
              <a:extLst>
                <a:ext uri="{FF2B5EF4-FFF2-40B4-BE49-F238E27FC236}">
                  <a16:creationId xmlns:a16="http://schemas.microsoft.com/office/drawing/2014/main" id="{8784B3B3-16E3-48BB-9997-BC3378E7F2D1}"/>
                </a:ext>
              </a:extLst>
            </p:cNvPr>
            <p:cNvGrpSpPr/>
            <p:nvPr/>
          </p:nvGrpSpPr>
          <p:grpSpPr>
            <a:xfrm>
              <a:off x="777807" y="956334"/>
              <a:ext cx="3146374" cy="1035413"/>
              <a:chOff x="365429" y="1057929"/>
              <a:chExt cx="3146374" cy="1144090"/>
            </a:xfrm>
          </p:grpSpPr>
          <p:pic>
            <p:nvPicPr>
              <p:cNvPr id="12" name="Google Shape;549;p24" descr="A picture containing toy&#10;&#10;Description automatically generated">
                <a:extLst>
                  <a:ext uri="{FF2B5EF4-FFF2-40B4-BE49-F238E27FC236}">
                    <a16:creationId xmlns:a16="http://schemas.microsoft.com/office/drawing/2014/main" id="{E50D7463-405D-4949-80DA-DB926214EAA7}"/>
                  </a:ext>
                </a:extLst>
              </p:cNvPr>
              <p:cNvPicPr preferRelativeResize="0"/>
              <p:nvPr/>
            </p:nvPicPr>
            <p:blipFill rotWithShape="1">
              <a:blip r:embed="rId3">
                <a:alphaModFix/>
              </a:blip>
              <a:srcRect/>
              <a:stretch/>
            </p:blipFill>
            <p:spPr>
              <a:xfrm>
                <a:off x="465653" y="1057929"/>
                <a:ext cx="697597" cy="697597"/>
              </a:xfrm>
              <a:prstGeom prst="rect">
                <a:avLst/>
              </a:prstGeom>
              <a:noFill/>
              <a:ln>
                <a:noFill/>
              </a:ln>
            </p:spPr>
          </p:pic>
          <p:sp>
            <p:nvSpPr>
              <p:cNvPr id="13" name="Google Shape;550;p24">
                <a:extLst>
                  <a:ext uri="{FF2B5EF4-FFF2-40B4-BE49-F238E27FC236}">
                    <a16:creationId xmlns:a16="http://schemas.microsoft.com/office/drawing/2014/main" id="{6EFC0D3F-C95D-40D0-9B54-564E17A6ACBE}"/>
                  </a:ext>
                </a:extLst>
              </p:cNvPr>
              <p:cNvSpPr/>
              <p:nvPr/>
            </p:nvSpPr>
            <p:spPr>
              <a:xfrm>
                <a:off x="365429" y="1771738"/>
                <a:ext cx="898044" cy="407163"/>
              </a:xfrm>
              <a:prstGeom prst="rect">
                <a:avLst/>
              </a:prstGeom>
              <a:noFill/>
              <a:ln>
                <a:noFill/>
              </a:ln>
            </p:spPr>
            <p:txBody>
              <a:bodyPr spcFirstLastPara="1" wrap="square" lIns="76188" tIns="38083" rIns="76188" bIns="38083" anchor="t" anchorCtr="0">
                <a:noAutofit/>
              </a:bodyPr>
              <a:lstStyle/>
              <a:p>
                <a:pPr marR="4233" algn="ctr">
                  <a:lnSpc>
                    <a:spcPct val="93000"/>
                  </a:lnSpc>
                </a:pPr>
                <a:r>
                  <a:rPr lang="en-US" sz="917" b="1" dirty="0">
                    <a:solidFill>
                      <a:schemeClr val="dk1"/>
                    </a:solidFill>
                    <a:latin typeface="Avenir"/>
                    <a:ea typeface="Avenir"/>
                    <a:cs typeface="Avenir"/>
                    <a:sym typeface="Avenir"/>
                  </a:rPr>
                  <a:t>Manual Execution</a:t>
                </a:r>
                <a:endParaRPr sz="1500" dirty="0"/>
              </a:p>
            </p:txBody>
          </p:sp>
          <p:pic>
            <p:nvPicPr>
              <p:cNvPr id="14" name="Picture 13">
                <a:extLst>
                  <a:ext uri="{FF2B5EF4-FFF2-40B4-BE49-F238E27FC236}">
                    <a16:creationId xmlns:a16="http://schemas.microsoft.com/office/drawing/2014/main" id="{8FF43C2C-26C2-4B58-B442-09DD687D1769}"/>
                  </a:ext>
                </a:extLst>
              </p:cNvPr>
              <p:cNvPicPr>
                <a:picLocks noChangeAspect="1"/>
              </p:cNvPicPr>
              <p:nvPr/>
            </p:nvPicPr>
            <p:blipFill>
              <a:blip r:embed="rId4"/>
              <a:stretch>
                <a:fillRect/>
              </a:stretch>
            </p:blipFill>
            <p:spPr>
              <a:xfrm>
                <a:off x="1515650" y="1177378"/>
                <a:ext cx="551877" cy="548640"/>
              </a:xfrm>
              <a:prstGeom prst="rect">
                <a:avLst/>
              </a:prstGeom>
            </p:spPr>
          </p:pic>
          <p:sp>
            <p:nvSpPr>
              <p:cNvPr id="15" name="Google Shape;550;p24">
                <a:extLst>
                  <a:ext uri="{FF2B5EF4-FFF2-40B4-BE49-F238E27FC236}">
                    <a16:creationId xmlns:a16="http://schemas.microsoft.com/office/drawing/2014/main" id="{BE962A09-87CA-4B99-9B1A-7CC192BB18AA}"/>
                  </a:ext>
                </a:extLst>
              </p:cNvPr>
              <p:cNvSpPr/>
              <p:nvPr/>
            </p:nvSpPr>
            <p:spPr>
              <a:xfrm>
                <a:off x="1182352" y="1845521"/>
                <a:ext cx="1289216" cy="242406"/>
              </a:xfrm>
              <a:prstGeom prst="rect">
                <a:avLst/>
              </a:prstGeom>
              <a:noFill/>
              <a:ln>
                <a:noFill/>
              </a:ln>
            </p:spPr>
            <p:txBody>
              <a:bodyPr spcFirstLastPara="1" wrap="square" lIns="76188" tIns="38083" rIns="76188" bIns="38083" anchor="t" anchorCtr="0">
                <a:noAutofit/>
              </a:bodyPr>
              <a:lstStyle/>
              <a:p>
                <a:pPr marR="4233" algn="ctr">
                  <a:lnSpc>
                    <a:spcPct val="93000"/>
                  </a:lnSpc>
                </a:pPr>
                <a:r>
                  <a:rPr lang="en-US" sz="917" b="1" dirty="0">
                    <a:solidFill>
                      <a:schemeClr val="dk1"/>
                    </a:solidFill>
                    <a:latin typeface="Avenir"/>
                    <a:ea typeface="Avenir"/>
                    <a:cs typeface="Avenir"/>
                    <a:sym typeface="Avenir"/>
                  </a:rPr>
                  <a:t>Wire Frame(s)</a:t>
                </a:r>
                <a:endParaRPr sz="1500" dirty="0"/>
              </a:p>
            </p:txBody>
          </p:sp>
          <p:pic>
            <p:nvPicPr>
              <p:cNvPr id="16" name="Picture 15">
                <a:extLst>
                  <a:ext uri="{FF2B5EF4-FFF2-40B4-BE49-F238E27FC236}">
                    <a16:creationId xmlns:a16="http://schemas.microsoft.com/office/drawing/2014/main" id="{C8E644BD-320E-4F8E-BD50-77429A3AD09E}"/>
                  </a:ext>
                </a:extLst>
              </p:cNvPr>
              <p:cNvPicPr>
                <a:picLocks noChangeAspect="1"/>
              </p:cNvPicPr>
              <p:nvPr/>
            </p:nvPicPr>
            <p:blipFill>
              <a:blip r:embed="rId5"/>
              <a:stretch>
                <a:fillRect/>
              </a:stretch>
            </p:blipFill>
            <p:spPr>
              <a:xfrm>
                <a:off x="2620291" y="1194723"/>
                <a:ext cx="628443" cy="640080"/>
              </a:xfrm>
              <a:prstGeom prst="rect">
                <a:avLst/>
              </a:prstGeom>
            </p:spPr>
          </p:pic>
          <p:sp>
            <p:nvSpPr>
              <p:cNvPr id="17" name="Google Shape;550;p24">
                <a:extLst>
                  <a:ext uri="{FF2B5EF4-FFF2-40B4-BE49-F238E27FC236}">
                    <a16:creationId xmlns:a16="http://schemas.microsoft.com/office/drawing/2014/main" id="{43FE09A8-2081-4136-8E11-2F83BDF9C542}"/>
                  </a:ext>
                </a:extLst>
              </p:cNvPr>
              <p:cNvSpPr/>
              <p:nvPr/>
            </p:nvSpPr>
            <p:spPr>
              <a:xfrm>
                <a:off x="2370655" y="1818810"/>
                <a:ext cx="1141148" cy="255570"/>
              </a:xfrm>
              <a:prstGeom prst="rect">
                <a:avLst/>
              </a:prstGeom>
              <a:noFill/>
              <a:ln>
                <a:noFill/>
              </a:ln>
            </p:spPr>
            <p:txBody>
              <a:bodyPr spcFirstLastPara="1" wrap="square" lIns="76188" tIns="38083" rIns="76188" bIns="38083" anchor="t" anchorCtr="0">
                <a:noAutofit/>
              </a:bodyPr>
              <a:lstStyle/>
              <a:p>
                <a:pPr marR="4233" algn="ctr">
                  <a:lnSpc>
                    <a:spcPct val="93000"/>
                  </a:lnSpc>
                </a:pPr>
                <a:r>
                  <a:rPr lang="en-US" sz="917" b="1" dirty="0">
                    <a:solidFill>
                      <a:schemeClr val="dk1"/>
                    </a:solidFill>
                    <a:latin typeface="Avenir"/>
                    <a:ea typeface="Avenir"/>
                    <a:cs typeface="Avenir"/>
                    <a:sym typeface="Avenir"/>
                  </a:rPr>
                  <a:t>Screenshots/</a:t>
                </a:r>
              </a:p>
              <a:p>
                <a:pPr marR="4233" algn="ctr">
                  <a:lnSpc>
                    <a:spcPct val="93000"/>
                  </a:lnSpc>
                </a:pPr>
                <a:r>
                  <a:rPr lang="en-US" sz="917" b="1" dirty="0">
                    <a:solidFill>
                      <a:schemeClr val="dk1"/>
                    </a:solidFill>
                    <a:latin typeface="Avenir"/>
                    <a:sym typeface="Avenir"/>
                  </a:rPr>
                  <a:t>FSD/BRD</a:t>
                </a:r>
                <a:endParaRPr sz="1500" dirty="0"/>
              </a:p>
            </p:txBody>
          </p:sp>
          <p:sp>
            <p:nvSpPr>
              <p:cNvPr id="18" name="Rectangle: Rounded Corners 17">
                <a:extLst>
                  <a:ext uri="{FF2B5EF4-FFF2-40B4-BE49-F238E27FC236}">
                    <a16:creationId xmlns:a16="http://schemas.microsoft.com/office/drawing/2014/main" id="{722E2207-213F-45F5-8EA5-46D3E029EF34}"/>
                  </a:ext>
                </a:extLst>
              </p:cNvPr>
              <p:cNvSpPr/>
              <p:nvPr/>
            </p:nvSpPr>
            <p:spPr bwMode="auto">
              <a:xfrm>
                <a:off x="365429" y="1057929"/>
                <a:ext cx="3073105" cy="1144090"/>
              </a:xfrm>
              <a:prstGeom prst="roundRect">
                <a:avLst/>
              </a:prstGeom>
              <a:noFill/>
              <a:ln w="9525" cap="flat" cmpd="sng" algn="ctr">
                <a:solidFill>
                  <a:schemeClr val="tx1"/>
                </a:solidFill>
                <a:prstDash val="solid"/>
                <a:round/>
                <a:headEnd type="none" w="med" len="med"/>
                <a:tailEnd type="none" w="med" len="med"/>
              </a:ln>
              <a:effectLst/>
            </p:spPr>
            <p:txBody>
              <a:bodyPr vert="horz" wrap="square" lIns="76200" tIns="38100" rIns="76200" bIns="38100" numCol="1" rtlCol="0" anchor="t" anchorCtr="0" compatLnSpc="1">
                <a:prstTxWarp prst="textNoShape">
                  <a:avLst/>
                </a:prstTxWarp>
              </a:bodyPr>
              <a:lstStyle/>
              <a:p>
                <a:pPr defTabSz="380985" fontAlgn="base">
                  <a:lnSpc>
                    <a:spcPct val="92000"/>
                  </a:lnSpc>
                  <a:spcBef>
                    <a:spcPct val="0"/>
                  </a:spcBef>
                  <a:spcAft>
                    <a:spcPct val="0"/>
                  </a:spcAft>
                  <a:buClr>
                    <a:srgbClr val="000000"/>
                  </a:buClr>
                  <a:buSzPct val="100000"/>
                </a:pPr>
                <a:endParaRPr lang="en-US" sz="1500">
                  <a:solidFill>
                    <a:schemeClr val="bg1"/>
                  </a:solidFill>
                  <a:latin typeface="Arial" charset="0"/>
                  <a:cs typeface="Lucida Sans Unicode" pitchFamily="34" charset="0"/>
                </a:endParaRPr>
              </a:p>
            </p:txBody>
          </p:sp>
        </p:grpSp>
        <p:grpSp>
          <p:nvGrpSpPr>
            <p:cNvPr id="19" name="Group 18">
              <a:extLst>
                <a:ext uri="{FF2B5EF4-FFF2-40B4-BE49-F238E27FC236}">
                  <a16:creationId xmlns:a16="http://schemas.microsoft.com/office/drawing/2014/main" id="{B2E5D9C9-5E6F-4A41-AC33-2A556E689721}"/>
                </a:ext>
              </a:extLst>
            </p:cNvPr>
            <p:cNvGrpSpPr/>
            <p:nvPr/>
          </p:nvGrpSpPr>
          <p:grpSpPr>
            <a:xfrm>
              <a:off x="786771" y="2482938"/>
              <a:ext cx="3107448" cy="1144090"/>
              <a:chOff x="365429" y="2778775"/>
              <a:chExt cx="3107448" cy="1144090"/>
            </a:xfrm>
          </p:grpSpPr>
          <p:pic>
            <p:nvPicPr>
              <p:cNvPr id="20" name="Google Shape;554;p24" descr="A close up of a logo&#10;&#10;Description automatically generated">
                <a:extLst>
                  <a:ext uri="{FF2B5EF4-FFF2-40B4-BE49-F238E27FC236}">
                    <a16:creationId xmlns:a16="http://schemas.microsoft.com/office/drawing/2014/main" id="{A354A153-A30A-4297-9A29-DB6E0039B055}"/>
                  </a:ext>
                </a:extLst>
              </p:cNvPr>
              <p:cNvPicPr preferRelativeResize="0"/>
              <p:nvPr/>
            </p:nvPicPr>
            <p:blipFill rotWithShape="1">
              <a:blip r:embed="rId6">
                <a:alphaModFix/>
              </a:blip>
              <a:srcRect/>
              <a:stretch/>
            </p:blipFill>
            <p:spPr>
              <a:xfrm>
                <a:off x="525123" y="2802948"/>
                <a:ext cx="365760" cy="365760"/>
              </a:xfrm>
              <a:prstGeom prst="rect">
                <a:avLst/>
              </a:prstGeom>
              <a:noFill/>
              <a:ln>
                <a:noFill/>
              </a:ln>
            </p:spPr>
          </p:pic>
          <p:pic>
            <p:nvPicPr>
              <p:cNvPr id="21" name="Google Shape;555;p24" descr="A close up of a logo&#10;&#10;Description automatically generated">
                <a:extLst>
                  <a:ext uri="{FF2B5EF4-FFF2-40B4-BE49-F238E27FC236}">
                    <a16:creationId xmlns:a16="http://schemas.microsoft.com/office/drawing/2014/main" id="{3AF6F76D-DC55-4915-B789-08F9FED10B7A}"/>
                  </a:ext>
                </a:extLst>
              </p:cNvPr>
              <p:cNvPicPr preferRelativeResize="0"/>
              <p:nvPr/>
            </p:nvPicPr>
            <p:blipFill rotWithShape="1">
              <a:blip r:embed="rId6">
                <a:alphaModFix/>
              </a:blip>
              <a:srcRect/>
              <a:stretch/>
            </p:blipFill>
            <p:spPr>
              <a:xfrm>
                <a:off x="979194" y="2802948"/>
                <a:ext cx="365760" cy="365760"/>
              </a:xfrm>
              <a:prstGeom prst="rect">
                <a:avLst/>
              </a:prstGeom>
              <a:noFill/>
              <a:ln>
                <a:noFill/>
              </a:ln>
            </p:spPr>
          </p:pic>
          <p:pic>
            <p:nvPicPr>
              <p:cNvPr id="22" name="Google Shape;556;p24" descr="A close up of a logo&#10;&#10;Description automatically generated">
                <a:extLst>
                  <a:ext uri="{FF2B5EF4-FFF2-40B4-BE49-F238E27FC236}">
                    <a16:creationId xmlns:a16="http://schemas.microsoft.com/office/drawing/2014/main" id="{0F3C6766-FEE5-48A6-A00B-1DDCBCE56B69}"/>
                  </a:ext>
                </a:extLst>
              </p:cNvPr>
              <p:cNvPicPr preferRelativeResize="0"/>
              <p:nvPr/>
            </p:nvPicPr>
            <p:blipFill rotWithShape="1">
              <a:blip r:embed="rId6">
                <a:alphaModFix/>
              </a:blip>
              <a:srcRect/>
              <a:stretch/>
            </p:blipFill>
            <p:spPr>
              <a:xfrm>
                <a:off x="1452236" y="2841334"/>
                <a:ext cx="365760" cy="365760"/>
              </a:xfrm>
              <a:prstGeom prst="rect">
                <a:avLst/>
              </a:prstGeom>
              <a:noFill/>
              <a:ln>
                <a:noFill/>
              </a:ln>
            </p:spPr>
          </p:pic>
          <p:pic>
            <p:nvPicPr>
              <p:cNvPr id="23" name="Google Shape;557;p24" descr="A close up of a logo&#10;&#10;Description automatically generated">
                <a:extLst>
                  <a:ext uri="{FF2B5EF4-FFF2-40B4-BE49-F238E27FC236}">
                    <a16:creationId xmlns:a16="http://schemas.microsoft.com/office/drawing/2014/main" id="{CC8DABD5-7404-4564-ABCC-440EF27EBAE6}"/>
                  </a:ext>
                </a:extLst>
              </p:cNvPr>
              <p:cNvPicPr preferRelativeResize="0"/>
              <p:nvPr/>
            </p:nvPicPr>
            <p:blipFill rotWithShape="1">
              <a:blip r:embed="rId6">
                <a:alphaModFix/>
              </a:blip>
              <a:srcRect/>
              <a:stretch/>
            </p:blipFill>
            <p:spPr>
              <a:xfrm>
                <a:off x="1969674" y="2836693"/>
                <a:ext cx="365760" cy="365760"/>
              </a:xfrm>
              <a:prstGeom prst="rect">
                <a:avLst/>
              </a:prstGeom>
              <a:noFill/>
              <a:ln>
                <a:noFill/>
              </a:ln>
            </p:spPr>
          </p:pic>
          <p:pic>
            <p:nvPicPr>
              <p:cNvPr id="24" name="Google Shape;558;p24" descr="A close up of a logo&#10;&#10;Description automatically generated">
                <a:extLst>
                  <a:ext uri="{FF2B5EF4-FFF2-40B4-BE49-F238E27FC236}">
                    <a16:creationId xmlns:a16="http://schemas.microsoft.com/office/drawing/2014/main" id="{1B648EB9-C0A6-4074-9249-AE6D3769DFE2}"/>
                  </a:ext>
                </a:extLst>
              </p:cNvPr>
              <p:cNvPicPr preferRelativeResize="0"/>
              <p:nvPr/>
            </p:nvPicPr>
            <p:blipFill rotWithShape="1">
              <a:blip r:embed="rId6">
                <a:alphaModFix/>
              </a:blip>
              <a:srcRect/>
              <a:stretch/>
            </p:blipFill>
            <p:spPr>
              <a:xfrm>
                <a:off x="2440822" y="2825687"/>
                <a:ext cx="365760" cy="365760"/>
              </a:xfrm>
              <a:prstGeom prst="rect">
                <a:avLst/>
              </a:prstGeom>
              <a:noFill/>
              <a:ln>
                <a:noFill/>
              </a:ln>
            </p:spPr>
          </p:pic>
          <p:pic>
            <p:nvPicPr>
              <p:cNvPr id="25" name="Google Shape;548;p24" descr="A picture containing drawing&#10;&#10;Description automatically generated">
                <a:extLst>
                  <a:ext uri="{FF2B5EF4-FFF2-40B4-BE49-F238E27FC236}">
                    <a16:creationId xmlns:a16="http://schemas.microsoft.com/office/drawing/2014/main" id="{980CBB32-02D1-40F8-AAD8-08D707952540}"/>
                  </a:ext>
                </a:extLst>
              </p:cNvPr>
              <p:cNvPicPr preferRelativeResize="0"/>
              <p:nvPr/>
            </p:nvPicPr>
            <p:blipFill rotWithShape="1">
              <a:blip r:embed="rId7">
                <a:alphaModFix/>
              </a:blip>
              <a:srcRect/>
              <a:stretch/>
            </p:blipFill>
            <p:spPr>
              <a:xfrm>
                <a:off x="2682290" y="3134227"/>
                <a:ext cx="365760" cy="365760"/>
              </a:xfrm>
              <a:prstGeom prst="rect">
                <a:avLst/>
              </a:prstGeom>
              <a:noFill/>
              <a:ln>
                <a:noFill/>
              </a:ln>
            </p:spPr>
          </p:pic>
          <p:sp>
            <p:nvSpPr>
              <p:cNvPr id="26" name="Google Shape;559;p24">
                <a:extLst>
                  <a:ext uri="{FF2B5EF4-FFF2-40B4-BE49-F238E27FC236}">
                    <a16:creationId xmlns:a16="http://schemas.microsoft.com/office/drawing/2014/main" id="{25E6D4F7-C0D8-4817-9389-A9BBC57AB555}"/>
                  </a:ext>
                </a:extLst>
              </p:cNvPr>
              <p:cNvSpPr/>
              <p:nvPr/>
            </p:nvSpPr>
            <p:spPr>
              <a:xfrm>
                <a:off x="2247363" y="3507180"/>
                <a:ext cx="1225514" cy="407163"/>
              </a:xfrm>
              <a:prstGeom prst="rect">
                <a:avLst/>
              </a:prstGeom>
              <a:noFill/>
              <a:ln>
                <a:noFill/>
              </a:ln>
            </p:spPr>
            <p:txBody>
              <a:bodyPr spcFirstLastPara="1" wrap="square" lIns="76188" tIns="38083" rIns="76188" bIns="38083" anchor="t" anchorCtr="0">
                <a:noAutofit/>
              </a:bodyPr>
              <a:lstStyle/>
              <a:p>
                <a:pPr marR="4233" algn="ctr">
                  <a:lnSpc>
                    <a:spcPct val="93000"/>
                  </a:lnSpc>
                </a:pPr>
                <a:r>
                  <a:rPr lang="en-US" sz="917" b="1" dirty="0">
                    <a:latin typeface="Avenir"/>
                    <a:ea typeface="Avenir"/>
                    <a:cs typeface="Avenir"/>
                    <a:sym typeface="Avenir"/>
                  </a:rPr>
                  <a:t>Data Parameterization</a:t>
                </a:r>
                <a:endParaRPr sz="917" dirty="0"/>
              </a:p>
            </p:txBody>
          </p:sp>
          <p:sp>
            <p:nvSpPr>
              <p:cNvPr id="27" name="Rectangle: Rounded Corners 26">
                <a:extLst>
                  <a:ext uri="{FF2B5EF4-FFF2-40B4-BE49-F238E27FC236}">
                    <a16:creationId xmlns:a16="http://schemas.microsoft.com/office/drawing/2014/main" id="{975FF138-87A0-4C47-8D56-DD41393279F8}"/>
                  </a:ext>
                </a:extLst>
              </p:cNvPr>
              <p:cNvSpPr/>
              <p:nvPr/>
            </p:nvSpPr>
            <p:spPr bwMode="auto">
              <a:xfrm>
                <a:off x="365429" y="2778775"/>
                <a:ext cx="3073105" cy="1144090"/>
              </a:xfrm>
              <a:prstGeom prst="roundRect">
                <a:avLst/>
              </a:prstGeom>
              <a:noFill/>
              <a:ln w="9525" cap="flat" cmpd="sng" algn="ctr">
                <a:solidFill>
                  <a:schemeClr val="tx1"/>
                </a:solidFill>
                <a:prstDash val="solid"/>
                <a:round/>
                <a:headEnd type="none" w="med" len="med"/>
                <a:tailEnd type="none" w="med" len="med"/>
              </a:ln>
              <a:effectLst/>
            </p:spPr>
            <p:txBody>
              <a:bodyPr vert="horz" wrap="square" lIns="76200" tIns="38100" rIns="76200" bIns="38100" numCol="1" rtlCol="0" anchor="t" anchorCtr="0" compatLnSpc="1">
                <a:prstTxWarp prst="textNoShape">
                  <a:avLst/>
                </a:prstTxWarp>
              </a:bodyPr>
              <a:lstStyle/>
              <a:p>
                <a:pPr defTabSz="380985" fontAlgn="base">
                  <a:lnSpc>
                    <a:spcPct val="92000"/>
                  </a:lnSpc>
                  <a:spcBef>
                    <a:spcPct val="0"/>
                  </a:spcBef>
                  <a:spcAft>
                    <a:spcPct val="0"/>
                  </a:spcAft>
                  <a:buClr>
                    <a:srgbClr val="000000"/>
                  </a:buClr>
                  <a:buSzPct val="100000"/>
                </a:pPr>
                <a:endParaRPr lang="en-US" sz="1500">
                  <a:solidFill>
                    <a:schemeClr val="bg1"/>
                  </a:solidFill>
                  <a:latin typeface="Arial" charset="0"/>
                  <a:cs typeface="Lucida Sans Unicode" pitchFamily="34" charset="0"/>
                </a:endParaRPr>
              </a:p>
            </p:txBody>
          </p:sp>
        </p:grpSp>
        <p:grpSp>
          <p:nvGrpSpPr>
            <p:cNvPr id="28" name="Group 27">
              <a:extLst>
                <a:ext uri="{FF2B5EF4-FFF2-40B4-BE49-F238E27FC236}">
                  <a16:creationId xmlns:a16="http://schemas.microsoft.com/office/drawing/2014/main" id="{2D198047-AFD8-4795-B5A2-28D36C1A12A0}"/>
                </a:ext>
              </a:extLst>
            </p:cNvPr>
            <p:cNvGrpSpPr/>
            <p:nvPr/>
          </p:nvGrpSpPr>
          <p:grpSpPr>
            <a:xfrm>
              <a:off x="859277" y="3872457"/>
              <a:ext cx="2866143" cy="959512"/>
              <a:chOff x="760664" y="4114512"/>
              <a:chExt cx="2866143" cy="959512"/>
            </a:xfrm>
          </p:grpSpPr>
          <p:pic>
            <p:nvPicPr>
              <p:cNvPr id="29" name="Picture 28">
                <a:extLst>
                  <a:ext uri="{FF2B5EF4-FFF2-40B4-BE49-F238E27FC236}">
                    <a16:creationId xmlns:a16="http://schemas.microsoft.com/office/drawing/2014/main" id="{98D9C19C-5F83-46D3-9FAF-C3DF1F9C3A9C}"/>
                  </a:ext>
                </a:extLst>
              </p:cNvPr>
              <p:cNvPicPr>
                <a:picLocks noChangeAspect="1"/>
              </p:cNvPicPr>
              <p:nvPr/>
            </p:nvPicPr>
            <p:blipFill>
              <a:blip r:embed="rId8"/>
              <a:stretch>
                <a:fillRect/>
              </a:stretch>
            </p:blipFill>
            <p:spPr>
              <a:xfrm>
                <a:off x="1577871" y="4398551"/>
                <a:ext cx="424348" cy="457200"/>
              </a:xfrm>
              <a:prstGeom prst="rect">
                <a:avLst/>
              </a:prstGeom>
            </p:spPr>
          </p:pic>
          <p:pic>
            <p:nvPicPr>
              <p:cNvPr id="30" name="Picture 29">
                <a:extLst>
                  <a:ext uri="{FF2B5EF4-FFF2-40B4-BE49-F238E27FC236}">
                    <a16:creationId xmlns:a16="http://schemas.microsoft.com/office/drawing/2014/main" id="{DEE623B5-DC5E-4914-AABB-0209FC36DD9F}"/>
                  </a:ext>
                </a:extLst>
              </p:cNvPr>
              <p:cNvPicPr>
                <a:picLocks noChangeAspect="1"/>
              </p:cNvPicPr>
              <p:nvPr/>
            </p:nvPicPr>
            <p:blipFill>
              <a:blip r:embed="rId8"/>
              <a:stretch>
                <a:fillRect/>
              </a:stretch>
            </p:blipFill>
            <p:spPr>
              <a:xfrm>
                <a:off x="2011280" y="4398551"/>
                <a:ext cx="424348" cy="457200"/>
              </a:xfrm>
              <a:prstGeom prst="rect">
                <a:avLst/>
              </a:prstGeom>
            </p:spPr>
          </p:pic>
          <p:pic>
            <p:nvPicPr>
              <p:cNvPr id="31" name="Picture 30">
                <a:extLst>
                  <a:ext uri="{FF2B5EF4-FFF2-40B4-BE49-F238E27FC236}">
                    <a16:creationId xmlns:a16="http://schemas.microsoft.com/office/drawing/2014/main" id="{04DE3966-B096-43B1-833D-DF6F438FA08F}"/>
                  </a:ext>
                </a:extLst>
              </p:cNvPr>
              <p:cNvPicPr>
                <a:picLocks noChangeAspect="1"/>
              </p:cNvPicPr>
              <p:nvPr/>
            </p:nvPicPr>
            <p:blipFill>
              <a:blip r:embed="rId8"/>
              <a:stretch>
                <a:fillRect/>
              </a:stretch>
            </p:blipFill>
            <p:spPr>
              <a:xfrm>
                <a:off x="2512542" y="4414001"/>
                <a:ext cx="424348" cy="457200"/>
              </a:xfrm>
              <a:prstGeom prst="rect">
                <a:avLst/>
              </a:prstGeom>
            </p:spPr>
          </p:pic>
          <p:pic>
            <p:nvPicPr>
              <p:cNvPr id="32" name="Picture 31">
                <a:extLst>
                  <a:ext uri="{FF2B5EF4-FFF2-40B4-BE49-F238E27FC236}">
                    <a16:creationId xmlns:a16="http://schemas.microsoft.com/office/drawing/2014/main" id="{E4A69260-3931-4B0D-8C5A-3A10025E0A1B}"/>
                  </a:ext>
                </a:extLst>
              </p:cNvPr>
              <p:cNvPicPr>
                <a:picLocks noChangeAspect="1"/>
              </p:cNvPicPr>
              <p:nvPr/>
            </p:nvPicPr>
            <p:blipFill>
              <a:blip r:embed="rId8"/>
              <a:stretch>
                <a:fillRect/>
              </a:stretch>
            </p:blipFill>
            <p:spPr>
              <a:xfrm>
                <a:off x="1020225" y="4414001"/>
                <a:ext cx="424348" cy="457200"/>
              </a:xfrm>
              <a:prstGeom prst="rect">
                <a:avLst/>
              </a:prstGeom>
            </p:spPr>
          </p:pic>
          <p:sp>
            <p:nvSpPr>
              <p:cNvPr id="33" name="Google Shape;552;p24">
                <a:extLst>
                  <a:ext uri="{FF2B5EF4-FFF2-40B4-BE49-F238E27FC236}">
                    <a16:creationId xmlns:a16="http://schemas.microsoft.com/office/drawing/2014/main" id="{D159B0C2-8D31-457F-8BA6-EE20DCEFF5F7}"/>
                  </a:ext>
                </a:extLst>
              </p:cNvPr>
              <p:cNvSpPr/>
              <p:nvPr/>
            </p:nvSpPr>
            <p:spPr>
              <a:xfrm>
                <a:off x="760664" y="4140360"/>
                <a:ext cx="2866143" cy="249748"/>
              </a:xfrm>
              <a:prstGeom prst="rect">
                <a:avLst/>
              </a:prstGeom>
              <a:noFill/>
              <a:ln>
                <a:noFill/>
              </a:ln>
            </p:spPr>
            <p:txBody>
              <a:bodyPr spcFirstLastPara="1" wrap="square" lIns="76188" tIns="38083" rIns="76188" bIns="38083" anchor="t" anchorCtr="0">
                <a:noAutofit/>
              </a:bodyPr>
              <a:lstStyle/>
              <a:p>
                <a:pPr marR="4233" algn="ctr">
                  <a:lnSpc>
                    <a:spcPct val="93000"/>
                  </a:lnSpc>
                </a:pPr>
                <a:r>
                  <a:rPr lang="en-US" sz="1167" b="1" dirty="0">
                    <a:solidFill>
                      <a:schemeClr val="accent4"/>
                    </a:solidFill>
                    <a:latin typeface="Avenir"/>
                    <a:ea typeface="Avenir"/>
                    <a:cs typeface="Avenir"/>
                    <a:sym typeface="Avenir"/>
                    <a:hlinkClick r:id="rId9" action="ppaction://hlinkpres?slideindex=1&amp;slidetitle="/>
                  </a:rPr>
                  <a:t>Business Process Workflow(s) Creation</a:t>
                </a:r>
                <a:endParaRPr sz="1167" dirty="0">
                  <a:solidFill>
                    <a:schemeClr val="accent4"/>
                  </a:solidFill>
                </a:endParaRPr>
              </a:p>
            </p:txBody>
          </p:sp>
          <p:pic>
            <p:nvPicPr>
              <p:cNvPr id="34" name="Picture 33">
                <a:extLst>
                  <a:ext uri="{FF2B5EF4-FFF2-40B4-BE49-F238E27FC236}">
                    <a16:creationId xmlns:a16="http://schemas.microsoft.com/office/drawing/2014/main" id="{362E3D3E-DD6C-4F02-A9A1-D870345871CA}"/>
                  </a:ext>
                </a:extLst>
              </p:cNvPr>
              <p:cNvPicPr>
                <a:picLocks noChangeAspect="1"/>
              </p:cNvPicPr>
              <p:nvPr/>
            </p:nvPicPr>
            <p:blipFill>
              <a:blip r:embed="rId8"/>
              <a:stretch>
                <a:fillRect/>
              </a:stretch>
            </p:blipFill>
            <p:spPr>
              <a:xfrm>
                <a:off x="3014186" y="4428795"/>
                <a:ext cx="424348" cy="457200"/>
              </a:xfrm>
              <a:prstGeom prst="rect">
                <a:avLst/>
              </a:prstGeom>
            </p:spPr>
          </p:pic>
          <p:sp>
            <p:nvSpPr>
              <p:cNvPr id="35" name="Rectangle: Rounded Corners 34">
                <a:extLst>
                  <a:ext uri="{FF2B5EF4-FFF2-40B4-BE49-F238E27FC236}">
                    <a16:creationId xmlns:a16="http://schemas.microsoft.com/office/drawing/2014/main" id="{6ECD744D-05A8-47F0-9932-F8D491464AD1}"/>
                  </a:ext>
                </a:extLst>
              </p:cNvPr>
              <p:cNvSpPr/>
              <p:nvPr/>
            </p:nvSpPr>
            <p:spPr bwMode="auto">
              <a:xfrm>
                <a:off x="834819" y="4114512"/>
                <a:ext cx="2756115" cy="959512"/>
              </a:xfrm>
              <a:prstGeom prst="roundRect">
                <a:avLst/>
              </a:prstGeom>
              <a:noFill/>
              <a:ln w="9525" cap="flat" cmpd="sng" algn="ctr">
                <a:solidFill>
                  <a:schemeClr val="tx1"/>
                </a:solidFill>
                <a:prstDash val="solid"/>
                <a:round/>
                <a:headEnd type="none" w="med" len="med"/>
                <a:tailEnd type="none" w="med" len="med"/>
              </a:ln>
              <a:effectLst/>
            </p:spPr>
            <p:txBody>
              <a:bodyPr vert="horz" wrap="square" lIns="76200" tIns="38100" rIns="76200" bIns="38100" numCol="1" rtlCol="0" anchor="t" anchorCtr="0" compatLnSpc="1">
                <a:prstTxWarp prst="textNoShape">
                  <a:avLst/>
                </a:prstTxWarp>
              </a:bodyPr>
              <a:lstStyle/>
              <a:p>
                <a:pPr defTabSz="380985" fontAlgn="base">
                  <a:lnSpc>
                    <a:spcPct val="92000"/>
                  </a:lnSpc>
                  <a:spcBef>
                    <a:spcPct val="0"/>
                  </a:spcBef>
                  <a:spcAft>
                    <a:spcPct val="0"/>
                  </a:spcAft>
                  <a:buClr>
                    <a:srgbClr val="000000"/>
                  </a:buClr>
                  <a:buSzPct val="100000"/>
                </a:pPr>
                <a:endParaRPr lang="en-US" sz="1500">
                  <a:solidFill>
                    <a:schemeClr val="bg1"/>
                  </a:solidFill>
                  <a:latin typeface="Arial" charset="0"/>
                  <a:cs typeface="Lucida Sans Unicode" pitchFamily="34" charset="0"/>
                </a:endParaRPr>
              </a:p>
            </p:txBody>
          </p:sp>
        </p:grpSp>
        <p:grpSp>
          <p:nvGrpSpPr>
            <p:cNvPr id="36" name="Group 35">
              <a:extLst>
                <a:ext uri="{FF2B5EF4-FFF2-40B4-BE49-F238E27FC236}">
                  <a16:creationId xmlns:a16="http://schemas.microsoft.com/office/drawing/2014/main" id="{D7AD0773-4549-40A4-A8D6-3A278DA822D9}"/>
                </a:ext>
              </a:extLst>
            </p:cNvPr>
            <p:cNvGrpSpPr/>
            <p:nvPr/>
          </p:nvGrpSpPr>
          <p:grpSpPr>
            <a:xfrm>
              <a:off x="897563" y="5073730"/>
              <a:ext cx="2866143" cy="959512"/>
              <a:chOff x="834819" y="5073730"/>
              <a:chExt cx="2866143" cy="959512"/>
            </a:xfrm>
          </p:grpSpPr>
          <p:pic>
            <p:nvPicPr>
              <p:cNvPr id="37" name="Picture 36">
                <a:extLst>
                  <a:ext uri="{FF2B5EF4-FFF2-40B4-BE49-F238E27FC236}">
                    <a16:creationId xmlns:a16="http://schemas.microsoft.com/office/drawing/2014/main" id="{3BC0BC7D-52A8-44FA-8752-378E857140F3}"/>
                  </a:ext>
                </a:extLst>
              </p:cNvPr>
              <p:cNvPicPr>
                <a:picLocks noChangeAspect="1"/>
              </p:cNvPicPr>
              <p:nvPr/>
            </p:nvPicPr>
            <p:blipFill>
              <a:blip r:embed="rId10"/>
              <a:stretch>
                <a:fillRect/>
              </a:stretch>
            </p:blipFill>
            <p:spPr>
              <a:xfrm>
                <a:off x="1142193" y="5445961"/>
                <a:ext cx="373457" cy="457200"/>
              </a:xfrm>
              <a:prstGeom prst="rect">
                <a:avLst/>
              </a:prstGeom>
            </p:spPr>
          </p:pic>
          <p:pic>
            <p:nvPicPr>
              <p:cNvPr id="38" name="Picture 37">
                <a:extLst>
                  <a:ext uri="{FF2B5EF4-FFF2-40B4-BE49-F238E27FC236}">
                    <a16:creationId xmlns:a16="http://schemas.microsoft.com/office/drawing/2014/main" id="{0AC0EF33-5B3F-4060-9363-E3CF853B7F32}"/>
                  </a:ext>
                </a:extLst>
              </p:cNvPr>
              <p:cNvPicPr>
                <a:picLocks noChangeAspect="1"/>
              </p:cNvPicPr>
              <p:nvPr/>
            </p:nvPicPr>
            <p:blipFill>
              <a:blip r:embed="rId10"/>
              <a:stretch>
                <a:fillRect/>
              </a:stretch>
            </p:blipFill>
            <p:spPr>
              <a:xfrm>
                <a:off x="1614891" y="5440400"/>
                <a:ext cx="373457" cy="457200"/>
              </a:xfrm>
              <a:prstGeom prst="rect">
                <a:avLst/>
              </a:prstGeom>
            </p:spPr>
          </p:pic>
          <p:pic>
            <p:nvPicPr>
              <p:cNvPr id="39" name="Picture 38">
                <a:extLst>
                  <a:ext uri="{FF2B5EF4-FFF2-40B4-BE49-F238E27FC236}">
                    <a16:creationId xmlns:a16="http://schemas.microsoft.com/office/drawing/2014/main" id="{5FD0222A-66A0-4BD6-A92A-28D4D2CCB86A}"/>
                  </a:ext>
                </a:extLst>
              </p:cNvPr>
              <p:cNvPicPr>
                <a:picLocks noChangeAspect="1"/>
              </p:cNvPicPr>
              <p:nvPr/>
            </p:nvPicPr>
            <p:blipFill>
              <a:blip r:embed="rId10"/>
              <a:stretch>
                <a:fillRect/>
              </a:stretch>
            </p:blipFill>
            <p:spPr>
              <a:xfrm>
                <a:off x="2100997" y="5440400"/>
                <a:ext cx="373457" cy="457200"/>
              </a:xfrm>
              <a:prstGeom prst="rect">
                <a:avLst/>
              </a:prstGeom>
            </p:spPr>
          </p:pic>
          <p:pic>
            <p:nvPicPr>
              <p:cNvPr id="40" name="Picture 39">
                <a:extLst>
                  <a:ext uri="{FF2B5EF4-FFF2-40B4-BE49-F238E27FC236}">
                    <a16:creationId xmlns:a16="http://schemas.microsoft.com/office/drawing/2014/main" id="{8D83BC1A-8614-4E2B-8A34-FBA74F8D7000}"/>
                  </a:ext>
                </a:extLst>
              </p:cNvPr>
              <p:cNvPicPr>
                <a:picLocks noChangeAspect="1"/>
              </p:cNvPicPr>
              <p:nvPr/>
            </p:nvPicPr>
            <p:blipFill>
              <a:blip r:embed="rId10"/>
              <a:stretch>
                <a:fillRect/>
              </a:stretch>
            </p:blipFill>
            <p:spPr>
              <a:xfrm>
                <a:off x="2573695" y="5440400"/>
                <a:ext cx="373457" cy="457200"/>
              </a:xfrm>
              <a:prstGeom prst="rect">
                <a:avLst/>
              </a:prstGeom>
            </p:spPr>
          </p:pic>
          <p:pic>
            <p:nvPicPr>
              <p:cNvPr id="41" name="Picture 40">
                <a:extLst>
                  <a:ext uri="{FF2B5EF4-FFF2-40B4-BE49-F238E27FC236}">
                    <a16:creationId xmlns:a16="http://schemas.microsoft.com/office/drawing/2014/main" id="{9D832F9A-9E0C-4E17-9724-A5B837FCF5BF}"/>
                  </a:ext>
                </a:extLst>
              </p:cNvPr>
              <p:cNvPicPr>
                <a:picLocks noChangeAspect="1"/>
              </p:cNvPicPr>
              <p:nvPr/>
            </p:nvPicPr>
            <p:blipFill>
              <a:blip r:embed="rId10"/>
              <a:stretch>
                <a:fillRect/>
              </a:stretch>
            </p:blipFill>
            <p:spPr>
              <a:xfrm>
                <a:off x="3071358" y="5440400"/>
                <a:ext cx="373457" cy="457200"/>
              </a:xfrm>
              <a:prstGeom prst="rect">
                <a:avLst/>
              </a:prstGeom>
            </p:spPr>
          </p:pic>
          <p:sp>
            <p:nvSpPr>
              <p:cNvPr id="42" name="Google Shape;552;p24">
                <a:extLst>
                  <a:ext uri="{FF2B5EF4-FFF2-40B4-BE49-F238E27FC236}">
                    <a16:creationId xmlns:a16="http://schemas.microsoft.com/office/drawing/2014/main" id="{2510AC44-295B-4D0A-A627-9C2284F4E31C}"/>
                  </a:ext>
                </a:extLst>
              </p:cNvPr>
              <p:cNvSpPr/>
              <p:nvPr/>
            </p:nvSpPr>
            <p:spPr>
              <a:xfrm>
                <a:off x="834819" y="5136832"/>
                <a:ext cx="2866143" cy="249748"/>
              </a:xfrm>
              <a:prstGeom prst="rect">
                <a:avLst/>
              </a:prstGeom>
              <a:noFill/>
              <a:ln>
                <a:noFill/>
              </a:ln>
            </p:spPr>
            <p:txBody>
              <a:bodyPr spcFirstLastPara="1" wrap="square" lIns="76188" tIns="38083" rIns="76188" bIns="38083" anchor="t" anchorCtr="0">
                <a:noAutofit/>
              </a:bodyPr>
              <a:lstStyle/>
              <a:p>
                <a:pPr marR="4233" algn="ctr">
                  <a:lnSpc>
                    <a:spcPct val="93000"/>
                  </a:lnSpc>
                </a:pPr>
                <a:r>
                  <a:rPr lang="en-US" sz="1167" b="1" dirty="0">
                    <a:solidFill>
                      <a:schemeClr val="accent4"/>
                    </a:solidFill>
                    <a:latin typeface="Avenir"/>
                    <a:ea typeface="Avenir"/>
                    <a:cs typeface="Avenir"/>
                    <a:sym typeface="Avenir"/>
                    <a:hlinkClick r:id="rId11" action="ppaction://hlinkpres?slideindex=1&amp;slidetitle="/>
                  </a:rPr>
                  <a:t>Automation Test Suite(s) Creation</a:t>
                </a:r>
                <a:endParaRPr sz="1167" dirty="0">
                  <a:solidFill>
                    <a:schemeClr val="accent4"/>
                  </a:solidFill>
                </a:endParaRPr>
              </a:p>
            </p:txBody>
          </p:sp>
          <p:sp>
            <p:nvSpPr>
              <p:cNvPr id="43" name="Rectangle: Rounded Corners 42">
                <a:extLst>
                  <a:ext uri="{FF2B5EF4-FFF2-40B4-BE49-F238E27FC236}">
                    <a16:creationId xmlns:a16="http://schemas.microsoft.com/office/drawing/2014/main" id="{551E5F01-5938-4AD5-BE21-83F12D20089D}"/>
                  </a:ext>
                </a:extLst>
              </p:cNvPr>
              <p:cNvSpPr/>
              <p:nvPr/>
            </p:nvSpPr>
            <p:spPr bwMode="auto">
              <a:xfrm>
                <a:off x="924463" y="5073730"/>
                <a:ext cx="2756115" cy="959512"/>
              </a:xfrm>
              <a:prstGeom prst="roundRect">
                <a:avLst/>
              </a:prstGeom>
              <a:noFill/>
              <a:ln w="9525" cap="flat" cmpd="sng" algn="ctr">
                <a:solidFill>
                  <a:schemeClr val="tx1"/>
                </a:solidFill>
                <a:prstDash val="solid"/>
                <a:round/>
                <a:headEnd type="none" w="med" len="med"/>
                <a:tailEnd type="none" w="med" len="med"/>
              </a:ln>
              <a:effectLst/>
            </p:spPr>
            <p:txBody>
              <a:bodyPr vert="horz" wrap="square" lIns="76200" tIns="38100" rIns="76200" bIns="38100" numCol="1" rtlCol="0" anchor="t" anchorCtr="0" compatLnSpc="1">
                <a:prstTxWarp prst="textNoShape">
                  <a:avLst/>
                </a:prstTxWarp>
              </a:bodyPr>
              <a:lstStyle/>
              <a:p>
                <a:pPr defTabSz="380985" fontAlgn="base">
                  <a:lnSpc>
                    <a:spcPct val="92000"/>
                  </a:lnSpc>
                  <a:spcBef>
                    <a:spcPct val="0"/>
                  </a:spcBef>
                  <a:spcAft>
                    <a:spcPct val="0"/>
                  </a:spcAft>
                  <a:buClr>
                    <a:srgbClr val="000000"/>
                  </a:buClr>
                  <a:buSzPct val="100000"/>
                </a:pPr>
                <a:endParaRPr lang="en-US" sz="1500">
                  <a:solidFill>
                    <a:schemeClr val="bg1"/>
                  </a:solidFill>
                  <a:latin typeface="Arial" charset="0"/>
                  <a:cs typeface="Lucida Sans Unicode" pitchFamily="34" charset="0"/>
                </a:endParaRPr>
              </a:p>
            </p:txBody>
          </p:sp>
        </p:grpSp>
        <p:pic>
          <p:nvPicPr>
            <p:cNvPr id="44" name="Google Shape;560;p24" descr="Line arrow Clockwise curve">
              <a:extLst>
                <a:ext uri="{FF2B5EF4-FFF2-40B4-BE49-F238E27FC236}">
                  <a16:creationId xmlns:a16="http://schemas.microsoft.com/office/drawing/2014/main" id="{D9FFE46C-3F7C-4C2F-8ED1-1821E354789C}"/>
                </a:ext>
              </a:extLst>
            </p:cNvPr>
            <p:cNvPicPr preferRelativeResize="0"/>
            <p:nvPr/>
          </p:nvPicPr>
          <p:blipFill rotWithShape="1">
            <a:blip r:embed="rId12">
              <a:alphaModFix/>
            </a:blip>
            <a:srcRect/>
            <a:stretch/>
          </p:blipFill>
          <p:spPr>
            <a:xfrm rot="9114172" flipH="1">
              <a:off x="216138" y="1828493"/>
              <a:ext cx="881540" cy="865815"/>
            </a:xfrm>
            <a:prstGeom prst="rect">
              <a:avLst/>
            </a:prstGeom>
            <a:noFill/>
            <a:ln>
              <a:noFill/>
            </a:ln>
          </p:spPr>
        </p:pic>
        <p:pic>
          <p:nvPicPr>
            <p:cNvPr id="45" name="Google Shape;553;p24" descr="Line arrow Clockwise curve">
              <a:extLst>
                <a:ext uri="{FF2B5EF4-FFF2-40B4-BE49-F238E27FC236}">
                  <a16:creationId xmlns:a16="http://schemas.microsoft.com/office/drawing/2014/main" id="{E93979C3-8414-456A-A1C9-4260C2162B5D}"/>
                </a:ext>
              </a:extLst>
            </p:cNvPr>
            <p:cNvPicPr preferRelativeResize="0"/>
            <p:nvPr/>
          </p:nvPicPr>
          <p:blipFill rotWithShape="1">
            <a:blip r:embed="rId12">
              <a:alphaModFix/>
            </a:blip>
            <a:srcRect/>
            <a:stretch/>
          </p:blipFill>
          <p:spPr>
            <a:xfrm rot="12822292">
              <a:off x="3352347" y="3158382"/>
              <a:ext cx="1150756" cy="1423208"/>
            </a:xfrm>
            <a:prstGeom prst="rect">
              <a:avLst/>
            </a:prstGeom>
            <a:noFill/>
            <a:ln>
              <a:noFill/>
            </a:ln>
          </p:spPr>
        </p:pic>
        <p:pic>
          <p:nvPicPr>
            <p:cNvPr id="46" name="Google Shape;560;p24" descr="Line arrow Clockwise curve">
              <a:extLst>
                <a:ext uri="{FF2B5EF4-FFF2-40B4-BE49-F238E27FC236}">
                  <a16:creationId xmlns:a16="http://schemas.microsoft.com/office/drawing/2014/main" id="{5314B189-A796-4F4C-98F8-65B49BED494E}"/>
                </a:ext>
              </a:extLst>
            </p:cNvPr>
            <p:cNvPicPr preferRelativeResize="0"/>
            <p:nvPr/>
          </p:nvPicPr>
          <p:blipFill rotWithShape="1">
            <a:blip r:embed="rId12">
              <a:alphaModFix/>
            </a:blip>
            <a:srcRect/>
            <a:stretch/>
          </p:blipFill>
          <p:spPr>
            <a:xfrm rot="9114172" flipH="1">
              <a:off x="346000" y="4519942"/>
              <a:ext cx="881540" cy="865815"/>
            </a:xfrm>
            <a:prstGeom prst="rect">
              <a:avLst/>
            </a:prstGeom>
            <a:noFill/>
            <a:ln>
              <a:noFill/>
            </a:ln>
          </p:spPr>
        </p:pic>
        <p:grpSp>
          <p:nvGrpSpPr>
            <p:cNvPr id="47" name="Group 46">
              <a:extLst>
                <a:ext uri="{FF2B5EF4-FFF2-40B4-BE49-F238E27FC236}">
                  <a16:creationId xmlns:a16="http://schemas.microsoft.com/office/drawing/2014/main" id="{E24859FD-9CC4-4225-8AA0-570E6AC03FD6}"/>
                </a:ext>
              </a:extLst>
            </p:cNvPr>
            <p:cNvGrpSpPr/>
            <p:nvPr/>
          </p:nvGrpSpPr>
          <p:grpSpPr>
            <a:xfrm>
              <a:off x="6057976" y="1803526"/>
              <a:ext cx="1565308" cy="1782698"/>
              <a:chOff x="5771102" y="2072465"/>
              <a:chExt cx="1565308" cy="1782698"/>
            </a:xfrm>
          </p:grpSpPr>
          <p:pic>
            <p:nvPicPr>
              <p:cNvPr id="48" name="Google Shape;565;p24" descr="A close up of a logo&#10;&#10;Description automatically generated">
                <a:extLst>
                  <a:ext uri="{FF2B5EF4-FFF2-40B4-BE49-F238E27FC236}">
                    <a16:creationId xmlns:a16="http://schemas.microsoft.com/office/drawing/2014/main" id="{9FE0497B-82AF-4CC7-A5D4-3761B5F1B804}"/>
                  </a:ext>
                </a:extLst>
              </p:cNvPr>
              <p:cNvPicPr preferRelativeResize="0"/>
              <p:nvPr/>
            </p:nvPicPr>
            <p:blipFill rotWithShape="1">
              <a:blip r:embed="rId13">
                <a:alphaModFix/>
              </a:blip>
              <a:srcRect/>
              <a:stretch/>
            </p:blipFill>
            <p:spPr>
              <a:xfrm flipH="1">
                <a:off x="6149775" y="2429844"/>
                <a:ext cx="1033723" cy="980157"/>
              </a:xfrm>
              <a:prstGeom prst="rect">
                <a:avLst/>
              </a:prstGeom>
              <a:noFill/>
              <a:ln>
                <a:noFill/>
              </a:ln>
            </p:spPr>
          </p:pic>
          <p:pic>
            <p:nvPicPr>
              <p:cNvPr id="49" name="Google Shape;566;p24" descr="A close up of a logo&#10;&#10;Description automatically generated">
                <a:extLst>
                  <a:ext uri="{FF2B5EF4-FFF2-40B4-BE49-F238E27FC236}">
                    <a16:creationId xmlns:a16="http://schemas.microsoft.com/office/drawing/2014/main" id="{FE409674-D1A4-4A55-AD91-947656C0DA52}"/>
                  </a:ext>
                </a:extLst>
              </p:cNvPr>
              <p:cNvPicPr preferRelativeResize="0"/>
              <p:nvPr/>
            </p:nvPicPr>
            <p:blipFill rotWithShape="1">
              <a:blip r:embed="rId6">
                <a:alphaModFix/>
              </a:blip>
              <a:srcRect/>
              <a:stretch/>
            </p:blipFill>
            <p:spPr>
              <a:xfrm>
                <a:off x="5771102" y="2072465"/>
                <a:ext cx="599682" cy="599682"/>
              </a:xfrm>
              <a:prstGeom prst="rect">
                <a:avLst/>
              </a:prstGeom>
              <a:noFill/>
              <a:ln>
                <a:noFill/>
              </a:ln>
            </p:spPr>
          </p:pic>
          <p:sp>
            <p:nvSpPr>
              <p:cNvPr id="50" name="Google Shape;567;p24">
                <a:extLst>
                  <a:ext uri="{FF2B5EF4-FFF2-40B4-BE49-F238E27FC236}">
                    <a16:creationId xmlns:a16="http://schemas.microsoft.com/office/drawing/2014/main" id="{6CBDB757-0E66-471A-940F-F22F7864559C}"/>
                  </a:ext>
                </a:extLst>
              </p:cNvPr>
              <p:cNvSpPr/>
              <p:nvPr/>
            </p:nvSpPr>
            <p:spPr>
              <a:xfrm>
                <a:off x="6166364" y="3448000"/>
                <a:ext cx="1170046" cy="407163"/>
              </a:xfrm>
              <a:prstGeom prst="rect">
                <a:avLst/>
              </a:prstGeom>
              <a:noFill/>
              <a:ln>
                <a:noFill/>
              </a:ln>
            </p:spPr>
            <p:txBody>
              <a:bodyPr spcFirstLastPara="1" wrap="square" lIns="76188" tIns="38083" rIns="76188" bIns="38083" anchor="t" anchorCtr="0">
                <a:noAutofit/>
              </a:bodyPr>
              <a:lstStyle/>
              <a:p>
                <a:pPr marR="4233" algn="ctr">
                  <a:lnSpc>
                    <a:spcPct val="93000"/>
                  </a:lnSpc>
                </a:pPr>
                <a:r>
                  <a:rPr lang="en-US" sz="917" b="1" dirty="0">
                    <a:solidFill>
                      <a:schemeClr val="dk1"/>
                    </a:solidFill>
                    <a:latin typeface="Avenir"/>
                    <a:ea typeface="Avenir"/>
                    <a:cs typeface="Avenir"/>
                    <a:sym typeface="Avenir"/>
                  </a:rPr>
                  <a:t>Automated Execution</a:t>
                </a:r>
                <a:endParaRPr sz="1500" dirty="0"/>
              </a:p>
            </p:txBody>
          </p:sp>
        </p:grpSp>
        <p:sp>
          <p:nvSpPr>
            <p:cNvPr id="51" name="Right Brace 50">
              <a:extLst>
                <a:ext uri="{FF2B5EF4-FFF2-40B4-BE49-F238E27FC236}">
                  <a16:creationId xmlns:a16="http://schemas.microsoft.com/office/drawing/2014/main" id="{F6F277B8-35FE-4FC0-8137-E1003EF27800}"/>
                </a:ext>
              </a:extLst>
            </p:cNvPr>
            <p:cNvSpPr/>
            <p:nvPr/>
          </p:nvSpPr>
          <p:spPr bwMode="auto">
            <a:xfrm>
              <a:off x="4357579" y="2689991"/>
              <a:ext cx="721442" cy="3173864"/>
            </a:xfrm>
            <a:custGeom>
              <a:avLst/>
              <a:gdLst>
                <a:gd name="connsiteX0" fmla="*/ 0 w 721442"/>
                <a:gd name="connsiteY0" fmla="*/ 0 h 3173864"/>
                <a:gd name="connsiteX1" fmla="*/ 360721 w 721442"/>
                <a:gd name="connsiteY1" fmla="*/ 60118 h 3173864"/>
                <a:gd name="connsiteX2" fmla="*/ 360721 w 721442"/>
                <a:gd name="connsiteY2" fmla="*/ 578351 h 3173864"/>
                <a:gd name="connsiteX3" fmla="*/ 360721 w 721442"/>
                <a:gd name="connsiteY3" fmla="*/ 1052582 h 3173864"/>
                <a:gd name="connsiteX4" fmla="*/ 360721 w 721442"/>
                <a:gd name="connsiteY4" fmla="*/ 1526814 h 3173864"/>
                <a:gd name="connsiteX5" fmla="*/ 721442 w 721442"/>
                <a:gd name="connsiteY5" fmla="*/ 1586932 h 3173864"/>
                <a:gd name="connsiteX6" fmla="*/ 360721 w 721442"/>
                <a:gd name="connsiteY6" fmla="*/ 1647050 h 3173864"/>
                <a:gd name="connsiteX7" fmla="*/ 360721 w 721442"/>
                <a:gd name="connsiteY7" fmla="*/ 2165283 h 3173864"/>
                <a:gd name="connsiteX8" fmla="*/ 360721 w 721442"/>
                <a:gd name="connsiteY8" fmla="*/ 2624847 h 3173864"/>
                <a:gd name="connsiteX9" fmla="*/ 360721 w 721442"/>
                <a:gd name="connsiteY9" fmla="*/ 3113746 h 3173864"/>
                <a:gd name="connsiteX10" fmla="*/ 0 w 721442"/>
                <a:gd name="connsiteY10" fmla="*/ 3173864 h 3173864"/>
                <a:gd name="connsiteX11" fmla="*/ 0 w 721442"/>
                <a:gd name="connsiteY11" fmla="*/ 2676625 h 3173864"/>
                <a:gd name="connsiteX12" fmla="*/ 0 w 721442"/>
                <a:gd name="connsiteY12" fmla="*/ 2147648 h 3173864"/>
                <a:gd name="connsiteX13" fmla="*/ 0 w 721442"/>
                <a:gd name="connsiteY13" fmla="*/ 1618671 h 3173864"/>
                <a:gd name="connsiteX14" fmla="*/ 0 w 721442"/>
                <a:gd name="connsiteY14" fmla="*/ 1089693 h 3173864"/>
                <a:gd name="connsiteX15" fmla="*/ 0 w 721442"/>
                <a:gd name="connsiteY15" fmla="*/ 528977 h 3173864"/>
                <a:gd name="connsiteX16" fmla="*/ 0 w 721442"/>
                <a:gd name="connsiteY16" fmla="*/ 0 h 3173864"/>
                <a:gd name="connsiteX0" fmla="*/ 0 w 721442"/>
                <a:gd name="connsiteY0" fmla="*/ 0 h 3173864"/>
                <a:gd name="connsiteX1" fmla="*/ 360721 w 721442"/>
                <a:gd name="connsiteY1" fmla="*/ 60118 h 3173864"/>
                <a:gd name="connsiteX2" fmla="*/ 360721 w 721442"/>
                <a:gd name="connsiteY2" fmla="*/ 519683 h 3173864"/>
                <a:gd name="connsiteX3" fmla="*/ 360721 w 721442"/>
                <a:gd name="connsiteY3" fmla="*/ 1023248 h 3173864"/>
                <a:gd name="connsiteX4" fmla="*/ 360721 w 721442"/>
                <a:gd name="connsiteY4" fmla="*/ 1526814 h 3173864"/>
                <a:gd name="connsiteX5" fmla="*/ 721442 w 721442"/>
                <a:gd name="connsiteY5" fmla="*/ 1586932 h 3173864"/>
                <a:gd name="connsiteX6" fmla="*/ 360721 w 721442"/>
                <a:gd name="connsiteY6" fmla="*/ 1647050 h 3173864"/>
                <a:gd name="connsiteX7" fmla="*/ 360721 w 721442"/>
                <a:gd name="connsiteY7" fmla="*/ 2091948 h 3173864"/>
                <a:gd name="connsiteX8" fmla="*/ 360721 w 721442"/>
                <a:gd name="connsiteY8" fmla="*/ 2595513 h 3173864"/>
                <a:gd name="connsiteX9" fmla="*/ 360721 w 721442"/>
                <a:gd name="connsiteY9" fmla="*/ 3113746 h 3173864"/>
                <a:gd name="connsiteX10" fmla="*/ 0 w 721442"/>
                <a:gd name="connsiteY10" fmla="*/ 3173864 h 3173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1442" h="3173864" stroke="0" extrusionOk="0">
                  <a:moveTo>
                    <a:pt x="0" y="0"/>
                  </a:moveTo>
                  <a:cubicBezTo>
                    <a:pt x="198076" y="-706"/>
                    <a:pt x="358543" y="27734"/>
                    <a:pt x="360721" y="60118"/>
                  </a:cubicBezTo>
                  <a:cubicBezTo>
                    <a:pt x="373667" y="210469"/>
                    <a:pt x="357379" y="322221"/>
                    <a:pt x="360721" y="578351"/>
                  </a:cubicBezTo>
                  <a:cubicBezTo>
                    <a:pt x="364063" y="834481"/>
                    <a:pt x="321469" y="921989"/>
                    <a:pt x="360721" y="1052582"/>
                  </a:cubicBezTo>
                  <a:cubicBezTo>
                    <a:pt x="399973" y="1183175"/>
                    <a:pt x="344855" y="1309216"/>
                    <a:pt x="360721" y="1526814"/>
                  </a:cubicBezTo>
                  <a:cubicBezTo>
                    <a:pt x="346836" y="1515292"/>
                    <a:pt x="524207" y="1579584"/>
                    <a:pt x="721442" y="1586932"/>
                  </a:cubicBezTo>
                  <a:cubicBezTo>
                    <a:pt x="519024" y="1584836"/>
                    <a:pt x="361126" y="1613189"/>
                    <a:pt x="360721" y="1647050"/>
                  </a:cubicBezTo>
                  <a:cubicBezTo>
                    <a:pt x="395266" y="1891759"/>
                    <a:pt x="339282" y="1999457"/>
                    <a:pt x="360721" y="2165283"/>
                  </a:cubicBezTo>
                  <a:cubicBezTo>
                    <a:pt x="382160" y="2331109"/>
                    <a:pt x="319920" y="2470945"/>
                    <a:pt x="360721" y="2624847"/>
                  </a:cubicBezTo>
                  <a:cubicBezTo>
                    <a:pt x="401522" y="2778749"/>
                    <a:pt x="355369" y="2968008"/>
                    <a:pt x="360721" y="3113746"/>
                  </a:cubicBezTo>
                  <a:cubicBezTo>
                    <a:pt x="366034" y="3151293"/>
                    <a:pt x="224897" y="3212085"/>
                    <a:pt x="0" y="3173864"/>
                  </a:cubicBezTo>
                  <a:cubicBezTo>
                    <a:pt x="-22159" y="3023355"/>
                    <a:pt x="32336" y="2871528"/>
                    <a:pt x="0" y="2676625"/>
                  </a:cubicBezTo>
                  <a:cubicBezTo>
                    <a:pt x="-32336" y="2481722"/>
                    <a:pt x="2105" y="2258978"/>
                    <a:pt x="0" y="2147648"/>
                  </a:cubicBezTo>
                  <a:cubicBezTo>
                    <a:pt x="-2105" y="2036318"/>
                    <a:pt x="38979" y="1808586"/>
                    <a:pt x="0" y="1618671"/>
                  </a:cubicBezTo>
                  <a:cubicBezTo>
                    <a:pt x="-38979" y="1428756"/>
                    <a:pt x="33663" y="1281805"/>
                    <a:pt x="0" y="1089693"/>
                  </a:cubicBezTo>
                  <a:cubicBezTo>
                    <a:pt x="-33663" y="897581"/>
                    <a:pt x="55619" y="791381"/>
                    <a:pt x="0" y="528977"/>
                  </a:cubicBezTo>
                  <a:cubicBezTo>
                    <a:pt x="-55619" y="266573"/>
                    <a:pt x="15185" y="193664"/>
                    <a:pt x="0" y="0"/>
                  </a:cubicBezTo>
                  <a:close/>
                </a:path>
                <a:path w="721442" h="3173864" fill="none" extrusionOk="0">
                  <a:moveTo>
                    <a:pt x="0" y="0"/>
                  </a:moveTo>
                  <a:cubicBezTo>
                    <a:pt x="197672" y="905"/>
                    <a:pt x="359623" y="28880"/>
                    <a:pt x="360721" y="60118"/>
                  </a:cubicBezTo>
                  <a:cubicBezTo>
                    <a:pt x="366759" y="282418"/>
                    <a:pt x="332273" y="372422"/>
                    <a:pt x="360721" y="519683"/>
                  </a:cubicBezTo>
                  <a:cubicBezTo>
                    <a:pt x="389169" y="666944"/>
                    <a:pt x="328685" y="775010"/>
                    <a:pt x="360721" y="1023248"/>
                  </a:cubicBezTo>
                  <a:cubicBezTo>
                    <a:pt x="392757" y="1271487"/>
                    <a:pt x="317658" y="1315023"/>
                    <a:pt x="360721" y="1526814"/>
                  </a:cubicBezTo>
                  <a:cubicBezTo>
                    <a:pt x="367862" y="1557614"/>
                    <a:pt x="521047" y="1555262"/>
                    <a:pt x="721442" y="1586932"/>
                  </a:cubicBezTo>
                  <a:cubicBezTo>
                    <a:pt x="529484" y="1588447"/>
                    <a:pt x="358068" y="1617155"/>
                    <a:pt x="360721" y="1647050"/>
                  </a:cubicBezTo>
                  <a:cubicBezTo>
                    <a:pt x="368029" y="1867229"/>
                    <a:pt x="326502" y="1947879"/>
                    <a:pt x="360721" y="2091948"/>
                  </a:cubicBezTo>
                  <a:cubicBezTo>
                    <a:pt x="394940" y="2236017"/>
                    <a:pt x="308932" y="2376644"/>
                    <a:pt x="360721" y="2595513"/>
                  </a:cubicBezTo>
                  <a:cubicBezTo>
                    <a:pt x="412510" y="2814382"/>
                    <a:pt x="327504" y="2973296"/>
                    <a:pt x="360721" y="3113746"/>
                  </a:cubicBezTo>
                  <a:cubicBezTo>
                    <a:pt x="371747" y="3153894"/>
                    <a:pt x="171604" y="3179924"/>
                    <a:pt x="0" y="3173864"/>
                  </a:cubicBezTo>
                </a:path>
              </a:pathLst>
            </a:custGeom>
            <a:noFill/>
            <a:ln w="28575" cap="flat" cmpd="sng" algn="ctr">
              <a:solidFill>
                <a:schemeClr val="tx1"/>
              </a:solidFill>
              <a:prstDash val="sysDash"/>
              <a:round/>
              <a:headEnd type="none" w="med" len="med"/>
              <a:tailEnd type="none" w="med" len="med"/>
              <a:extLst>
                <a:ext uri="{C807C97D-BFC1-408E-A445-0C87EB9F89A2}">
                  <ask:lineSketchStyleProps xmlns:ask="http://schemas.microsoft.com/office/drawing/2018/sketchyshapes" sd="1219033472">
                    <a:prstGeom prst="rightBrace">
                      <a:avLst/>
                    </a:prstGeom>
                    <ask:type>
                      <ask:lineSketchScribble/>
                    </ask:type>
                  </ask:lineSketchStyleProps>
                </a:ext>
              </a:extLst>
            </a:ln>
            <a:effectLst/>
          </p:spPr>
          <p:txBody>
            <a:bodyPr vert="horz" wrap="square" lIns="76200" tIns="38100" rIns="76200" bIns="38100" numCol="1" rtlCol="0" anchor="t" anchorCtr="0" compatLnSpc="1">
              <a:prstTxWarp prst="textNoShape">
                <a:avLst/>
              </a:prstTxWarp>
            </a:bodyPr>
            <a:lstStyle/>
            <a:p>
              <a:pPr defTabSz="380985" fontAlgn="base">
                <a:lnSpc>
                  <a:spcPct val="92000"/>
                </a:lnSpc>
                <a:spcBef>
                  <a:spcPct val="0"/>
                </a:spcBef>
                <a:spcAft>
                  <a:spcPct val="0"/>
                </a:spcAft>
                <a:buClr>
                  <a:srgbClr val="000000"/>
                </a:buClr>
                <a:buSzPct val="100000"/>
              </a:pPr>
              <a:endParaRPr lang="en-US" sz="1500">
                <a:solidFill>
                  <a:schemeClr val="bg1"/>
                </a:solidFill>
                <a:latin typeface="Arial" charset="0"/>
                <a:cs typeface="Lucida Sans Unicode" pitchFamily="34" charset="0"/>
              </a:endParaRPr>
            </a:p>
          </p:txBody>
        </p:sp>
        <p:pic>
          <p:nvPicPr>
            <p:cNvPr id="52" name="Google Shape;568;p24" descr="Line arrow Clockwise curve">
              <a:extLst>
                <a:ext uri="{FF2B5EF4-FFF2-40B4-BE49-F238E27FC236}">
                  <a16:creationId xmlns:a16="http://schemas.microsoft.com/office/drawing/2014/main" id="{8FAA1B17-8A18-4FDC-AF09-6F723F9BCFA8}"/>
                </a:ext>
              </a:extLst>
            </p:cNvPr>
            <p:cNvPicPr preferRelativeResize="0"/>
            <p:nvPr/>
          </p:nvPicPr>
          <p:blipFill rotWithShape="1">
            <a:blip r:embed="rId12">
              <a:alphaModFix/>
            </a:blip>
            <a:srcRect/>
            <a:stretch/>
          </p:blipFill>
          <p:spPr>
            <a:xfrm rot="2479637" flipH="1">
              <a:off x="5171922" y="2804126"/>
              <a:ext cx="689383" cy="1091327"/>
            </a:xfrm>
            <a:prstGeom prst="rect">
              <a:avLst/>
            </a:prstGeom>
            <a:noFill/>
            <a:ln>
              <a:noFill/>
            </a:ln>
          </p:spPr>
        </p:pic>
        <p:grpSp>
          <p:nvGrpSpPr>
            <p:cNvPr id="53" name="Group 52">
              <a:extLst>
                <a:ext uri="{FF2B5EF4-FFF2-40B4-BE49-F238E27FC236}">
                  <a16:creationId xmlns:a16="http://schemas.microsoft.com/office/drawing/2014/main" id="{9BDB6BA1-4072-4E9A-992D-5469FED0B14B}"/>
                </a:ext>
              </a:extLst>
            </p:cNvPr>
            <p:cNvGrpSpPr/>
            <p:nvPr/>
          </p:nvGrpSpPr>
          <p:grpSpPr>
            <a:xfrm>
              <a:off x="5683052" y="4486272"/>
              <a:ext cx="1449748" cy="998075"/>
              <a:chOff x="11708046" y="2233693"/>
              <a:chExt cx="1449748" cy="998075"/>
            </a:xfrm>
          </p:grpSpPr>
          <p:sp>
            <p:nvSpPr>
              <p:cNvPr id="54" name="Freeform 215">
                <a:extLst>
                  <a:ext uri="{FF2B5EF4-FFF2-40B4-BE49-F238E27FC236}">
                    <a16:creationId xmlns:a16="http://schemas.microsoft.com/office/drawing/2014/main" id="{20889378-C3CB-410A-A511-56BE62DD19D7}"/>
                  </a:ext>
                </a:extLst>
              </p:cNvPr>
              <p:cNvSpPr>
                <a:spLocks noEditPoints="1"/>
              </p:cNvSpPr>
              <p:nvPr/>
            </p:nvSpPr>
            <p:spPr bwMode="auto">
              <a:xfrm>
                <a:off x="11994550" y="2233693"/>
                <a:ext cx="452720" cy="379671"/>
              </a:xfrm>
              <a:custGeom>
                <a:avLst/>
                <a:gdLst>
                  <a:gd name="T0" fmla="*/ 502 w 502"/>
                  <a:gd name="T1" fmla="*/ 421 h 421"/>
                  <a:gd name="T2" fmla="*/ 0 w 502"/>
                  <a:gd name="T3" fmla="*/ 421 h 421"/>
                  <a:gd name="T4" fmla="*/ 0 w 502"/>
                  <a:gd name="T5" fmla="*/ 379 h 421"/>
                  <a:gd name="T6" fmla="*/ 502 w 502"/>
                  <a:gd name="T7" fmla="*/ 379 h 421"/>
                  <a:gd name="T8" fmla="*/ 502 w 502"/>
                  <a:gd name="T9" fmla="*/ 421 h 421"/>
                  <a:gd name="T10" fmla="*/ 502 w 502"/>
                  <a:gd name="T11" fmla="*/ 421 h 421"/>
                  <a:gd name="T12" fmla="*/ 31 w 502"/>
                  <a:gd name="T13" fmla="*/ 295 h 421"/>
                  <a:gd name="T14" fmla="*/ 0 w 502"/>
                  <a:gd name="T15" fmla="*/ 263 h 421"/>
                  <a:gd name="T16" fmla="*/ 167 w 502"/>
                  <a:gd name="T17" fmla="*/ 95 h 421"/>
                  <a:gd name="T18" fmla="*/ 272 w 502"/>
                  <a:gd name="T19" fmla="*/ 200 h 421"/>
                  <a:gd name="T20" fmla="*/ 429 w 502"/>
                  <a:gd name="T21" fmla="*/ 42 h 421"/>
                  <a:gd name="T22" fmla="*/ 335 w 502"/>
                  <a:gd name="T23" fmla="*/ 42 h 421"/>
                  <a:gd name="T24" fmla="*/ 335 w 502"/>
                  <a:gd name="T25" fmla="*/ 0 h 421"/>
                  <a:gd name="T26" fmla="*/ 502 w 502"/>
                  <a:gd name="T27" fmla="*/ 0 h 421"/>
                  <a:gd name="T28" fmla="*/ 502 w 502"/>
                  <a:gd name="T29" fmla="*/ 169 h 421"/>
                  <a:gd name="T30" fmla="*/ 460 w 502"/>
                  <a:gd name="T31" fmla="*/ 169 h 421"/>
                  <a:gd name="T32" fmla="*/ 460 w 502"/>
                  <a:gd name="T33" fmla="*/ 74 h 421"/>
                  <a:gd name="T34" fmla="*/ 272 w 502"/>
                  <a:gd name="T35" fmla="*/ 263 h 421"/>
                  <a:gd name="T36" fmla="*/ 167 w 502"/>
                  <a:gd name="T37" fmla="*/ 158 h 421"/>
                  <a:gd name="T38" fmla="*/ 31 w 502"/>
                  <a:gd name="T39" fmla="*/ 295 h 421"/>
                  <a:gd name="T40" fmla="*/ 31 w 502"/>
                  <a:gd name="T41" fmla="*/ 295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2" h="421">
                    <a:moveTo>
                      <a:pt x="502" y="421"/>
                    </a:moveTo>
                    <a:lnTo>
                      <a:pt x="0" y="421"/>
                    </a:lnTo>
                    <a:lnTo>
                      <a:pt x="0" y="379"/>
                    </a:lnTo>
                    <a:lnTo>
                      <a:pt x="502" y="379"/>
                    </a:lnTo>
                    <a:lnTo>
                      <a:pt x="502" y="421"/>
                    </a:lnTo>
                    <a:lnTo>
                      <a:pt x="502" y="421"/>
                    </a:lnTo>
                    <a:close/>
                    <a:moveTo>
                      <a:pt x="31" y="295"/>
                    </a:moveTo>
                    <a:lnTo>
                      <a:pt x="0" y="263"/>
                    </a:lnTo>
                    <a:lnTo>
                      <a:pt x="167" y="95"/>
                    </a:lnTo>
                    <a:lnTo>
                      <a:pt x="272" y="200"/>
                    </a:lnTo>
                    <a:lnTo>
                      <a:pt x="429" y="42"/>
                    </a:lnTo>
                    <a:lnTo>
                      <a:pt x="335" y="42"/>
                    </a:lnTo>
                    <a:lnTo>
                      <a:pt x="335" y="0"/>
                    </a:lnTo>
                    <a:lnTo>
                      <a:pt x="502" y="0"/>
                    </a:lnTo>
                    <a:lnTo>
                      <a:pt x="502" y="169"/>
                    </a:lnTo>
                    <a:lnTo>
                      <a:pt x="460" y="169"/>
                    </a:lnTo>
                    <a:lnTo>
                      <a:pt x="460" y="74"/>
                    </a:lnTo>
                    <a:lnTo>
                      <a:pt x="272" y="263"/>
                    </a:lnTo>
                    <a:lnTo>
                      <a:pt x="167" y="158"/>
                    </a:lnTo>
                    <a:lnTo>
                      <a:pt x="31" y="295"/>
                    </a:lnTo>
                    <a:lnTo>
                      <a:pt x="31" y="295"/>
                    </a:lnTo>
                    <a:close/>
                  </a:path>
                </a:pathLst>
              </a:custGeom>
              <a:solidFill>
                <a:schemeClr val="tx1"/>
              </a:solidFill>
              <a:ln>
                <a:noFill/>
              </a:ln>
            </p:spPr>
            <p:txBody>
              <a:bodyPr vert="horz" wrap="square" lIns="76200" tIns="38100" rIns="76200" bIns="38100" numCol="1" anchor="t" anchorCtr="0" compatLnSpc="1">
                <a:prstTxWarp prst="textNoShape">
                  <a:avLst/>
                </a:prstTxWarp>
              </a:bodyPr>
              <a:lstStyle/>
              <a:p>
                <a:endParaRPr lang="en-GB" sz="2333" dirty="0"/>
              </a:p>
            </p:txBody>
          </p:sp>
          <p:sp>
            <p:nvSpPr>
              <p:cNvPr id="55" name="TextBox 54">
                <a:extLst>
                  <a:ext uri="{FF2B5EF4-FFF2-40B4-BE49-F238E27FC236}">
                    <a16:creationId xmlns:a16="http://schemas.microsoft.com/office/drawing/2014/main" id="{4C5824A4-8984-4F95-B815-795807B42436}"/>
                  </a:ext>
                </a:extLst>
              </p:cNvPr>
              <p:cNvSpPr txBox="1"/>
              <p:nvPr/>
            </p:nvSpPr>
            <p:spPr>
              <a:xfrm>
                <a:off x="11708046" y="2698368"/>
                <a:ext cx="1449748" cy="533400"/>
              </a:xfrm>
              <a:prstGeom prst="rect">
                <a:avLst/>
              </a:prstGeom>
              <a:noFill/>
            </p:spPr>
            <p:txBody>
              <a:bodyPr wrap="square" rtlCol="0">
                <a:noAutofit/>
              </a:bodyPr>
              <a:lstStyle/>
              <a:p>
                <a:r>
                  <a:rPr lang="en-GB" sz="1000" dirty="0"/>
                  <a:t>Test Verification Report</a:t>
                </a:r>
                <a:endParaRPr lang="en-US" sz="1000" dirty="0"/>
              </a:p>
            </p:txBody>
          </p:sp>
        </p:grpSp>
        <p:sp>
          <p:nvSpPr>
            <p:cNvPr id="56" name="TextBox 55">
              <a:extLst>
                <a:ext uri="{FF2B5EF4-FFF2-40B4-BE49-F238E27FC236}">
                  <a16:creationId xmlns:a16="http://schemas.microsoft.com/office/drawing/2014/main" id="{F048849F-553D-4FEC-8436-9712C8281D9F}"/>
                </a:ext>
              </a:extLst>
            </p:cNvPr>
            <p:cNvSpPr txBox="1"/>
            <p:nvPr/>
          </p:nvSpPr>
          <p:spPr>
            <a:xfrm>
              <a:off x="7160191" y="4856948"/>
              <a:ext cx="1449748" cy="533400"/>
            </a:xfrm>
            <a:prstGeom prst="rect">
              <a:avLst/>
            </a:prstGeom>
            <a:noFill/>
          </p:spPr>
          <p:txBody>
            <a:bodyPr wrap="square" rtlCol="0" anchor="ctr" anchorCtr="0">
              <a:noAutofit/>
            </a:bodyPr>
            <a:lstStyle/>
            <a:p>
              <a:r>
                <a:rPr lang="en-US" sz="1000" dirty="0"/>
                <a:t>Video Recording of Test Execution</a:t>
              </a:r>
            </a:p>
          </p:txBody>
        </p:sp>
        <p:sp>
          <p:nvSpPr>
            <p:cNvPr id="57" name="Freeform 9">
              <a:extLst>
                <a:ext uri="{FF2B5EF4-FFF2-40B4-BE49-F238E27FC236}">
                  <a16:creationId xmlns:a16="http://schemas.microsoft.com/office/drawing/2014/main" id="{1B0B5E52-6CDC-422C-803C-D14275ECA02C}"/>
                </a:ext>
              </a:extLst>
            </p:cNvPr>
            <p:cNvSpPr>
              <a:spLocks noEditPoints="1"/>
            </p:cNvSpPr>
            <p:nvPr/>
          </p:nvSpPr>
          <p:spPr bwMode="auto">
            <a:xfrm>
              <a:off x="7443740" y="4410161"/>
              <a:ext cx="441325" cy="415925"/>
            </a:xfrm>
            <a:custGeom>
              <a:avLst/>
              <a:gdLst>
                <a:gd name="T0" fmla="*/ 2039 w 3532"/>
                <a:gd name="T1" fmla="*/ 340 h 3340"/>
                <a:gd name="T2" fmla="*/ 1699 w 3532"/>
                <a:gd name="T3" fmla="*/ 680 h 3340"/>
                <a:gd name="T4" fmla="*/ 2039 w 3532"/>
                <a:gd name="T5" fmla="*/ 1020 h 3340"/>
                <a:gd name="T6" fmla="*/ 2379 w 3532"/>
                <a:gd name="T7" fmla="*/ 680 h 3340"/>
                <a:gd name="T8" fmla="*/ 2039 w 3532"/>
                <a:gd name="T9" fmla="*/ 340 h 3340"/>
                <a:gd name="T10" fmla="*/ 680 w 3532"/>
                <a:gd name="T11" fmla="*/ 340 h 3340"/>
                <a:gd name="T12" fmla="*/ 340 w 3532"/>
                <a:gd name="T13" fmla="*/ 680 h 3340"/>
                <a:gd name="T14" fmla="*/ 680 w 3532"/>
                <a:gd name="T15" fmla="*/ 1020 h 3340"/>
                <a:gd name="T16" fmla="*/ 1020 w 3532"/>
                <a:gd name="T17" fmla="*/ 680 h 3340"/>
                <a:gd name="T18" fmla="*/ 680 w 3532"/>
                <a:gd name="T19" fmla="*/ 340 h 3340"/>
                <a:gd name="T20" fmla="*/ 680 w 3532"/>
                <a:gd name="T21" fmla="*/ 0 h 3340"/>
                <a:gd name="T22" fmla="*/ 1360 w 3532"/>
                <a:gd name="T23" fmla="*/ 680 h 3340"/>
                <a:gd name="T24" fmla="*/ 944 w 3532"/>
                <a:gd name="T25" fmla="*/ 1307 h 3340"/>
                <a:gd name="T26" fmla="*/ 850 w 3532"/>
                <a:gd name="T27" fmla="*/ 1336 h 3340"/>
                <a:gd name="T28" fmla="*/ 1869 w 3532"/>
                <a:gd name="T29" fmla="*/ 1336 h 3340"/>
                <a:gd name="T30" fmla="*/ 1775 w 3532"/>
                <a:gd name="T31" fmla="*/ 1307 h 3340"/>
                <a:gd name="T32" fmla="*/ 1360 w 3532"/>
                <a:gd name="T33" fmla="*/ 680 h 3340"/>
                <a:gd name="T34" fmla="*/ 2039 w 3532"/>
                <a:gd name="T35" fmla="*/ 0 h 3340"/>
                <a:gd name="T36" fmla="*/ 2719 w 3532"/>
                <a:gd name="T37" fmla="*/ 680 h 3340"/>
                <a:gd name="T38" fmla="*/ 2304 w 3532"/>
                <a:gd name="T39" fmla="*/ 1307 h 3340"/>
                <a:gd name="T40" fmla="*/ 2209 w 3532"/>
                <a:gd name="T41" fmla="*/ 1336 h 3340"/>
                <a:gd name="T42" fmla="*/ 2719 w 3532"/>
                <a:gd name="T43" fmla="*/ 1336 h 3340"/>
                <a:gd name="T44" fmla="*/ 2719 w 3532"/>
                <a:gd name="T45" fmla="*/ 1913 h 3340"/>
                <a:gd name="T46" fmla="*/ 3532 w 3532"/>
                <a:gd name="T47" fmla="*/ 1476 h 3340"/>
                <a:gd name="T48" fmla="*/ 3532 w 3532"/>
                <a:gd name="T49" fmla="*/ 3200 h 3340"/>
                <a:gd name="T50" fmla="*/ 2719 w 3532"/>
                <a:gd name="T51" fmla="*/ 2764 h 3340"/>
                <a:gd name="T52" fmla="*/ 2719 w 3532"/>
                <a:gd name="T53" fmla="*/ 3340 h 3340"/>
                <a:gd name="T54" fmla="*/ 14 w 3532"/>
                <a:gd name="T55" fmla="*/ 3340 h 3340"/>
                <a:gd name="T56" fmla="*/ 14 w 3532"/>
                <a:gd name="T57" fmla="*/ 1336 h 3340"/>
                <a:gd name="T58" fmla="*/ 510 w 3532"/>
                <a:gd name="T59" fmla="*/ 1336 h 3340"/>
                <a:gd name="T60" fmla="*/ 415 w 3532"/>
                <a:gd name="T61" fmla="*/ 1307 h 3340"/>
                <a:gd name="T62" fmla="*/ 0 w 3532"/>
                <a:gd name="T63" fmla="*/ 680 h 3340"/>
                <a:gd name="T64" fmla="*/ 680 w 3532"/>
                <a:gd name="T65" fmla="*/ 0 h 3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32" h="3340">
                  <a:moveTo>
                    <a:pt x="2039" y="340"/>
                  </a:moveTo>
                  <a:cubicBezTo>
                    <a:pt x="1851" y="340"/>
                    <a:pt x="1699" y="493"/>
                    <a:pt x="1699" y="680"/>
                  </a:cubicBezTo>
                  <a:cubicBezTo>
                    <a:pt x="1699" y="868"/>
                    <a:pt x="1851" y="1020"/>
                    <a:pt x="2039" y="1020"/>
                  </a:cubicBezTo>
                  <a:cubicBezTo>
                    <a:pt x="2227" y="1020"/>
                    <a:pt x="2379" y="868"/>
                    <a:pt x="2379" y="680"/>
                  </a:cubicBezTo>
                  <a:cubicBezTo>
                    <a:pt x="2379" y="493"/>
                    <a:pt x="2227" y="340"/>
                    <a:pt x="2039" y="340"/>
                  </a:cubicBezTo>
                  <a:close/>
                  <a:moveTo>
                    <a:pt x="680" y="340"/>
                  </a:moveTo>
                  <a:cubicBezTo>
                    <a:pt x="492" y="340"/>
                    <a:pt x="340" y="493"/>
                    <a:pt x="340" y="680"/>
                  </a:cubicBezTo>
                  <a:cubicBezTo>
                    <a:pt x="340" y="868"/>
                    <a:pt x="492" y="1020"/>
                    <a:pt x="680" y="1020"/>
                  </a:cubicBezTo>
                  <a:cubicBezTo>
                    <a:pt x="868" y="1020"/>
                    <a:pt x="1020" y="868"/>
                    <a:pt x="1020" y="680"/>
                  </a:cubicBezTo>
                  <a:cubicBezTo>
                    <a:pt x="1020" y="493"/>
                    <a:pt x="868" y="340"/>
                    <a:pt x="680" y="340"/>
                  </a:cubicBezTo>
                  <a:close/>
                  <a:moveTo>
                    <a:pt x="680" y="0"/>
                  </a:moveTo>
                  <a:cubicBezTo>
                    <a:pt x="1055" y="0"/>
                    <a:pt x="1360" y="305"/>
                    <a:pt x="1360" y="680"/>
                  </a:cubicBezTo>
                  <a:cubicBezTo>
                    <a:pt x="1360" y="962"/>
                    <a:pt x="1188" y="1204"/>
                    <a:pt x="944" y="1307"/>
                  </a:cubicBezTo>
                  <a:lnTo>
                    <a:pt x="850" y="1336"/>
                  </a:lnTo>
                  <a:lnTo>
                    <a:pt x="1869" y="1336"/>
                  </a:lnTo>
                  <a:lnTo>
                    <a:pt x="1775" y="1307"/>
                  </a:lnTo>
                  <a:cubicBezTo>
                    <a:pt x="1531" y="1204"/>
                    <a:pt x="1360" y="962"/>
                    <a:pt x="1360" y="680"/>
                  </a:cubicBezTo>
                  <a:cubicBezTo>
                    <a:pt x="1360" y="305"/>
                    <a:pt x="1664" y="0"/>
                    <a:pt x="2039" y="0"/>
                  </a:cubicBezTo>
                  <a:cubicBezTo>
                    <a:pt x="2414" y="0"/>
                    <a:pt x="2719" y="305"/>
                    <a:pt x="2719" y="680"/>
                  </a:cubicBezTo>
                  <a:cubicBezTo>
                    <a:pt x="2719" y="962"/>
                    <a:pt x="2547" y="1204"/>
                    <a:pt x="2304" y="1307"/>
                  </a:cubicBezTo>
                  <a:lnTo>
                    <a:pt x="2209" y="1336"/>
                  </a:lnTo>
                  <a:lnTo>
                    <a:pt x="2719" y="1336"/>
                  </a:lnTo>
                  <a:lnTo>
                    <a:pt x="2719" y="1913"/>
                  </a:lnTo>
                  <a:lnTo>
                    <a:pt x="3532" y="1476"/>
                  </a:lnTo>
                  <a:lnTo>
                    <a:pt x="3532" y="3200"/>
                  </a:lnTo>
                  <a:lnTo>
                    <a:pt x="2719" y="2764"/>
                  </a:lnTo>
                  <a:lnTo>
                    <a:pt x="2719" y="3340"/>
                  </a:lnTo>
                  <a:lnTo>
                    <a:pt x="14" y="3340"/>
                  </a:lnTo>
                  <a:lnTo>
                    <a:pt x="14" y="1336"/>
                  </a:lnTo>
                  <a:lnTo>
                    <a:pt x="510" y="1336"/>
                  </a:lnTo>
                  <a:lnTo>
                    <a:pt x="415" y="1307"/>
                  </a:lnTo>
                  <a:cubicBezTo>
                    <a:pt x="172" y="1204"/>
                    <a:pt x="0" y="962"/>
                    <a:pt x="0" y="680"/>
                  </a:cubicBezTo>
                  <a:cubicBezTo>
                    <a:pt x="0" y="305"/>
                    <a:pt x="305" y="0"/>
                    <a:pt x="680" y="0"/>
                  </a:cubicBezTo>
                  <a:close/>
                </a:path>
              </a:pathLst>
            </a:custGeom>
            <a:solidFill>
              <a:srgbClr val="000000"/>
            </a:solidFill>
            <a:ln w="0">
              <a:solidFill>
                <a:srgbClr val="000000"/>
              </a:solidFill>
              <a:prstDash val="solid"/>
              <a:round/>
              <a:headEnd/>
              <a:tailEnd/>
            </a:ln>
          </p:spPr>
          <p:txBody>
            <a:bodyPr vert="horz" wrap="square" lIns="76200" tIns="38100" rIns="76200" bIns="38100" numCol="1" anchor="t" anchorCtr="0" compatLnSpc="1">
              <a:prstTxWarp prst="textNoShape">
                <a:avLst/>
              </a:prstTxWarp>
            </a:bodyPr>
            <a:lstStyle/>
            <a:p>
              <a:endParaRPr lang="en-US" sz="1500"/>
            </a:p>
          </p:txBody>
        </p:sp>
        <p:sp>
          <p:nvSpPr>
            <p:cNvPr id="58" name="Rectangle: Rounded Corners 57">
              <a:extLst>
                <a:ext uri="{FF2B5EF4-FFF2-40B4-BE49-F238E27FC236}">
                  <a16:creationId xmlns:a16="http://schemas.microsoft.com/office/drawing/2014/main" id="{22957B8F-9C20-4950-AC7B-635761015F1F}"/>
                </a:ext>
              </a:extLst>
            </p:cNvPr>
            <p:cNvSpPr/>
            <p:nvPr/>
          </p:nvSpPr>
          <p:spPr bwMode="auto">
            <a:xfrm>
              <a:off x="5560968" y="4334077"/>
              <a:ext cx="3073105" cy="1144090"/>
            </a:xfrm>
            <a:prstGeom prst="roundRect">
              <a:avLst/>
            </a:prstGeom>
            <a:noFill/>
            <a:ln w="9525" cap="flat" cmpd="sng" algn="ctr">
              <a:solidFill>
                <a:schemeClr val="tx1"/>
              </a:solidFill>
              <a:prstDash val="solid"/>
              <a:round/>
              <a:headEnd type="none" w="med" len="med"/>
              <a:tailEnd type="none" w="med" len="med"/>
            </a:ln>
            <a:effectLst/>
          </p:spPr>
          <p:txBody>
            <a:bodyPr vert="horz" wrap="square" lIns="76200" tIns="38100" rIns="76200" bIns="38100" numCol="1" rtlCol="0" anchor="t" anchorCtr="0" compatLnSpc="1">
              <a:prstTxWarp prst="textNoShape">
                <a:avLst/>
              </a:prstTxWarp>
            </a:bodyPr>
            <a:lstStyle/>
            <a:p>
              <a:pPr defTabSz="380985" fontAlgn="base">
                <a:lnSpc>
                  <a:spcPct val="92000"/>
                </a:lnSpc>
                <a:spcBef>
                  <a:spcPct val="0"/>
                </a:spcBef>
                <a:spcAft>
                  <a:spcPct val="0"/>
                </a:spcAft>
                <a:buClr>
                  <a:srgbClr val="000000"/>
                </a:buClr>
                <a:buSzPct val="100000"/>
              </a:pPr>
              <a:endParaRPr lang="en-US" sz="1500">
                <a:solidFill>
                  <a:schemeClr val="bg1"/>
                </a:solidFill>
                <a:latin typeface="Arial" charset="0"/>
                <a:cs typeface="Lucida Sans Unicode" pitchFamily="34" charset="0"/>
              </a:endParaRPr>
            </a:p>
          </p:txBody>
        </p:sp>
        <p:pic>
          <p:nvPicPr>
            <p:cNvPr id="59" name="Google Shape;553;p24" descr="Line arrow Clockwise curve">
              <a:extLst>
                <a:ext uri="{FF2B5EF4-FFF2-40B4-BE49-F238E27FC236}">
                  <a16:creationId xmlns:a16="http://schemas.microsoft.com/office/drawing/2014/main" id="{5D400E37-0952-40C6-AE9C-34A284890B72}"/>
                </a:ext>
              </a:extLst>
            </p:cNvPr>
            <p:cNvPicPr preferRelativeResize="0"/>
            <p:nvPr/>
          </p:nvPicPr>
          <p:blipFill rotWithShape="1">
            <a:blip r:embed="rId12">
              <a:alphaModFix/>
            </a:blip>
            <a:srcRect/>
            <a:stretch/>
          </p:blipFill>
          <p:spPr>
            <a:xfrm rot="12822292">
              <a:off x="6998210" y="3002533"/>
              <a:ext cx="1675175" cy="1239773"/>
            </a:xfrm>
            <a:prstGeom prst="rect">
              <a:avLst/>
            </a:prstGeom>
            <a:noFill/>
            <a:ln>
              <a:noFill/>
            </a:ln>
          </p:spPr>
        </p:pic>
        <p:sp>
          <p:nvSpPr>
            <p:cNvPr id="60" name="TextBox 59">
              <a:extLst>
                <a:ext uri="{FF2B5EF4-FFF2-40B4-BE49-F238E27FC236}">
                  <a16:creationId xmlns:a16="http://schemas.microsoft.com/office/drawing/2014/main" id="{E072AAE7-88BA-469C-BA9F-E22D580D4CCB}"/>
                </a:ext>
              </a:extLst>
            </p:cNvPr>
            <p:cNvSpPr txBox="1"/>
            <p:nvPr/>
          </p:nvSpPr>
          <p:spPr>
            <a:xfrm>
              <a:off x="979731" y="2210020"/>
              <a:ext cx="2681382" cy="196691"/>
            </a:xfrm>
            <a:prstGeom prst="rect">
              <a:avLst/>
            </a:prstGeom>
            <a:noFill/>
          </p:spPr>
          <p:txBody>
            <a:bodyPr wrap="square" rtlCol="0">
              <a:spAutoFit/>
            </a:bodyPr>
            <a:lstStyle/>
            <a:p>
              <a:r>
                <a:rPr lang="en-US" sz="750" b="1" dirty="0"/>
                <a:t>BPT (Business Process Testing) Techniques</a:t>
              </a:r>
            </a:p>
          </p:txBody>
        </p:sp>
        <p:sp>
          <p:nvSpPr>
            <p:cNvPr id="61" name="Google Shape;559;p24">
              <a:extLst>
                <a:ext uri="{FF2B5EF4-FFF2-40B4-BE49-F238E27FC236}">
                  <a16:creationId xmlns:a16="http://schemas.microsoft.com/office/drawing/2014/main" id="{B3D9DF06-C4CA-422C-860D-A0001343ACEC}"/>
                </a:ext>
              </a:extLst>
            </p:cNvPr>
            <p:cNvSpPr/>
            <p:nvPr/>
          </p:nvSpPr>
          <p:spPr>
            <a:xfrm>
              <a:off x="878031" y="2899100"/>
              <a:ext cx="1997014" cy="407163"/>
            </a:xfrm>
            <a:prstGeom prst="rect">
              <a:avLst/>
            </a:prstGeom>
            <a:noFill/>
            <a:ln>
              <a:noFill/>
            </a:ln>
          </p:spPr>
          <p:txBody>
            <a:bodyPr spcFirstLastPara="1" wrap="square" lIns="76188" tIns="38083" rIns="76188" bIns="38083" anchor="t" anchorCtr="0">
              <a:noAutofit/>
            </a:bodyPr>
            <a:lstStyle/>
            <a:p>
              <a:pPr marR="4233" algn="ctr">
                <a:lnSpc>
                  <a:spcPct val="93000"/>
                </a:lnSpc>
              </a:pPr>
              <a:r>
                <a:rPr lang="en-US" sz="1167" b="1" dirty="0">
                  <a:latin typeface="Avenir"/>
                  <a:ea typeface="Avenir"/>
                  <a:cs typeface="Avenir"/>
                  <a:sym typeface="Avenir"/>
                  <a:hlinkClick r:id="rId14" action="ppaction://hlinkpres?slideindex=1&amp;slidetitle="/>
                </a:rPr>
                <a:t>Business Component(s) </a:t>
              </a:r>
              <a:endParaRPr sz="1167" dirty="0"/>
            </a:p>
          </p:txBody>
        </p:sp>
      </p:grpSp>
    </p:spTree>
    <p:extLst>
      <p:ext uri="{BB962C8B-B14F-4D97-AF65-F5344CB8AC3E}">
        <p14:creationId xmlns:p14="http://schemas.microsoft.com/office/powerpoint/2010/main" val="3521726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2"/>
          <p:cNvSpPr txBox="1">
            <a:spLocks noChangeArrowheads="1"/>
          </p:cNvSpPr>
          <p:nvPr/>
        </p:nvSpPr>
        <p:spPr bwMode="auto">
          <a:xfrm>
            <a:off x="1629736" y="269923"/>
            <a:ext cx="7972410" cy="464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7500" tIns="35100" rIns="67500" bIns="35100" anchor="ctr"/>
          <a:lstStyle>
            <a:lvl1pPr eaLnBrk="0" hangingPunct="0">
              <a:lnSpc>
                <a:spcPct val="92000"/>
              </a:lnSpc>
              <a:spcBef>
                <a:spcPts val="800"/>
              </a:spcBef>
              <a:buClr>
                <a:srgbClr val="000000"/>
              </a:buClr>
              <a:buSzPct val="100000"/>
              <a:buFont typeface="Times New Roman" panose="02020603050405020304" pitchFamily="18" charset="0"/>
              <a:buChar char="•"/>
              <a:defRPr sz="3200">
                <a:solidFill>
                  <a:srgbClr val="000000"/>
                </a:solidFill>
                <a:latin typeface="Arial" panose="020B0604020202020204" pitchFamily="34" charset="0"/>
                <a:cs typeface="Lucida Sans Unicode" panose="020B0602030504020204" pitchFamily="34" charset="0"/>
              </a:defRPr>
            </a:lvl1pPr>
            <a:lvl2pPr marL="742950" indent="-285750" eaLnBrk="0" hangingPunct="0">
              <a:lnSpc>
                <a:spcPct val="92000"/>
              </a:lnSpc>
              <a:spcBef>
                <a:spcPts val="700"/>
              </a:spcBef>
              <a:buClr>
                <a:srgbClr val="000000"/>
              </a:buClr>
              <a:buSzPct val="100000"/>
              <a:buFont typeface="Times New Roman" panose="02020603050405020304" pitchFamily="18" charset="0"/>
              <a:buChar char="–"/>
              <a:defRPr sz="2800">
                <a:solidFill>
                  <a:srgbClr val="000000"/>
                </a:solidFill>
                <a:latin typeface="Arial" panose="020B0604020202020204" pitchFamily="34" charset="0"/>
                <a:cs typeface="Lucida Sans Unicode" panose="020B0602030504020204" pitchFamily="34" charset="0"/>
              </a:defRPr>
            </a:lvl2pPr>
            <a:lvl3pPr eaLnBrk="0" hangingPunct="0">
              <a:lnSpc>
                <a:spcPct val="92000"/>
              </a:lnSpc>
              <a:spcBef>
                <a:spcPts val="600"/>
              </a:spcBef>
              <a:buClr>
                <a:srgbClr val="000000"/>
              </a:buClr>
              <a:buSzPct val="100000"/>
              <a:buFont typeface="Times New Roman" panose="02020603050405020304" pitchFamily="18" charset="0"/>
              <a:buChar char="•"/>
              <a:defRPr sz="2400">
                <a:solidFill>
                  <a:srgbClr val="000000"/>
                </a:solidFill>
                <a:latin typeface="Arial" panose="020B0604020202020204" pitchFamily="34" charset="0"/>
                <a:cs typeface="Lucida Sans Unicode" panose="020B0602030504020204" pitchFamily="34" charset="0"/>
              </a:defRPr>
            </a:lvl3pPr>
            <a:lvl4pPr eaLnBrk="0" hangingPunct="0">
              <a:lnSpc>
                <a:spcPct val="92000"/>
              </a:lnSpc>
              <a:spcBef>
                <a:spcPts val="500"/>
              </a:spcBef>
              <a:buClr>
                <a:srgbClr val="000000"/>
              </a:buClr>
              <a:buSzPct val="100000"/>
              <a:buFont typeface="Times New Roman" panose="02020603050405020304" pitchFamily="18" charset="0"/>
              <a:buChar char="–"/>
              <a:defRPr sz="2000">
                <a:solidFill>
                  <a:srgbClr val="000000"/>
                </a:solidFill>
                <a:latin typeface="Arial" panose="020B0604020202020204" pitchFamily="34" charset="0"/>
                <a:cs typeface="Lucida Sans Unicode" panose="020B0602030504020204" pitchFamily="34" charset="0"/>
              </a:defRPr>
            </a:lvl4pPr>
            <a:lvl5pPr eaLnBrk="0" hangingPunct="0">
              <a:lnSpc>
                <a:spcPct val="92000"/>
              </a:lnSpc>
              <a:spcBef>
                <a:spcPts val="500"/>
              </a:spcBef>
              <a:buClr>
                <a:srgbClr val="000000"/>
              </a:buClr>
              <a:buSzPct val="100000"/>
              <a:buFont typeface="Times New Roman" panose="02020603050405020304" pitchFamily="18" charset="0"/>
              <a:buChar char="»"/>
              <a:defRPr sz="2000">
                <a:solidFill>
                  <a:srgbClr val="000000"/>
                </a:solidFill>
                <a:latin typeface="Arial" panose="020B0604020202020204" pitchFamily="34" charset="0"/>
                <a:cs typeface="Lucida Sans Unicode" panose="020B0602030504020204" pitchFamily="34" charset="0"/>
              </a:defRPr>
            </a:lvl5pPr>
            <a:lvl6pPr marL="2514600" indent="-228600" defTabSz="457200" eaLnBrk="0" fontAlgn="base" hangingPunct="0">
              <a:lnSpc>
                <a:spcPct val="92000"/>
              </a:lnSpc>
              <a:spcBef>
                <a:spcPts val="500"/>
              </a:spcBef>
              <a:spcAft>
                <a:spcPct val="0"/>
              </a:spcAft>
              <a:buClr>
                <a:srgbClr val="000000"/>
              </a:buClr>
              <a:buSzPct val="100000"/>
              <a:buFont typeface="Times New Roman" panose="02020603050405020304" pitchFamily="18" charset="0"/>
              <a:buChar char="»"/>
              <a:defRPr sz="2000">
                <a:solidFill>
                  <a:srgbClr val="000000"/>
                </a:solidFill>
                <a:latin typeface="Arial" panose="020B0604020202020204" pitchFamily="34" charset="0"/>
                <a:cs typeface="Lucida Sans Unicode" panose="020B0602030504020204" pitchFamily="34" charset="0"/>
              </a:defRPr>
            </a:lvl6pPr>
            <a:lvl7pPr marL="2971800" indent="-228600" defTabSz="457200" eaLnBrk="0" fontAlgn="base" hangingPunct="0">
              <a:lnSpc>
                <a:spcPct val="92000"/>
              </a:lnSpc>
              <a:spcBef>
                <a:spcPts val="500"/>
              </a:spcBef>
              <a:spcAft>
                <a:spcPct val="0"/>
              </a:spcAft>
              <a:buClr>
                <a:srgbClr val="000000"/>
              </a:buClr>
              <a:buSzPct val="100000"/>
              <a:buFont typeface="Times New Roman" panose="02020603050405020304" pitchFamily="18" charset="0"/>
              <a:buChar char="»"/>
              <a:defRPr sz="2000">
                <a:solidFill>
                  <a:srgbClr val="000000"/>
                </a:solidFill>
                <a:latin typeface="Arial" panose="020B0604020202020204" pitchFamily="34" charset="0"/>
                <a:cs typeface="Lucida Sans Unicode" panose="020B0602030504020204" pitchFamily="34" charset="0"/>
              </a:defRPr>
            </a:lvl7pPr>
            <a:lvl8pPr marL="3429000" indent="-228600" defTabSz="457200" eaLnBrk="0" fontAlgn="base" hangingPunct="0">
              <a:lnSpc>
                <a:spcPct val="92000"/>
              </a:lnSpc>
              <a:spcBef>
                <a:spcPts val="500"/>
              </a:spcBef>
              <a:spcAft>
                <a:spcPct val="0"/>
              </a:spcAft>
              <a:buClr>
                <a:srgbClr val="000000"/>
              </a:buClr>
              <a:buSzPct val="100000"/>
              <a:buFont typeface="Times New Roman" panose="02020603050405020304" pitchFamily="18" charset="0"/>
              <a:buChar char="»"/>
              <a:defRPr sz="2000">
                <a:solidFill>
                  <a:srgbClr val="000000"/>
                </a:solidFill>
                <a:latin typeface="Arial" panose="020B0604020202020204" pitchFamily="34" charset="0"/>
                <a:cs typeface="Lucida Sans Unicode" panose="020B0602030504020204" pitchFamily="34" charset="0"/>
              </a:defRPr>
            </a:lvl8pPr>
            <a:lvl9pPr marL="3886200" indent="-228600" defTabSz="457200" eaLnBrk="0" fontAlgn="base" hangingPunct="0">
              <a:lnSpc>
                <a:spcPct val="92000"/>
              </a:lnSpc>
              <a:spcBef>
                <a:spcPts val="500"/>
              </a:spcBef>
              <a:spcAft>
                <a:spcPct val="0"/>
              </a:spcAft>
              <a:buClr>
                <a:srgbClr val="000000"/>
              </a:buClr>
              <a:buSzPct val="100000"/>
              <a:buFont typeface="Times New Roman" panose="02020603050405020304" pitchFamily="18" charset="0"/>
              <a:buChar char="»"/>
              <a:defRPr sz="2000">
                <a:solidFill>
                  <a:srgbClr val="000000"/>
                </a:solidFill>
                <a:latin typeface="Arial" panose="020B0604020202020204" pitchFamily="34" charset="0"/>
                <a:cs typeface="Lucida Sans Unicode" panose="020B0602030504020204" pitchFamily="34" charset="0"/>
              </a:defRPr>
            </a:lvl9pPr>
          </a:lstStyle>
          <a:p>
            <a:pPr eaLnBrk="1" hangingPunct="1">
              <a:spcBef>
                <a:spcPct val="0"/>
              </a:spcBef>
              <a:buFontTx/>
              <a:buNone/>
            </a:pPr>
            <a:br>
              <a:rPr lang="en-GB" altLang="en-US" sz="2400" dirty="0">
                <a:solidFill>
                  <a:srgbClr val="FF6600"/>
                </a:solidFill>
              </a:rPr>
            </a:br>
            <a:endParaRPr lang="en-GB" altLang="en-US" sz="2400" dirty="0">
              <a:solidFill>
                <a:srgbClr val="FF6600"/>
              </a:solidFill>
            </a:endParaRPr>
          </a:p>
          <a:p>
            <a:pPr eaLnBrk="1" hangingPunct="1">
              <a:lnSpc>
                <a:spcPct val="100000"/>
              </a:lnSpc>
              <a:spcBef>
                <a:spcPct val="0"/>
              </a:spcBef>
              <a:buClrTx/>
              <a:buSzTx/>
              <a:buFontTx/>
              <a:buNone/>
            </a:pPr>
            <a:r>
              <a:rPr lang="en-GB" sz="2800" dirty="0">
                <a:solidFill>
                  <a:srgbClr val="FF6600"/>
                </a:solidFill>
                <a:cs typeface="Arial" pitchFamily="34" charset="0"/>
              </a:rPr>
              <a:t>     </a:t>
            </a:r>
            <a:r>
              <a:rPr lang="en-GB" sz="2800" dirty="0" err="1">
                <a:solidFill>
                  <a:srgbClr val="FF6600"/>
                </a:solidFill>
                <a:cs typeface="Arial" pitchFamily="34" charset="0"/>
              </a:rPr>
              <a:t>TestMagic</a:t>
            </a:r>
            <a:r>
              <a:rPr lang="en-GB" sz="2800" baseline="30000" dirty="0" err="1">
                <a:solidFill>
                  <a:srgbClr val="FF6600"/>
                </a:solidFill>
                <a:cs typeface="Arial" pitchFamily="34" charset="0"/>
              </a:rPr>
              <a:t>TM</a:t>
            </a:r>
            <a:r>
              <a:rPr lang="en-GB" sz="2800" dirty="0">
                <a:solidFill>
                  <a:srgbClr val="FF6600"/>
                </a:solidFill>
                <a:cs typeface="Arial" pitchFamily="34" charset="0"/>
              </a:rPr>
              <a:t> </a:t>
            </a:r>
            <a:r>
              <a:rPr lang="en-US" altLang="en-US" sz="2800" dirty="0">
                <a:solidFill>
                  <a:srgbClr val="FF6600"/>
                </a:solidFill>
                <a:cs typeface="Arial" pitchFamily="34" charset="0"/>
              </a:rPr>
              <a:t> - Business Component Overview</a:t>
            </a:r>
          </a:p>
          <a:p>
            <a:pPr eaLnBrk="1" hangingPunct="1">
              <a:spcBef>
                <a:spcPct val="0"/>
              </a:spcBef>
              <a:buFont typeface="Times New Roman" panose="02020603050405020304" pitchFamily="18" charset="0"/>
              <a:buNone/>
            </a:pPr>
            <a:br>
              <a:rPr lang="en-US" altLang="en-US" sz="2700" dirty="0">
                <a:solidFill>
                  <a:srgbClr val="FF6600"/>
                </a:solidFill>
              </a:rPr>
            </a:br>
            <a:endParaRPr lang="en-US" altLang="en-US" sz="2400" dirty="0">
              <a:solidFill>
                <a:srgbClr val="FF6600"/>
              </a:solidFill>
            </a:endParaRPr>
          </a:p>
        </p:txBody>
      </p:sp>
      <p:pic>
        <p:nvPicPr>
          <p:cNvPr id="15" name="Picture 5">
            <a:extLst>
              <a:ext uri="{FF2B5EF4-FFF2-40B4-BE49-F238E27FC236}">
                <a16:creationId xmlns:a16="http://schemas.microsoft.com/office/drawing/2014/main" id="{08C7339D-BC00-4BE7-A7C7-D6BEF898D22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21572" y="301183"/>
            <a:ext cx="334963" cy="304800"/>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C1C7E388-7A6A-4E46-A363-548378735210}"/>
              </a:ext>
            </a:extLst>
          </p:cNvPr>
          <p:cNvPicPr>
            <a:picLocks noChangeAspect="1"/>
          </p:cNvPicPr>
          <p:nvPr/>
        </p:nvPicPr>
        <p:blipFill>
          <a:blip r:embed="rId4"/>
          <a:stretch>
            <a:fillRect/>
          </a:stretch>
        </p:blipFill>
        <p:spPr>
          <a:xfrm>
            <a:off x="4719154" y="4917440"/>
            <a:ext cx="3277983" cy="1188720"/>
          </a:xfrm>
          <a:prstGeom prst="rect">
            <a:avLst/>
          </a:prstGeom>
        </p:spPr>
      </p:pic>
      <p:pic>
        <p:nvPicPr>
          <p:cNvPr id="7" name="Picture 6"/>
          <p:cNvPicPr>
            <a:picLocks noChangeAspect="1"/>
          </p:cNvPicPr>
          <p:nvPr/>
        </p:nvPicPr>
        <p:blipFill>
          <a:blip r:embed="rId5"/>
          <a:stretch>
            <a:fillRect/>
          </a:stretch>
        </p:blipFill>
        <p:spPr>
          <a:xfrm>
            <a:off x="2156534" y="2429918"/>
            <a:ext cx="7955280" cy="1099889"/>
          </a:xfrm>
          <a:prstGeom prst="rect">
            <a:avLst/>
          </a:prstGeom>
        </p:spPr>
      </p:pic>
      <p:pic>
        <p:nvPicPr>
          <p:cNvPr id="3" name="Picture 2"/>
          <p:cNvPicPr>
            <a:picLocks noChangeAspect="1"/>
          </p:cNvPicPr>
          <p:nvPr/>
        </p:nvPicPr>
        <p:blipFill>
          <a:blip r:embed="rId6"/>
          <a:stretch>
            <a:fillRect/>
          </a:stretch>
        </p:blipFill>
        <p:spPr>
          <a:xfrm>
            <a:off x="2156534" y="3577220"/>
            <a:ext cx="7955280" cy="1127852"/>
          </a:xfrm>
          <a:prstGeom prst="rect">
            <a:avLst/>
          </a:prstGeom>
        </p:spPr>
      </p:pic>
      <p:pic>
        <p:nvPicPr>
          <p:cNvPr id="8" name="Picture 7"/>
          <p:cNvPicPr>
            <a:picLocks noChangeAspect="1"/>
          </p:cNvPicPr>
          <p:nvPr/>
        </p:nvPicPr>
        <p:blipFill>
          <a:blip r:embed="rId7"/>
          <a:stretch>
            <a:fillRect/>
          </a:stretch>
        </p:blipFill>
        <p:spPr>
          <a:xfrm>
            <a:off x="2156534" y="1008947"/>
            <a:ext cx="7955280" cy="1280160"/>
          </a:xfrm>
          <a:prstGeom prst="rect">
            <a:avLst/>
          </a:prstGeom>
        </p:spPr>
      </p:pic>
    </p:spTree>
    <p:extLst>
      <p:ext uri="{BB962C8B-B14F-4D97-AF65-F5344CB8AC3E}">
        <p14:creationId xmlns:p14="http://schemas.microsoft.com/office/powerpoint/2010/main" val="23112549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6" presetClass="entr" presetSubtype="21"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barn(inVertical)">
                                      <p:cBhvr>
                                        <p:cTn id="11" dur="500"/>
                                        <p:tgtEl>
                                          <p:spTgt spid="7"/>
                                        </p:tgtEl>
                                      </p:cBhvr>
                                    </p:animEffect>
                                  </p:childTnLst>
                                </p:cTn>
                              </p:par>
                            </p:childTnLst>
                          </p:cTn>
                        </p:par>
                      </p:childTnLst>
                    </p:cTn>
                  </p:par>
                  <p:par>
                    <p:cTn id="12" fill="hold">
                      <p:stCondLst>
                        <p:cond delay="indefinite"/>
                      </p:stCondLst>
                      <p:childTnLst>
                        <p:par>
                          <p:cTn id="13" fill="hold">
                            <p:stCondLst>
                              <p:cond delay="0"/>
                            </p:stCondLst>
                            <p:childTnLst>
                              <p:par>
                                <p:cTn id="14" presetID="16" presetClass="entr" presetSubtype="26" fill="hold" nodeType="click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barn(inHorizontal)">
                                      <p:cBhvr>
                                        <p:cTn id="16" dur="500"/>
                                        <p:tgtEl>
                                          <p:spTgt spid="3"/>
                                        </p:tgtEl>
                                      </p:cBhvr>
                                    </p:animEffect>
                                  </p:childTnLst>
                                </p:cTn>
                              </p:par>
                              <p:par>
                                <p:cTn id="17" presetID="2" presetClass="entr" presetSubtype="4" fill="hold" nodeType="withEffect">
                                  <p:stCondLst>
                                    <p:cond delay="0"/>
                                  </p:stCondLst>
                                  <p:childTnLst>
                                    <p:set>
                                      <p:cBhvr>
                                        <p:cTn id="18" dur="1" fill="hold">
                                          <p:stCondLst>
                                            <p:cond delay="0"/>
                                          </p:stCondLst>
                                        </p:cTn>
                                        <p:tgtEl>
                                          <p:spTgt spid="2"/>
                                        </p:tgtEl>
                                        <p:attrNameLst>
                                          <p:attrName>style.visibility</p:attrName>
                                        </p:attrNameLst>
                                      </p:cBhvr>
                                      <p:to>
                                        <p:strVal val="visible"/>
                                      </p:to>
                                    </p:set>
                                    <p:anim calcmode="lin" valueType="num">
                                      <p:cBhvr additive="base">
                                        <p:cTn id="19" dur="500" fill="hold"/>
                                        <p:tgtEl>
                                          <p:spTgt spid="2"/>
                                        </p:tgtEl>
                                        <p:attrNameLst>
                                          <p:attrName>ppt_x</p:attrName>
                                        </p:attrNameLst>
                                      </p:cBhvr>
                                      <p:tavLst>
                                        <p:tav tm="0">
                                          <p:val>
                                            <p:strVal val="#ppt_x"/>
                                          </p:val>
                                        </p:tav>
                                        <p:tav tm="100000">
                                          <p:val>
                                            <p:strVal val="#ppt_x"/>
                                          </p:val>
                                        </p:tav>
                                      </p:tavLst>
                                    </p:anim>
                                    <p:anim calcmode="lin" valueType="num">
                                      <p:cBhvr additive="base">
                                        <p:cTn id="20"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Down Arrow 43">
            <a:extLst>
              <a:ext uri="{FF2B5EF4-FFF2-40B4-BE49-F238E27FC236}">
                <a16:creationId xmlns:a16="http://schemas.microsoft.com/office/drawing/2014/main" id="{5FB61C60-9C79-554F-7E5D-18DCC6C47126}"/>
              </a:ext>
            </a:extLst>
          </p:cNvPr>
          <p:cNvSpPr/>
          <p:nvPr/>
        </p:nvSpPr>
        <p:spPr bwMode="auto">
          <a:xfrm>
            <a:off x="9648612" y="2566900"/>
            <a:ext cx="277223" cy="250767"/>
          </a:xfrm>
          <a:custGeom>
            <a:avLst/>
            <a:gdLst>
              <a:gd name="connsiteX0" fmla="*/ 0 w 347154"/>
              <a:gd name="connsiteY0" fmla="*/ 269384 h 445436"/>
              <a:gd name="connsiteX1" fmla="*/ 86789 w 347154"/>
              <a:gd name="connsiteY1" fmla="*/ 269384 h 445436"/>
              <a:gd name="connsiteX2" fmla="*/ 86789 w 347154"/>
              <a:gd name="connsiteY2" fmla="*/ 0 h 445436"/>
              <a:gd name="connsiteX3" fmla="*/ 260366 w 347154"/>
              <a:gd name="connsiteY3" fmla="*/ 0 h 445436"/>
              <a:gd name="connsiteX4" fmla="*/ 260366 w 347154"/>
              <a:gd name="connsiteY4" fmla="*/ 269384 h 445436"/>
              <a:gd name="connsiteX5" fmla="*/ 347154 w 347154"/>
              <a:gd name="connsiteY5" fmla="*/ 269384 h 445436"/>
              <a:gd name="connsiteX6" fmla="*/ 173577 w 347154"/>
              <a:gd name="connsiteY6" fmla="*/ 445436 h 445436"/>
              <a:gd name="connsiteX7" fmla="*/ 0 w 347154"/>
              <a:gd name="connsiteY7" fmla="*/ 269384 h 445436"/>
              <a:gd name="connsiteX0" fmla="*/ 0 w 347154"/>
              <a:gd name="connsiteY0" fmla="*/ 269384 h 445436"/>
              <a:gd name="connsiteX1" fmla="*/ 86789 w 347154"/>
              <a:gd name="connsiteY1" fmla="*/ 269384 h 445436"/>
              <a:gd name="connsiteX2" fmla="*/ 86789 w 347154"/>
              <a:gd name="connsiteY2" fmla="*/ 0 h 445436"/>
              <a:gd name="connsiteX3" fmla="*/ 260366 w 347154"/>
              <a:gd name="connsiteY3" fmla="*/ 0 h 445436"/>
              <a:gd name="connsiteX4" fmla="*/ 260366 w 347154"/>
              <a:gd name="connsiteY4" fmla="*/ 269384 h 445436"/>
              <a:gd name="connsiteX5" fmla="*/ 347154 w 347154"/>
              <a:gd name="connsiteY5" fmla="*/ 269384 h 445436"/>
              <a:gd name="connsiteX6" fmla="*/ 173577 w 347154"/>
              <a:gd name="connsiteY6" fmla="*/ 445436 h 445436"/>
              <a:gd name="connsiteX7" fmla="*/ 0 w 347154"/>
              <a:gd name="connsiteY7" fmla="*/ 269384 h 445436"/>
              <a:gd name="connsiteX0" fmla="*/ 0 w 347154"/>
              <a:gd name="connsiteY0" fmla="*/ 269384 h 445436"/>
              <a:gd name="connsiteX1" fmla="*/ 86789 w 347154"/>
              <a:gd name="connsiteY1" fmla="*/ 269384 h 445436"/>
              <a:gd name="connsiteX2" fmla="*/ 86789 w 347154"/>
              <a:gd name="connsiteY2" fmla="*/ 0 h 445436"/>
              <a:gd name="connsiteX3" fmla="*/ 260366 w 347154"/>
              <a:gd name="connsiteY3" fmla="*/ 0 h 445436"/>
              <a:gd name="connsiteX4" fmla="*/ 260366 w 347154"/>
              <a:gd name="connsiteY4" fmla="*/ 269384 h 445436"/>
              <a:gd name="connsiteX5" fmla="*/ 347154 w 347154"/>
              <a:gd name="connsiteY5" fmla="*/ 269384 h 445436"/>
              <a:gd name="connsiteX6" fmla="*/ 173577 w 347154"/>
              <a:gd name="connsiteY6" fmla="*/ 445436 h 445436"/>
              <a:gd name="connsiteX7" fmla="*/ 0 w 347154"/>
              <a:gd name="connsiteY7" fmla="*/ 269384 h 445436"/>
              <a:gd name="connsiteX0" fmla="*/ 0 w 347154"/>
              <a:gd name="connsiteY0" fmla="*/ 269384 h 445436"/>
              <a:gd name="connsiteX1" fmla="*/ 134414 w 347154"/>
              <a:gd name="connsiteY1" fmla="*/ 269384 h 445436"/>
              <a:gd name="connsiteX2" fmla="*/ 86789 w 347154"/>
              <a:gd name="connsiteY2" fmla="*/ 0 h 445436"/>
              <a:gd name="connsiteX3" fmla="*/ 260366 w 347154"/>
              <a:gd name="connsiteY3" fmla="*/ 0 h 445436"/>
              <a:gd name="connsiteX4" fmla="*/ 260366 w 347154"/>
              <a:gd name="connsiteY4" fmla="*/ 269384 h 445436"/>
              <a:gd name="connsiteX5" fmla="*/ 347154 w 347154"/>
              <a:gd name="connsiteY5" fmla="*/ 269384 h 445436"/>
              <a:gd name="connsiteX6" fmla="*/ 173577 w 347154"/>
              <a:gd name="connsiteY6" fmla="*/ 445436 h 445436"/>
              <a:gd name="connsiteX7" fmla="*/ 0 w 347154"/>
              <a:gd name="connsiteY7" fmla="*/ 269384 h 445436"/>
              <a:gd name="connsiteX0" fmla="*/ 0 w 347154"/>
              <a:gd name="connsiteY0" fmla="*/ 269384 h 445436"/>
              <a:gd name="connsiteX1" fmla="*/ 134414 w 347154"/>
              <a:gd name="connsiteY1" fmla="*/ 269384 h 445436"/>
              <a:gd name="connsiteX2" fmla="*/ 86789 w 347154"/>
              <a:gd name="connsiteY2" fmla="*/ 0 h 445436"/>
              <a:gd name="connsiteX3" fmla="*/ 260366 w 347154"/>
              <a:gd name="connsiteY3" fmla="*/ 0 h 445436"/>
              <a:gd name="connsiteX4" fmla="*/ 206391 w 347154"/>
              <a:gd name="connsiteY4" fmla="*/ 272559 h 445436"/>
              <a:gd name="connsiteX5" fmla="*/ 347154 w 347154"/>
              <a:gd name="connsiteY5" fmla="*/ 269384 h 445436"/>
              <a:gd name="connsiteX6" fmla="*/ 173577 w 347154"/>
              <a:gd name="connsiteY6" fmla="*/ 445436 h 445436"/>
              <a:gd name="connsiteX7" fmla="*/ 0 w 347154"/>
              <a:gd name="connsiteY7" fmla="*/ 269384 h 445436"/>
              <a:gd name="connsiteX0" fmla="*/ 0 w 274129"/>
              <a:gd name="connsiteY0" fmla="*/ 269384 h 445436"/>
              <a:gd name="connsiteX1" fmla="*/ 134414 w 274129"/>
              <a:gd name="connsiteY1" fmla="*/ 269384 h 445436"/>
              <a:gd name="connsiteX2" fmla="*/ 86789 w 274129"/>
              <a:gd name="connsiteY2" fmla="*/ 0 h 445436"/>
              <a:gd name="connsiteX3" fmla="*/ 260366 w 274129"/>
              <a:gd name="connsiteY3" fmla="*/ 0 h 445436"/>
              <a:gd name="connsiteX4" fmla="*/ 206391 w 274129"/>
              <a:gd name="connsiteY4" fmla="*/ 272559 h 445436"/>
              <a:gd name="connsiteX5" fmla="*/ 274129 w 274129"/>
              <a:gd name="connsiteY5" fmla="*/ 275734 h 445436"/>
              <a:gd name="connsiteX6" fmla="*/ 173577 w 274129"/>
              <a:gd name="connsiteY6" fmla="*/ 445436 h 445436"/>
              <a:gd name="connsiteX7" fmla="*/ 0 w 274129"/>
              <a:gd name="connsiteY7" fmla="*/ 269384 h 445436"/>
              <a:gd name="connsiteX0" fmla="*/ 0 w 207454"/>
              <a:gd name="connsiteY0" fmla="*/ 269384 h 445436"/>
              <a:gd name="connsiteX1" fmla="*/ 67739 w 207454"/>
              <a:gd name="connsiteY1" fmla="*/ 269384 h 445436"/>
              <a:gd name="connsiteX2" fmla="*/ 20114 w 207454"/>
              <a:gd name="connsiteY2" fmla="*/ 0 h 445436"/>
              <a:gd name="connsiteX3" fmla="*/ 193691 w 207454"/>
              <a:gd name="connsiteY3" fmla="*/ 0 h 445436"/>
              <a:gd name="connsiteX4" fmla="*/ 139716 w 207454"/>
              <a:gd name="connsiteY4" fmla="*/ 272559 h 445436"/>
              <a:gd name="connsiteX5" fmla="*/ 207454 w 207454"/>
              <a:gd name="connsiteY5" fmla="*/ 275734 h 445436"/>
              <a:gd name="connsiteX6" fmla="*/ 106902 w 207454"/>
              <a:gd name="connsiteY6" fmla="*/ 445436 h 445436"/>
              <a:gd name="connsiteX7" fmla="*/ 0 w 207454"/>
              <a:gd name="connsiteY7" fmla="*/ 269384 h 445436"/>
              <a:gd name="connsiteX0" fmla="*/ 0 w 207454"/>
              <a:gd name="connsiteY0" fmla="*/ 269384 h 353361"/>
              <a:gd name="connsiteX1" fmla="*/ 67739 w 207454"/>
              <a:gd name="connsiteY1" fmla="*/ 269384 h 353361"/>
              <a:gd name="connsiteX2" fmla="*/ 20114 w 207454"/>
              <a:gd name="connsiteY2" fmla="*/ 0 h 353361"/>
              <a:gd name="connsiteX3" fmla="*/ 193691 w 207454"/>
              <a:gd name="connsiteY3" fmla="*/ 0 h 353361"/>
              <a:gd name="connsiteX4" fmla="*/ 139716 w 207454"/>
              <a:gd name="connsiteY4" fmla="*/ 272559 h 353361"/>
              <a:gd name="connsiteX5" fmla="*/ 207454 w 207454"/>
              <a:gd name="connsiteY5" fmla="*/ 275734 h 353361"/>
              <a:gd name="connsiteX6" fmla="*/ 100552 w 207454"/>
              <a:gd name="connsiteY6" fmla="*/ 353361 h 353361"/>
              <a:gd name="connsiteX7" fmla="*/ 0 w 207454"/>
              <a:gd name="connsiteY7" fmla="*/ 269384 h 353361"/>
              <a:gd name="connsiteX0" fmla="*/ 0 w 207454"/>
              <a:gd name="connsiteY0" fmla="*/ 269384 h 353361"/>
              <a:gd name="connsiteX1" fmla="*/ 67739 w 207454"/>
              <a:gd name="connsiteY1" fmla="*/ 269384 h 353361"/>
              <a:gd name="connsiteX2" fmla="*/ 20114 w 207454"/>
              <a:gd name="connsiteY2" fmla="*/ 0 h 353361"/>
              <a:gd name="connsiteX3" fmla="*/ 193691 w 207454"/>
              <a:gd name="connsiteY3" fmla="*/ 0 h 353361"/>
              <a:gd name="connsiteX4" fmla="*/ 139716 w 207454"/>
              <a:gd name="connsiteY4" fmla="*/ 272559 h 353361"/>
              <a:gd name="connsiteX5" fmla="*/ 207454 w 207454"/>
              <a:gd name="connsiteY5" fmla="*/ 275734 h 353361"/>
              <a:gd name="connsiteX6" fmla="*/ 100552 w 207454"/>
              <a:gd name="connsiteY6" fmla="*/ 353361 h 353361"/>
              <a:gd name="connsiteX7" fmla="*/ 0 w 207454"/>
              <a:gd name="connsiteY7" fmla="*/ 269384 h 353361"/>
              <a:gd name="connsiteX0" fmla="*/ 0 w 207454"/>
              <a:gd name="connsiteY0" fmla="*/ 269384 h 353361"/>
              <a:gd name="connsiteX1" fmla="*/ 67739 w 207454"/>
              <a:gd name="connsiteY1" fmla="*/ 269384 h 353361"/>
              <a:gd name="connsiteX2" fmla="*/ 20114 w 207454"/>
              <a:gd name="connsiteY2" fmla="*/ 0 h 353361"/>
              <a:gd name="connsiteX3" fmla="*/ 193691 w 207454"/>
              <a:gd name="connsiteY3" fmla="*/ 0 h 353361"/>
              <a:gd name="connsiteX4" fmla="*/ 142097 w 207454"/>
              <a:gd name="connsiteY4" fmla="*/ 227315 h 353361"/>
              <a:gd name="connsiteX5" fmla="*/ 207454 w 207454"/>
              <a:gd name="connsiteY5" fmla="*/ 275734 h 353361"/>
              <a:gd name="connsiteX6" fmla="*/ 100552 w 207454"/>
              <a:gd name="connsiteY6" fmla="*/ 353361 h 353361"/>
              <a:gd name="connsiteX7" fmla="*/ 0 w 207454"/>
              <a:gd name="connsiteY7" fmla="*/ 269384 h 353361"/>
              <a:gd name="connsiteX0" fmla="*/ 0 w 207454"/>
              <a:gd name="connsiteY0" fmla="*/ 269384 h 353361"/>
              <a:gd name="connsiteX1" fmla="*/ 70120 w 207454"/>
              <a:gd name="connsiteY1" fmla="*/ 233665 h 353361"/>
              <a:gd name="connsiteX2" fmla="*/ 20114 w 207454"/>
              <a:gd name="connsiteY2" fmla="*/ 0 h 353361"/>
              <a:gd name="connsiteX3" fmla="*/ 193691 w 207454"/>
              <a:gd name="connsiteY3" fmla="*/ 0 h 353361"/>
              <a:gd name="connsiteX4" fmla="*/ 142097 w 207454"/>
              <a:gd name="connsiteY4" fmla="*/ 227315 h 353361"/>
              <a:gd name="connsiteX5" fmla="*/ 207454 w 207454"/>
              <a:gd name="connsiteY5" fmla="*/ 275734 h 353361"/>
              <a:gd name="connsiteX6" fmla="*/ 100552 w 207454"/>
              <a:gd name="connsiteY6" fmla="*/ 353361 h 353361"/>
              <a:gd name="connsiteX7" fmla="*/ 0 w 207454"/>
              <a:gd name="connsiteY7" fmla="*/ 269384 h 353361"/>
              <a:gd name="connsiteX0" fmla="*/ 0 w 209835"/>
              <a:gd name="connsiteY0" fmla="*/ 214615 h 353361"/>
              <a:gd name="connsiteX1" fmla="*/ 72501 w 209835"/>
              <a:gd name="connsiteY1" fmla="*/ 233665 h 353361"/>
              <a:gd name="connsiteX2" fmla="*/ 22495 w 209835"/>
              <a:gd name="connsiteY2" fmla="*/ 0 h 353361"/>
              <a:gd name="connsiteX3" fmla="*/ 196072 w 209835"/>
              <a:gd name="connsiteY3" fmla="*/ 0 h 353361"/>
              <a:gd name="connsiteX4" fmla="*/ 144478 w 209835"/>
              <a:gd name="connsiteY4" fmla="*/ 227315 h 353361"/>
              <a:gd name="connsiteX5" fmla="*/ 209835 w 209835"/>
              <a:gd name="connsiteY5" fmla="*/ 275734 h 353361"/>
              <a:gd name="connsiteX6" fmla="*/ 102933 w 209835"/>
              <a:gd name="connsiteY6" fmla="*/ 353361 h 353361"/>
              <a:gd name="connsiteX7" fmla="*/ 0 w 209835"/>
              <a:gd name="connsiteY7" fmla="*/ 214615 h 353361"/>
              <a:gd name="connsiteX0" fmla="*/ 0 w 214597"/>
              <a:gd name="connsiteY0" fmla="*/ 214615 h 353361"/>
              <a:gd name="connsiteX1" fmla="*/ 72501 w 214597"/>
              <a:gd name="connsiteY1" fmla="*/ 233665 h 353361"/>
              <a:gd name="connsiteX2" fmla="*/ 22495 w 214597"/>
              <a:gd name="connsiteY2" fmla="*/ 0 h 353361"/>
              <a:gd name="connsiteX3" fmla="*/ 196072 w 214597"/>
              <a:gd name="connsiteY3" fmla="*/ 0 h 353361"/>
              <a:gd name="connsiteX4" fmla="*/ 144478 w 214597"/>
              <a:gd name="connsiteY4" fmla="*/ 227315 h 353361"/>
              <a:gd name="connsiteX5" fmla="*/ 214597 w 214597"/>
              <a:gd name="connsiteY5" fmla="*/ 213821 h 353361"/>
              <a:gd name="connsiteX6" fmla="*/ 102933 w 214597"/>
              <a:gd name="connsiteY6" fmla="*/ 353361 h 353361"/>
              <a:gd name="connsiteX7" fmla="*/ 0 w 214597"/>
              <a:gd name="connsiteY7" fmla="*/ 214615 h 353361"/>
              <a:gd name="connsiteX0" fmla="*/ 0 w 214597"/>
              <a:gd name="connsiteY0" fmla="*/ 214615 h 315261"/>
              <a:gd name="connsiteX1" fmla="*/ 72501 w 214597"/>
              <a:gd name="connsiteY1" fmla="*/ 233665 h 315261"/>
              <a:gd name="connsiteX2" fmla="*/ 22495 w 214597"/>
              <a:gd name="connsiteY2" fmla="*/ 0 h 315261"/>
              <a:gd name="connsiteX3" fmla="*/ 196072 w 214597"/>
              <a:gd name="connsiteY3" fmla="*/ 0 h 315261"/>
              <a:gd name="connsiteX4" fmla="*/ 144478 w 214597"/>
              <a:gd name="connsiteY4" fmla="*/ 227315 h 315261"/>
              <a:gd name="connsiteX5" fmla="*/ 214597 w 214597"/>
              <a:gd name="connsiteY5" fmla="*/ 213821 h 315261"/>
              <a:gd name="connsiteX6" fmla="*/ 102933 w 214597"/>
              <a:gd name="connsiteY6" fmla="*/ 315261 h 315261"/>
              <a:gd name="connsiteX7" fmla="*/ 0 w 214597"/>
              <a:gd name="connsiteY7" fmla="*/ 214615 h 315261"/>
              <a:gd name="connsiteX0" fmla="*/ 0 w 214597"/>
              <a:gd name="connsiteY0" fmla="*/ 214615 h 315261"/>
              <a:gd name="connsiteX1" fmla="*/ 72501 w 214597"/>
              <a:gd name="connsiteY1" fmla="*/ 233665 h 315261"/>
              <a:gd name="connsiteX2" fmla="*/ 22495 w 214597"/>
              <a:gd name="connsiteY2" fmla="*/ 0 h 315261"/>
              <a:gd name="connsiteX3" fmla="*/ 196072 w 214597"/>
              <a:gd name="connsiteY3" fmla="*/ 0 h 315261"/>
              <a:gd name="connsiteX4" fmla="*/ 144478 w 214597"/>
              <a:gd name="connsiteY4" fmla="*/ 227315 h 315261"/>
              <a:gd name="connsiteX5" fmla="*/ 214597 w 214597"/>
              <a:gd name="connsiteY5" fmla="*/ 213821 h 315261"/>
              <a:gd name="connsiteX6" fmla="*/ 110077 w 214597"/>
              <a:gd name="connsiteY6" fmla="*/ 315261 h 315261"/>
              <a:gd name="connsiteX7" fmla="*/ 0 w 214597"/>
              <a:gd name="connsiteY7" fmla="*/ 214615 h 315261"/>
              <a:gd name="connsiteX0" fmla="*/ 0 w 214597"/>
              <a:gd name="connsiteY0" fmla="*/ 214615 h 317643"/>
              <a:gd name="connsiteX1" fmla="*/ 72501 w 214597"/>
              <a:gd name="connsiteY1" fmla="*/ 233665 h 317643"/>
              <a:gd name="connsiteX2" fmla="*/ 22495 w 214597"/>
              <a:gd name="connsiteY2" fmla="*/ 0 h 317643"/>
              <a:gd name="connsiteX3" fmla="*/ 196072 w 214597"/>
              <a:gd name="connsiteY3" fmla="*/ 0 h 317643"/>
              <a:gd name="connsiteX4" fmla="*/ 144478 w 214597"/>
              <a:gd name="connsiteY4" fmla="*/ 227315 h 317643"/>
              <a:gd name="connsiteX5" fmla="*/ 214597 w 214597"/>
              <a:gd name="connsiteY5" fmla="*/ 213821 h 317643"/>
              <a:gd name="connsiteX6" fmla="*/ 102933 w 214597"/>
              <a:gd name="connsiteY6" fmla="*/ 317643 h 317643"/>
              <a:gd name="connsiteX7" fmla="*/ 0 w 214597"/>
              <a:gd name="connsiteY7" fmla="*/ 214615 h 317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4597" h="317643">
                <a:moveTo>
                  <a:pt x="0" y="214615"/>
                </a:moveTo>
                <a:lnTo>
                  <a:pt x="72501" y="233665"/>
                </a:lnTo>
                <a:cubicBezTo>
                  <a:pt x="72501" y="143870"/>
                  <a:pt x="63770" y="108845"/>
                  <a:pt x="22495" y="0"/>
                </a:cubicBezTo>
                <a:lnTo>
                  <a:pt x="196072" y="0"/>
                </a:lnTo>
                <a:cubicBezTo>
                  <a:pt x="151622" y="131070"/>
                  <a:pt x="144478" y="137520"/>
                  <a:pt x="144478" y="227315"/>
                </a:cubicBezTo>
                <a:lnTo>
                  <a:pt x="214597" y="213821"/>
                </a:lnTo>
                <a:lnTo>
                  <a:pt x="102933" y="317643"/>
                </a:lnTo>
                <a:lnTo>
                  <a:pt x="0" y="214615"/>
                </a:lnTo>
                <a:close/>
              </a:path>
            </a:pathLst>
          </a:cu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1200"/>
          </a:p>
        </p:txBody>
      </p:sp>
      <p:sp>
        <p:nvSpPr>
          <p:cNvPr id="17" name="Oval 16">
            <a:extLst>
              <a:ext uri="{FF2B5EF4-FFF2-40B4-BE49-F238E27FC236}">
                <a16:creationId xmlns:a16="http://schemas.microsoft.com/office/drawing/2014/main" id="{4BDD1050-A581-41BE-EC71-20BC24507F2D}"/>
              </a:ext>
            </a:extLst>
          </p:cNvPr>
          <p:cNvSpPr/>
          <p:nvPr/>
        </p:nvSpPr>
        <p:spPr bwMode="auto">
          <a:xfrm>
            <a:off x="9192865" y="1417480"/>
            <a:ext cx="1188720" cy="1134685"/>
          </a:xfrm>
          <a:prstGeom prst="ellipse">
            <a:avLst/>
          </a:prstGeom>
          <a:solidFill>
            <a:srgbClr val="FF6600"/>
          </a:solidFill>
          <a:ln w="28575">
            <a:solidFill>
              <a:srgbClr val="FF66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bg1"/>
                </a:solidFill>
                <a:latin typeface="Arial" pitchFamily="34" charset="0"/>
                <a:cs typeface="Lucida Sans Unicode" pitchFamily="34" charset="0"/>
              </a:defRPr>
            </a:lvl1pPr>
            <a:lvl2pPr marL="742950" indent="-285750">
              <a:defRPr>
                <a:solidFill>
                  <a:schemeClr val="bg1"/>
                </a:solidFill>
                <a:latin typeface="Arial" pitchFamily="34" charset="0"/>
                <a:cs typeface="Lucida Sans Unicode" pitchFamily="34" charset="0"/>
              </a:defRPr>
            </a:lvl2pPr>
            <a:lvl3pPr>
              <a:defRPr>
                <a:solidFill>
                  <a:schemeClr val="bg1"/>
                </a:solidFill>
                <a:latin typeface="Arial" pitchFamily="34" charset="0"/>
                <a:cs typeface="Lucida Sans Unicode" pitchFamily="34" charset="0"/>
              </a:defRPr>
            </a:lvl3pPr>
            <a:lvl4pPr>
              <a:defRPr>
                <a:solidFill>
                  <a:schemeClr val="bg1"/>
                </a:solidFill>
                <a:latin typeface="Arial" pitchFamily="34" charset="0"/>
                <a:cs typeface="Lucida Sans Unicode" pitchFamily="34" charset="0"/>
              </a:defRPr>
            </a:lvl4pPr>
            <a:lvl5pPr>
              <a:defRPr>
                <a:solidFill>
                  <a:schemeClr val="bg1"/>
                </a:solidFill>
                <a:latin typeface="Arial" pitchFamily="34" charset="0"/>
                <a:cs typeface="Lucida Sans Unicode" pitchFamily="34" charset="0"/>
              </a:defRPr>
            </a:lvl5pPr>
            <a:lvl6pPr marL="2514600" indent="-228600" eaLnBrk="0" fontAlgn="base" hangingPunct="0">
              <a:spcBef>
                <a:spcPct val="0"/>
              </a:spcBef>
              <a:spcAft>
                <a:spcPct val="0"/>
              </a:spcAft>
              <a:defRPr>
                <a:solidFill>
                  <a:schemeClr val="bg1"/>
                </a:solidFill>
                <a:latin typeface="Arial" pitchFamily="34" charset="0"/>
                <a:cs typeface="Lucida Sans Unicode" pitchFamily="34" charset="0"/>
              </a:defRPr>
            </a:lvl6pPr>
            <a:lvl7pPr marL="2971800" indent="-228600" eaLnBrk="0" fontAlgn="base" hangingPunct="0">
              <a:spcBef>
                <a:spcPct val="0"/>
              </a:spcBef>
              <a:spcAft>
                <a:spcPct val="0"/>
              </a:spcAft>
              <a:defRPr>
                <a:solidFill>
                  <a:schemeClr val="bg1"/>
                </a:solidFill>
                <a:latin typeface="Arial" pitchFamily="34" charset="0"/>
                <a:cs typeface="Lucida Sans Unicode" pitchFamily="34" charset="0"/>
              </a:defRPr>
            </a:lvl7pPr>
            <a:lvl8pPr marL="3429000" indent="-228600" eaLnBrk="0" fontAlgn="base" hangingPunct="0">
              <a:spcBef>
                <a:spcPct val="0"/>
              </a:spcBef>
              <a:spcAft>
                <a:spcPct val="0"/>
              </a:spcAft>
              <a:defRPr>
                <a:solidFill>
                  <a:schemeClr val="bg1"/>
                </a:solidFill>
                <a:latin typeface="Arial" pitchFamily="34" charset="0"/>
                <a:cs typeface="Lucida Sans Unicode" pitchFamily="34" charset="0"/>
              </a:defRPr>
            </a:lvl8pPr>
            <a:lvl9pPr marL="3886200" indent="-228600" eaLnBrk="0" fontAlgn="base" hangingPunct="0">
              <a:spcBef>
                <a:spcPct val="0"/>
              </a:spcBef>
              <a:spcAft>
                <a:spcPct val="0"/>
              </a:spcAft>
              <a:defRPr>
                <a:solidFill>
                  <a:schemeClr val="bg1"/>
                </a:solidFill>
                <a:latin typeface="Arial" pitchFamily="34" charset="0"/>
                <a:cs typeface="Lucida Sans Unicode" pitchFamily="34" charset="0"/>
              </a:defRPr>
            </a:lvl9pPr>
          </a:lstStyle>
          <a:p>
            <a:pPr algn="ctr" defTabSz="914400"/>
            <a:endParaRPr lang="en-US" altLang="en-US" sz="1200" dirty="0">
              <a:solidFill>
                <a:srgbClr val="FFFFFF"/>
              </a:solidFill>
            </a:endParaRPr>
          </a:p>
        </p:txBody>
      </p:sp>
      <p:graphicFrame>
        <p:nvGraphicFramePr>
          <p:cNvPr id="10242" name="Object 20" hidden="1"/>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0242"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6" name="Rectangle 2">
            <a:extLst>
              <a:ext uri="{FF2B5EF4-FFF2-40B4-BE49-F238E27FC236}">
                <a16:creationId xmlns:a16="http://schemas.microsoft.com/office/drawing/2014/main" id="{9147D454-FAAB-4F2A-B573-E483F6C386E3}"/>
              </a:ext>
            </a:extLst>
          </p:cNvPr>
          <p:cNvSpPr txBox="1">
            <a:spLocks noChangeArrowheads="1"/>
          </p:cNvSpPr>
          <p:nvPr/>
        </p:nvSpPr>
        <p:spPr bwMode="auto">
          <a:xfrm>
            <a:off x="2156534" y="273349"/>
            <a:ext cx="8511466" cy="464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7500" tIns="35100" rIns="67500" bIns="35100" anchor="ctr"/>
          <a:lstStyle>
            <a:lvl1pPr eaLnBrk="0" hangingPunct="0">
              <a:lnSpc>
                <a:spcPct val="92000"/>
              </a:lnSpc>
              <a:spcBef>
                <a:spcPts val="800"/>
              </a:spcBef>
              <a:buClr>
                <a:srgbClr val="000000"/>
              </a:buClr>
              <a:buSzPct val="100000"/>
              <a:buFont typeface="Times New Roman" panose="02020603050405020304" pitchFamily="18" charset="0"/>
              <a:buChar char="•"/>
              <a:defRPr sz="3200">
                <a:solidFill>
                  <a:srgbClr val="000000"/>
                </a:solidFill>
                <a:latin typeface="Arial" panose="020B0604020202020204" pitchFamily="34" charset="0"/>
                <a:cs typeface="Lucida Sans Unicode" panose="020B0602030504020204" pitchFamily="34" charset="0"/>
              </a:defRPr>
            </a:lvl1pPr>
            <a:lvl2pPr marL="742950" indent="-285750" eaLnBrk="0" hangingPunct="0">
              <a:lnSpc>
                <a:spcPct val="92000"/>
              </a:lnSpc>
              <a:spcBef>
                <a:spcPts val="700"/>
              </a:spcBef>
              <a:buClr>
                <a:srgbClr val="000000"/>
              </a:buClr>
              <a:buSzPct val="100000"/>
              <a:buFont typeface="Times New Roman" panose="02020603050405020304" pitchFamily="18" charset="0"/>
              <a:buChar char="–"/>
              <a:defRPr sz="2800">
                <a:solidFill>
                  <a:srgbClr val="000000"/>
                </a:solidFill>
                <a:latin typeface="Arial" panose="020B0604020202020204" pitchFamily="34" charset="0"/>
                <a:cs typeface="Lucida Sans Unicode" panose="020B0602030504020204" pitchFamily="34" charset="0"/>
              </a:defRPr>
            </a:lvl2pPr>
            <a:lvl3pPr eaLnBrk="0" hangingPunct="0">
              <a:lnSpc>
                <a:spcPct val="92000"/>
              </a:lnSpc>
              <a:spcBef>
                <a:spcPts val="600"/>
              </a:spcBef>
              <a:buClr>
                <a:srgbClr val="000000"/>
              </a:buClr>
              <a:buSzPct val="100000"/>
              <a:buFont typeface="Times New Roman" panose="02020603050405020304" pitchFamily="18" charset="0"/>
              <a:buChar char="•"/>
              <a:defRPr sz="2400">
                <a:solidFill>
                  <a:srgbClr val="000000"/>
                </a:solidFill>
                <a:latin typeface="Arial" panose="020B0604020202020204" pitchFamily="34" charset="0"/>
                <a:cs typeface="Lucida Sans Unicode" panose="020B0602030504020204" pitchFamily="34" charset="0"/>
              </a:defRPr>
            </a:lvl3pPr>
            <a:lvl4pPr eaLnBrk="0" hangingPunct="0">
              <a:lnSpc>
                <a:spcPct val="92000"/>
              </a:lnSpc>
              <a:spcBef>
                <a:spcPts val="500"/>
              </a:spcBef>
              <a:buClr>
                <a:srgbClr val="000000"/>
              </a:buClr>
              <a:buSzPct val="100000"/>
              <a:buFont typeface="Times New Roman" panose="02020603050405020304" pitchFamily="18" charset="0"/>
              <a:buChar char="–"/>
              <a:defRPr sz="2000">
                <a:solidFill>
                  <a:srgbClr val="000000"/>
                </a:solidFill>
                <a:latin typeface="Arial" panose="020B0604020202020204" pitchFamily="34" charset="0"/>
                <a:cs typeface="Lucida Sans Unicode" panose="020B0602030504020204" pitchFamily="34" charset="0"/>
              </a:defRPr>
            </a:lvl4pPr>
            <a:lvl5pPr eaLnBrk="0" hangingPunct="0">
              <a:lnSpc>
                <a:spcPct val="92000"/>
              </a:lnSpc>
              <a:spcBef>
                <a:spcPts val="500"/>
              </a:spcBef>
              <a:buClr>
                <a:srgbClr val="000000"/>
              </a:buClr>
              <a:buSzPct val="100000"/>
              <a:buFont typeface="Times New Roman" panose="02020603050405020304" pitchFamily="18" charset="0"/>
              <a:buChar char="»"/>
              <a:defRPr sz="2000">
                <a:solidFill>
                  <a:srgbClr val="000000"/>
                </a:solidFill>
                <a:latin typeface="Arial" panose="020B0604020202020204" pitchFamily="34" charset="0"/>
                <a:cs typeface="Lucida Sans Unicode" panose="020B0602030504020204" pitchFamily="34" charset="0"/>
              </a:defRPr>
            </a:lvl5pPr>
            <a:lvl6pPr marL="2514600" indent="-228600" defTabSz="457200" eaLnBrk="0" fontAlgn="base" hangingPunct="0">
              <a:lnSpc>
                <a:spcPct val="92000"/>
              </a:lnSpc>
              <a:spcBef>
                <a:spcPts val="500"/>
              </a:spcBef>
              <a:spcAft>
                <a:spcPct val="0"/>
              </a:spcAft>
              <a:buClr>
                <a:srgbClr val="000000"/>
              </a:buClr>
              <a:buSzPct val="100000"/>
              <a:buFont typeface="Times New Roman" panose="02020603050405020304" pitchFamily="18" charset="0"/>
              <a:buChar char="»"/>
              <a:defRPr sz="2000">
                <a:solidFill>
                  <a:srgbClr val="000000"/>
                </a:solidFill>
                <a:latin typeface="Arial" panose="020B0604020202020204" pitchFamily="34" charset="0"/>
                <a:cs typeface="Lucida Sans Unicode" panose="020B0602030504020204" pitchFamily="34" charset="0"/>
              </a:defRPr>
            </a:lvl6pPr>
            <a:lvl7pPr marL="2971800" indent="-228600" defTabSz="457200" eaLnBrk="0" fontAlgn="base" hangingPunct="0">
              <a:lnSpc>
                <a:spcPct val="92000"/>
              </a:lnSpc>
              <a:spcBef>
                <a:spcPts val="500"/>
              </a:spcBef>
              <a:spcAft>
                <a:spcPct val="0"/>
              </a:spcAft>
              <a:buClr>
                <a:srgbClr val="000000"/>
              </a:buClr>
              <a:buSzPct val="100000"/>
              <a:buFont typeface="Times New Roman" panose="02020603050405020304" pitchFamily="18" charset="0"/>
              <a:buChar char="»"/>
              <a:defRPr sz="2000">
                <a:solidFill>
                  <a:srgbClr val="000000"/>
                </a:solidFill>
                <a:latin typeface="Arial" panose="020B0604020202020204" pitchFamily="34" charset="0"/>
                <a:cs typeface="Lucida Sans Unicode" panose="020B0602030504020204" pitchFamily="34" charset="0"/>
              </a:defRPr>
            </a:lvl7pPr>
            <a:lvl8pPr marL="3429000" indent="-228600" defTabSz="457200" eaLnBrk="0" fontAlgn="base" hangingPunct="0">
              <a:lnSpc>
                <a:spcPct val="92000"/>
              </a:lnSpc>
              <a:spcBef>
                <a:spcPts val="500"/>
              </a:spcBef>
              <a:spcAft>
                <a:spcPct val="0"/>
              </a:spcAft>
              <a:buClr>
                <a:srgbClr val="000000"/>
              </a:buClr>
              <a:buSzPct val="100000"/>
              <a:buFont typeface="Times New Roman" panose="02020603050405020304" pitchFamily="18" charset="0"/>
              <a:buChar char="»"/>
              <a:defRPr sz="2000">
                <a:solidFill>
                  <a:srgbClr val="000000"/>
                </a:solidFill>
                <a:latin typeface="Arial" panose="020B0604020202020204" pitchFamily="34" charset="0"/>
                <a:cs typeface="Lucida Sans Unicode" panose="020B0602030504020204" pitchFamily="34" charset="0"/>
              </a:defRPr>
            </a:lvl8pPr>
            <a:lvl9pPr marL="3886200" indent="-228600" defTabSz="457200" eaLnBrk="0" fontAlgn="base" hangingPunct="0">
              <a:lnSpc>
                <a:spcPct val="92000"/>
              </a:lnSpc>
              <a:spcBef>
                <a:spcPts val="500"/>
              </a:spcBef>
              <a:spcAft>
                <a:spcPct val="0"/>
              </a:spcAft>
              <a:buClr>
                <a:srgbClr val="000000"/>
              </a:buClr>
              <a:buSzPct val="100000"/>
              <a:buFont typeface="Times New Roman" panose="02020603050405020304" pitchFamily="18" charset="0"/>
              <a:buChar char="»"/>
              <a:defRPr sz="2000">
                <a:solidFill>
                  <a:srgbClr val="000000"/>
                </a:solidFill>
                <a:latin typeface="Arial" panose="020B0604020202020204" pitchFamily="34" charset="0"/>
                <a:cs typeface="Lucida Sans Unicode" panose="020B0602030504020204" pitchFamily="34" charset="0"/>
              </a:defRPr>
            </a:lvl9pPr>
          </a:lstStyle>
          <a:p>
            <a:pPr eaLnBrk="1" hangingPunct="1">
              <a:spcBef>
                <a:spcPct val="0"/>
              </a:spcBef>
              <a:buFontTx/>
              <a:buNone/>
            </a:pPr>
            <a:br>
              <a:rPr lang="en-GB" altLang="en-US" sz="2400" dirty="0">
                <a:solidFill>
                  <a:srgbClr val="FF6600"/>
                </a:solidFill>
              </a:rPr>
            </a:br>
            <a:endParaRPr lang="en-GB" altLang="en-US" sz="2400" dirty="0">
              <a:solidFill>
                <a:srgbClr val="FF6600"/>
              </a:solidFill>
            </a:endParaRPr>
          </a:p>
          <a:p>
            <a:pPr eaLnBrk="1" hangingPunct="1">
              <a:lnSpc>
                <a:spcPct val="100000"/>
              </a:lnSpc>
              <a:spcBef>
                <a:spcPct val="0"/>
              </a:spcBef>
              <a:buClrTx/>
              <a:buSzTx/>
              <a:buFontTx/>
              <a:buNone/>
            </a:pPr>
            <a:r>
              <a:rPr lang="en-GB" sz="2400" dirty="0" err="1">
                <a:solidFill>
                  <a:srgbClr val="FF6600"/>
                </a:solidFill>
                <a:cs typeface="Arial" pitchFamily="34" charset="0"/>
              </a:rPr>
              <a:t>TestMagic</a:t>
            </a:r>
            <a:r>
              <a:rPr lang="en-GB" sz="2400" baseline="30000" dirty="0" err="1">
                <a:solidFill>
                  <a:srgbClr val="FF6600"/>
                </a:solidFill>
                <a:cs typeface="Arial" pitchFamily="34" charset="0"/>
              </a:rPr>
              <a:t>TM</a:t>
            </a:r>
            <a:r>
              <a:rPr lang="en-GB" sz="2400" dirty="0">
                <a:solidFill>
                  <a:srgbClr val="FF6600"/>
                </a:solidFill>
                <a:cs typeface="Arial" pitchFamily="34" charset="0"/>
              </a:rPr>
              <a:t> </a:t>
            </a:r>
            <a:r>
              <a:rPr lang="en-US" altLang="en-US" sz="2400" dirty="0">
                <a:solidFill>
                  <a:srgbClr val="FF6600"/>
                </a:solidFill>
                <a:cs typeface="Arial" pitchFamily="34" charset="0"/>
              </a:rPr>
              <a:t>- Business Component Authoring (Zero Coding)</a:t>
            </a:r>
          </a:p>
          <a:p>
            <a:pPr eaLnBrk="1" hangingPunct="1">
              <a:spcBef>
                <a:spcPct val="0"/>
              </a:spcBef>
              <a:buFont typeface="Times New Roman" panose="02020603050405020304" pitchFamily="18" charset="0"/>
              <a:buNone/>
            </a:pPr>
            <a:br>
              <a:rPr lang="en-US" altLang="en-US" sz="2700" dirty="0">
                <a:solidFill>
                  <a:srgbClr val="FF6600"/>
                </a:solidFill>
              </a:rPr>
            </a:br>
            <a:r>
              <a:rPr lang="en-US" altLang="en-US" sz="2700" dirty="0">
                <a:solidFill>
                  <a:srgbClr val="FF6600"/>
                </a:solidFill>
              </a:rPr>
              <a:t> </a:t>
            </a:r>
            <a:endParaRPr lang="en-US" altLang="en-US" sz="1600" dirty="0">
              <a:solidFill>
                <a:schemeClr val="tx1"/>
              </a:solidFill>
            </a:endParaRPr>
          </a:p>
        </p:txBody>
      </p:sp>
      <p:cxnSp>
        <p:nvCxnSpPr>
          <p:cNvPr id="11" name="Straight Connector 10"/>
          <p:cNvCxnSpPr/>
          <p:nvPr/>
        </p:nvCxnSpPr>
        <p:spPr bwMode="auto">
          <a:xfrm>
            <a:off x="430484" y="5892970"/>
            <a:ext cx="2286000" cy="0"/>
          </a:xfrm>
          <a:prstGeom prst="line">
            <a:avLst/>
          </a:prstGeom>
          <a:ln w="19050">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bwMode="auto">
          <a:xfrm>
            <a:off x="3091048" y="5892970"/>
            <a:ext cx="2247253" cy="0"/>
          </a:xfrm>
          <a:prstGeom prst="line">
            <a:avLst/>
          </a:prstGeom>
          <a:ln w="19050">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577255" y="1404037"/>
            <a:ext cx="7661022" cy="1438567"/>
            <a:chOff x="467125" y="1115274"/>
            <a:chExt cx="7661022" cy="1438567"/>
          </a:xfrm>
        </p:grpSpPr>
        <p:grpSp>
          <p:nvGrpSpPr>
            <p:cNvPr id="4" name="Group 65"/>
            <p:cNvGrpSpPr>
              <a:grpSpLocks/>
            </p:cNvGrpSpPr>
            <p:nvPr/>
          </p:nvGrpSpPr>
          <p:grpSpPr bwMode="auto">
            <a:xfrm>
              <a:off x="877152" y="1154115"/>
              <a:ext cx="1188720" cy="1371600"/>
              <a:chOff x="5882752" y="1482414"/>
              <a:chExt cx="1300162" cy="1571626"/>
            </a:xfrm>
          </p:grpSpPr>
          <p:sp>
            <p:nvSpPr>
              <p:cNvPr id="5" name="Down Arrow 43"/>
              <p:cNvSpPr/>
              <p:nvPr/>
            </p:nvSpPr>
            <p:spPr>
              <a:xfrm>
                <a:off x="6381228" y="2766703"/>
                <a:ext cx="303213" cy="287337"/>
              </a:xfrm>
              <a:custGeom>
                <a:avLst/>
                <a:gdLst>
                  <a:gd name="connsiteX0" fmla="*/ 0 w 347154"/>
                  <a:gd name="connsiteY0" fmla="*/ 269384 h 445436"/>
                  <a:gd name="connsiteX1" fmla="*/ 86789 w 347154"/>
                  <a:gd name="connsiteY1" fmla="*/ 269384 h 445436"/>
                  <a:gd name="connsiteX2" fmla="*/ 86789 w 347154"/>
                  <a:gd name="connsiteY2" fmla="*/ 0 h 445436"/>
                  <a:gd name="connsiteX3" fmla="*/ 260366 w 347154"/>
                  <a:gd name="connsiteY3" fmla="*/ 0 h 445436"/>
                  <a:gd name="connsiteX4" fmla="*/ 260366 w 347154"/>
                  <a:gd name="connsiteY4" fmla="*/ 269384 h 445436"/>
                  <a:gd name="connsiteX5" fmla="*/ 347154 w 347154"/>
                  <a:gd name="connsiteY5" fmla="*/ 269384 h 445436"/>
                  <a:gd name="connsiteX6" fmla="*/ 173577 w 347154"/>
                  <a:gd name="connsiteY6" fmla="*/ 445436 h 445436"/>
                  <a:gd name="connsiteX7" fmla="*/ 0 w 347154"/>
                  <a:gd name="connsiteY7" fmla="*/ 269384 h 445436"/>
                  <a:gd name="connsiteX0" fmla="*/ 0 w 347154"/>
                  <a:gd name="connsiteY0" fmla="*/ 269384 h 445436"/>
                  <a:gd name="connsiteX1" fmla="*/ 86789 w 347154"/>
                  <a:gd name="connsiteY1" fmla="*/ 269384 h 445436"/>
                  <a:gd name="connsiteX2" fmla="*/ 86789 w 347154"/>
                  <a:gd name="connsiteY2" fmla="*/ 0 h 445436"/>
                  <a:gd name="connsiteX3" fmla="*/ 260366 w 347154"/>
                  <a:gd name="connsiteY3" fmla="*/ 0 h 445436"/>
                  <a:gd name="connsiteX4" fmla="*/ 260366 w 347154"/>
                  <a:gd name="connsiteY4" fmla="*/ 269384 h 445436"/>
                  <a:gd name="connsiteX5" fmla="*/ 347154 w 347154"/>
                  <a:gd name="connsiteY5" fmla="*/ 269384 h 445436"/>
                  <a:gd name="connsiteX6" fmla="*/ 173577 w 347154"/>
                  <a:gd name="connsiteY6" fmla="*/ 445436 h 445436"/>
                  <a:gd name="connsiteX7" fmla="*/ 0 w 347154"/>
                  <a:gd name="connsiteY7" fmla="*/ 269384 h 445436"/>
                  <a:gd name="connsiteX0" fmla="*/ 0 w 347154"/>
                  <a:gd name="connsiteY0" fmla="*/ 269384 h 445436"/>
                  <a:gd name="connsiteX1" fmla="*/ 86789 w 347154"/>
                  <a:gd name="connsiteY1" fmla="*/ 269384 h 445436"/>
                  <a:gd name="connsiteX2" fmla="*/ 86789 w 347154"/>
                  <a:gd name="connsiteY2" fmla="*/ 0 h 445436"/>
                  <a:gd name="connsiteX3" fmla="*/ 260366 w 347154"/>
                  <a:gd name="connsiteY3" fmla="*/ 0 h 445436"/>
                  <a:gd name="connsiteX4" fmla="*/ 260366 w 347154"/>
                  <a:gd name="connsiteY4" fmla="*/ 269384 h 445436"/>
                  <a:gd name="connsiteX5" fmla="*/ 347154 w 347154"/>
                  <a:gd name="connsiteY5" fmla="*/ 269384 h 445436"/>
                  <a:gd name="connsiteX6" fmla="*/ 173577 w 347154"/>
                  <a:gd name="connsiteY6" fmla="*/ 445436 h 445436"/>
                  <a:gd name="connsiteX7" fmla="*/ 0 w 347154"/>
                  <a:gd name="connsiteY7" fmla="*/ 269384 h 445436"/>
                  <a:gd name="connsiteX0" fmla="*/ 0 w 347154"/>
                  <a:gd name="connsiteY0" fmla="*/ 269384 h 445436"/>
                  <a:gd name="connsiteX1" fmla="*/ 134414 w 347154"/>
                  <a:gd name="connsiteY1" fmla="*/ 269384 h 445436"/>
                  <a:gd name="connsiteX2" fmla="*/ 86789 w 347154"/>
                  <a:gd name="connsiteY2" fmla="*/ 0 h 445436"/>
                  <a:gd name="connsiteX3" fmla="*/ 260366 w 347154"/>
                  <a:gd name="connsiteY3" fmla="*/ 0 h 445436"/>
                  <a:gd name="connsiteX4" fmla="*/ 260366 w 347154"/>
                  <a:gd name="connsiteY4" fmla="*/ 269384 h 445436"/>
                  <a:gd name="connsiteX5" fmla="*/ 347154 w 347154"/>
                  <a:gd name="connsiteY5" fmla="*/ 269384 h 445436"/>
                  <a:gd name="connsiteX6" fmla="*/ 173577 w 347154"/>
                  <a:gd name="connsiteY6" fmla="*/ 445436 h 445436"/>
                  <a:gd name="connsiteX7" fmla="*/ 0 w 347154"/>
                  <a:gd name="connsiteY7" fmla="*/ 269384 h 445436"/>
                  <a:gd name="connsiteX0" fmla="*/ 0 w 347154"/>
                  <a:gd name="connsiteY0" fmla="*/ 269384 h 445436"/>
                  <a:gd name="connsiteX1" fmla="*/ 134414 w 347154"/>
                  <a:gd name="connsiteY1" fmla="*/ 269384 h 445436"/>
                  <a:gd name="connsiteX2" fmla="*/ 86789 w 347154"/>
                  <a:gd name="connsiteY2" fmla="*/ 0 h 445436"/>
                  <a:gd name="connsiteX3" fmla="*/ 260366 w 347154"/>
                  <a:gd name="connsiteY3" fmla="*/ 0 h 445436"/>
                  <a:gd name="connsiteX4" fmla="*/ 206391 w 347154"/>
                  <a:gd name="connsiteY4" fmla="*/ 272559 h 445436"/>
                  <a:gd name="connsiteX5" fmla="*/ 347154 w 347154"/>
                  <a:gd name="connsiteY5" fmla="*/ 269384 h 445436"/>
                  <a:gd name="connsiteX6" fmla="*/ 173577 w 347154"/>
                  <a:gd name="connsiteY6" fmla="*/ 445436 h 445436"/>
                  <a:gd name="connsiteX7" fmla="*/ 0 w 347154"/>
                  <a:gd name="connsiteY7" fmla="*/ 269384 h 445436"/>
                  <a:gd name="connsiteX0" fmla="*/ 0 w 274129"/>
                  <a:gd name="connsiteY0" fmla="*/ 269384 h 445436"/>
                  <a:gd name="connsiteX1" fmla="*/ 134414 w 274129"/>
                  <a:gd name="connsiteY1" fmla="*/ 269384 h 445436"/>
                  <a:gd name="connsiteX2" fmla="*/ 86789 w 274129"/>
                  <a:gd name="connsiteY2" fmla="*/ 0 h 445436"/>
                  <a:gd name="connsiteX3" fmla="*/ 260366 w 274129"/>
                  <a:gd name="connsiteY3" fmla="*/ 0 h 445436"/>
                  <a:gd name="connsiteX4" fmla="*/ 206391 w 274129"/>
                  <a:gd name="connsiteY4" fmla="*/ 272559 h 445436"/>
                  <a:gd name="connsiteX5" fmla="*/ 274129 w 274129"/>
                  <a:gd name="connsiteY5" fmla="*/ 275734 h 445436"/>
                  <a:gd name="connsiteX6" fmla="*/ 173577 w 274129"/>
                  <a:gd name="connsiteY6" fmla="*/ 445436 h 445436"/>
                  <a:gd name="connsiteX7" fmla="*/ 0 w 274129"/>
                  <a:gd name="connsiteY7" fmla="*/ 269384 h 445436"/>
                  <a:gd name="connsiteX0" fmla="*/ 0 w 207454"/>
                  <a:gd name="connsiteY0" fmla="*/ 269384 h 445436"/>
                  <a:gd name="connsiteX1" fmla="*/ 67739 w 207454"/>
                  <a:gd name="connsiteY1" fmla="*/ 269384 h 445436"/>
                  <a:gd name="connsiteX2" fmla="*/ 20114 w 207454"/>
                  <a:gd name="connsiteY2" fmla="*/ 0 h 445436"/>
                  <a:gd name="connsiteX3" fmla="*/ 193691 w 207454"/>
                  <a:gd name="connsiteY3" fmla="*/ 0 h 445436"/>
                  <a:gd name="connsiteX4" fmla="*/ 139716 w 207454"/>
                  <a:gd name="connsiteY4" fmla="*/ 272559 h 445436"/>
                  <a:gd name="connsiteX5" fmla="*/ 207454 w 207454"/>
                  <a:gd name="connsiteY5" fmla="*/ 275734 h 445436"/>
                  <a:gd name="connsiteX6" fmla="*/ 106902 w 207454"/>
                  <a:gd name="connsiteY6" fmla="*/ 445436 h 445436"/>
                  <a:gd name="connsiteX7" fmla="*/ 0 w 207454"/>
                  <a:gd name="connsiteY7" fmla="*/ 269384 h 445436"/>
                  <a:gd name="connsiteX0" fmla="*/ 0 w 207454"/>
                  <a:gd name="connsiteY0" fmla="*/ 269384 h 353361"/>
                  <a:gd name="connsiteX1" fmla="*/ 67739 w 207454"/>
                  <a:gd name="connsiteY1" fmla="*/ 269384 h 353361"/>
                  <a:gd name="connsiteX2" fmla="*/ 20114 w 207454"/>
                  <a:gd name="connsiteY2" fmla="*/ 0 h 353361"/>
                  <a:gd name="connsiteX3" fmla="*/ 193691 w 207454"/>
                  <a:gd name="connsiteY3" fmla="*/ 0 h 353361"/>
                  <a:gd name="connsiteX4" fmla="*/ 139716 w 207454"/>
                  <a:gd name="connsiteY4" fmla="*/ 272559 h 353361"/>
                  <a:gd name="connsiteX5" fmla="*/ 207454 w 207454"/>
                  <a:gd name="connsiteY5" fmla="*/ 275734 h 353361"/>
                  <a:gd name="connsiteX6" fmla="*/ 100552 w 207454"/>
                  <a:gd name="connsiteY6" fmla="*/ 353361 h 353361"/>
                  <a:gd name="connsiteX7" fmla="*/ 0 w 207454"/>
                  <a:gd name="connsiteY7" fmla="*/ 269384 h 353361"/>
                  <a:gd name="connsiteX0" fmla="*/ 0 w 207454"/>
                  <a:gd name="connsiteY0" fmla="*/ 269384 h 353361"/>
                  <a:gd name="connsiteX1" fmla="*/ 67739 w 207454"/>
                  <a:gd name="connsiteY1" fmla="*/ 269384 h 353361"/>
                  <a:gd name="connsiteX2" fmla="*/ 20114 w 207454"/>
                  <a:gd name="connsiteY2" fmla="*/ 0 h 353361"/>
                  <a:gd name="connsiteX3" fmla="*/ 193691 w 207454"/>
                  <a:gd name="connsiteY3" fmla="*/ 0 h 353361"/>
                  <a:gd name="connsiteX4" fmla="*/ 139716 w 207454"/>
                  <a:gd name="connsiteY4" fmla="*/ 272559 h 353361"/>
                  <a:gd name="connsiteX5" fmla="*/ 207454 w 207454"/>
                  <a:gd name="connsiteY5" fmla="*/ 275734 h 353361"/>
                  <a:gd name="connsiteX6" fmla="*/ 100552 w 207454"/>
                  <a:gd name="connsiteY6" fmla="*/ 353361 h 353361"/>
                  <a:gd name="connsiteX7" fmla="*/ 0 w 207454"/>
                  <a:gd name="connsiteY7" fmla="*/ 269384 h 353361"/>
                  <a:gd name="connsiteX0" fmla="*/ 0 w 207454"/>
                  <a:gd name="connsiteY0" fmla="*/ 269384 h 353361"/>
                  <a:gd name="connsiteX1" fmla="*/ 67739 w 207454"/>
                  <a:gd name="connsiteY1" fmla="*/ 269384 h 353361"/>
                  <a:gd name="connsiteX2" fmla="*/ 20114 w 207454"/>
                  <a:gd name="connsiteY2" fmla="*/ 0 h 353361"/>
                  <a:gd name="connsiteX3" fmla="*/ 193691 w 207454"/>
                  <a:gd name="connsiteY3" fmla="*/ 0 h 353361"/>
                  <a:gd name="connsiteX4" fmla="*/ 142097 w 207454"/>
                  <a:gd name="connsiteY4" fmla="*/ 227315 h 353361"/>
                  <a:gd name="connsiteX5" fmla="*/ 207454 w 207454"/>
                  <a:gd name="connsiteY5" fmla="*/ 275734 h 353361"/>
                  <a:gd name="connsiteX6" fmla="*/ 100552 w 207454"/>
                  <a:gd name="connsiteY6" fmla="*/ 353361 h 353361"/>
                  <a:gd name="connsiteX7" fmla="*/ 0 w 207454"/>
                  <a:gd name="connsiteY7" fmla="*/ 269384 h 353361"/>
                  <a:gd name="connsiteX0" fmla="*/ 0 w 207454"/>
                  <a:gd name="connsiteY0" fmla="*/ 269384 h 353361"/>
                  <a:gd name="connsiteX1" fmla="*/ 70120 w 207454"/>
                  <a:gd name="connsiteY1" fmla="*/ 233665 h 353361"/>
                  <a:gd name="connsiteX2" fmla="*/ 20114 w 207454"/>
                  <a:gd name="connsiteY2" fmla="*/ 0 h 353361"/>
                  <a:gd name="connsiteX3" fmla="*/ 193691 w 207454"/>
                  <a:gd name="connsiteY3" fmla="*/ 0 h 353361"/>
                  <a:gd name="connsiteX4" fmla="*/ 142097 w 207454"/>
                  <a:gd name="connsiteY4" fmla="*/ 227315 h 353361"/>
                  <a:gd name="connsiteX5" fmla="*/ 207454 w 207454"/>
                  <a:gd name="connsiteY5" fmla="*/ 275734 h 353361"/>
                  <a:gd name="connsiteX6" fmla="*/ 100552 w 207454"/>
                  <a:gd name="connsiteY6" fmla="*/ 353361 h 353361"/>
                  <a:gd name="connsiteX7" fmla="*/ 0 w 207454"/>
                  <a:gd name="connsiteY7" fmla="*/ 269384 h 353361"/>
                  <a:gd name="connsiteX0" fmla="*/ 0 w 209835"/>
                  <a:gd name="connsiteY0" fmla="*/ 214615 h 353361"/>
                  <a:gd name="connsiteX1" fmla="*/ 72501 w 209835"/>
                  <a:gd name="connsiteY1" fmla="*/ 233665 h 353361"/>
                  <a:gd name="connsiteX2" fmla="*/ 22495 w 209835"/>
                  <a:gd name="connsiteY2" fmla="*/ 0 h 353361"/>
                  <a:gd name="connsiteX3" fmla="*/ 196072 w 209835"/>
                  <a:gd name="connsiteY3" fmla="*/ 0 h 353361"/>
                  <a:gd name="connsiteX4" fmla="*/ 144478 w 209835"/>
                  <a:gd name="connsiteY4" fmla="*/ 227315 h 353361"/>
                  <a:gd name="connsiteX5" fmla="*/ 209835 w 209835"/>
                  <a:gd name="connsiteY5" fmla="*/ 275734 h 353361"/>
                  <a:gd name="connsiteX6" fmla="*/ 102933 w 209835"/>
                  <a:gd name="connsiteY6" fmla="*/ 353361 h 353361"/>
                  <a:gd name="connsiteX7" fmla="*/ 0 w 209835"/>
                  <a:gd name="connsiteY7" fmla="*/ 214615 h 353361"/>
                  <a:gd name="connsiteX0" fmla="*/ 0 w 214597"/>
                  <a:gd name="connsiteY0" fmla="*/ 214615 h 353361"/>
                  <a:gd name="connsiteX1" fmla="*/ 72501 w 214597"/>
                  <a:gd name="connsiteY1" fmla="*/ 233665 h 353361"/>
                  <a:gd name="connsiteX2" fmla="*/ 22495 w 214597"/>
                  <a:gd name="connsiteY2" fmla="*/ 0 h 353361"/>
                  <a:gd name="connsiteX3" fmla="*/ 196072 w 214597"/>
                  <a:gd name="connsiteY3" fmla="*/ 0 h 353361"/>
                  <a:gd name="connsiteX4" fmla="*/ 144478 w 214597"/>
                  <a:gd name="connsiteY4" fmla="*/ 227315 h 353361"/>
                  <a:gd name="connsiteX5" fmla="*/ 214597 w 214597"/>
                  <a:gd name="connsiteY5" fmla="*/ 213821 h 353361"/>
                  <a:gd name="connsiteX6" fmla="*/ 102933 w 214597"/>
                  <a:gd name="connsiteY6" fmla="*/ 353361 h 353361"/>
                  <a:gd name="connsiteX7" fmla="*/ 0 w 214597"/>
                  <a:gd name="connsiteY7" fmla="*/ 214615 h 353361"/>
                  <a:gd name="connsiteX0" fmla="*/ 0 w 214597"/>
                  <a:gd name="connsiteY0" fmla="*/ 214615 h 315261"/>
                  <a:gd name="connsiteX1" fmla="*/ 72501 w 214597"/>
                  <a:gd name="connsiteY1" fmla="*/ 233665 h 315261"/>
                  <a:gd name="connsiteX2" fmla="*/ 22495 w 214597"/>
                  <a:gd name="connsiteY2" fmla="*/ 0 h 315261"/>
                  <a:gd name="connsiteX3" fmla="*/ 196072 w 214597"/>
                  <a:gd name="connsiteY3" fmla="*/ 0 h 315261"/>
                  <a:gd name="connsiteX4" fmla="*/ 144478 w 214597"/>
                  <a:gd name="connsiteY4" fmla="*/ 227315 h 315261"/>
                  <a:gd name="connsiteX5" fmla="*/ 214597 w 214597"/>
                  <a:gd name="connsiteY5" fmla="*/ 213821 h 315261"/>
                  <a:gd name="connsiteX6" fmla="*/ 102933 w 214597"/>
                  <a:gd name="connsiteY6" fmla="*/ 315261 h 315261"/>
                  <a:gd name="connsiteX7" fmla="*/ 0 w 214597"/>
                  <a:gd name="connsiteY7" fmla="*/ 214615 h 315261"/>
                  <a:gd name="connsiteX0" fmla="*/ 0 w 214597"/>
                  <a:gd name="connsiteY0" fmla="*/ 214615 h 315261"/>
                  <a:gd name="connsiteX1" fmla="*/ 72501 w 214597"/>
                  <a:gd name="connsiteY1" fmla="*/ 233665 h 315261"/>
                  <a:gd name="connsiteX2" fmla="*/ 22495 w 214597"/>
                  <a:gd name="connsiteY2" fmla="*/ 0 h 315261"/>
                  <a:gd name="connsiteX3" fmla="*/ 196072 w 214597"/>
                  <a:gd name="connsiteY3" fmla="*/ 0 h 315261"/>
                  <a:gd name="connsiteX4" fmla="*/ 144478 w 214597"/>
                  <a:gd name="connsiteY4" fmla="*/ 227315 h 315261"/>
                  <a:gd name="connsiteX5" fmla="*/ 214597 w 214597"/>
                  <a:gd name="connsiteY5" fmla="*/ 213821 h 315261"/>
                  <a:gd name="connsiteX6" fmla="*/ 110077 w 214597"/>
                  <a:gd name="connsiteY6" fmla="*/ 315261 h 315261"/>
                  <a:gd name="connsiteX7" fmla="*/ 0 w 214597"/>
                  <a:gd name="connsiteY7" fmla="*/ 214615 h 315261"/>
                  <a:gd name="connsiteX0" fmla="*/ 0 w 214597"/>
                  <a:gd name="connsiteY0" fmla="*/ 214615 h 317643"/>
                  <a:gd name="connsiteX1" fmla="*/ 72501 w 214597"/>
                  <a:gd name="connsiteY1" fmla="*/ 233665 h 317643"/>
                  <a:gd name="connsiteX2" fmla="*/ 22495 w 214597"/>
                  <a:gd name="connsiteY2" fmla="*/ 0 h 317643"/>
                  <a:gd name="connsiteX3" fmla="*/ 196072 w 214597"/>
                  <a:gd name="connsiteY3" fmla="*/ 0 h 317643"/>
                  <a:gd name="connsiteX4" fmla="*/ 144478 w 214597"/>
                  <a:gd name="connsiteY4" fmla="*/ 227315 h 317643"/>
                  <a:gd name="connsiteX5" fmla="*/ 214597 w 214597"/>
                  <a:gd name="connsiteY5" fmla="*/ 213821 h 317643"/>
                  <a:gd name="connsiteX6" fmla="*/ 102933 w 214597"/>
                  <a:gd name="connsiteY6" fmla="*/ 317643 h 317643"/>
                  <a:gd name="connsiteX7" fmla="*/ 0 w 214597"/>
                  <a:gd name="connsiteY7" fmla="*/ 214615 h 317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4597" h="317643">
                    <a:moveTo>
                      <a:pt x="0" y="214615"/>
                    </a:moveTo>
                    <a:lnTo>
                      <a:pt x="72501" y="233665"/>
                    </a:lnTo>
                    <a:cubicBezTo>
                      <a:pt x="72501" y="143870"/>
                      <a:pt x="63770" y="108845"/>
                      <a:pt x="22495" y="0"/>
                    </a:cubicBezTo>
                    <a:lnTo>
                      <a:pt x="196072" y="0"/>
                    </a:lnTo>
                    <a:cubicBezTo>
                      <a:pt x="151622" y="131070"/>
                      <a:pt x="144478" y="137520"/>
                      <a:pt x="144478" y="227315"/>
                    </a:cubicBezTo>
                    <a:lnTo>
                      <a:pt x="214597" y="213821"/>
                    </a:lnTo>
                    <a:lnTo>
                      <a:pt x="102933" y="317643"/>
                    </a:lnTo>
                    <a:lnTo>
                      <a:pt x="0" y="214615"/>
                    </a:lnTo>
                    <a:close/>
                  </a:path>
                </a:pathLst>
              </a:cu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1200"/>
              </a:p>
            </p:txBody>
          </p:sp>
          <p:sp>
            <p:nvSpPr>
              <p:cNvPr id="6" name="Oval 5"/>
              <p:cNvSpPr/>
              <p:nvPr/>
            </p:nvSpPr>
            <p:spPr>
              <a:xfrm>
                <a:off x="5882752" y="1482414"/>
                <a:ext cx="1300162" cy="1300161"/>
              </a:xfrm>
              <a:prstGeom prst="ellipse">
                <a:avLst/>
              </a:prstGeom>
              <a:solidFill>
                <a:srgbClr val="FF6600"/>
              </a:solidFill>
              <a:ln w="28575">
                <a:solidFill>
                  <a:srgbClr val="FF66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bg1"/>
                    </a:solidFill>
                    <a:latin typeface="Arial" pitchFamily="34" charset="0"/>
                    <a:cs typeface="Lucida Sans Unicode" pitchFamily="34" charset="0"/>
                  </a:defRPr>
                </a:lvl1pPr>
                <a:lvl2pPr marL="742950" indent="-285750">
                  <a:defRPr>
                    <a:solidFill>
                      <a:schemeClr val="bg1"/>
                    </a:solidFill>
                    <a:latin typeface="Arial" pitchFamily="34" charset="0"/>
                    <a:cs typeface="Lucida Sans Unicode" pitchFamily="34" charset="0"/>
                  </a:defRPr>
                </a:lvl2pPr>
                <a:lvl3pPr>
                  <a:defRPr>
                    <a:solidFill>
                      <a:schemeClr val="bg1"/>
                    </a:solidFill>
                    <a:latin typeface="Arial" pitchFamily="34" charset="0"/>
                    <a:cs typeface="Lucida Sans Unicode" pitchFamily="34" charset="0"/>
                  </a:defRPr>
                </a:lvl3pPr>
                <a:lvl4pPr>
                  <a:defRPr>
                    <a:solidFill>
                      <a:schemeClr val="bg1"/>
                    </a:solidFill>
                    <a:latin typeface="Arial" pitchFamily="34" charset="0"/>
                    <a:cs typeface="Lucida Sans Unicode" pitchFamily="34" charset="0"/>
                  </a:defRPr>
                </a:lvl4pPr>
                <a:lvl5pPr>
                  <a:defRPr>
                    <a:solidFill>
                      <a:schemeClr val="bg1"/>
                    </a:solidFill>
                    <a:latin typeface="Arial" pitchFamily="34" charset="0"/>
                    <a:cs typeface="Lucida Sans Unicode" pitchFamily="34" charset="0"/>
                  </a:defRPr>
                </a:lvl5pPr>
                <a:lvl6pPr marL="2514600" indent="-228600" eaLnBrk="0" fontAlgn="base" hangingPunct="0">
                  <a:spcBef>
                    <a:spcPct val="0"/>
                  </a:spcBef>
                  <a:spcAft>
                    <a:spcPct val="0"/>
                  </a:spcAft>
                  <a:defRPr>
                    <a:solidFill>
                      <a:schemeClr val="bg1"/>
                    </a:solidFill>
                    <a:latin typeface="Arial" pitchFamily="34" charset="0"/>
                    <a:cs typeface="Lucida Sans Unicode" pitchFamily="34" charset="0"/>
                  </a:defRPr>
                </a:lvl6pPr>
                <a:lvl7pPr marL="2971800" indent="-228600" eaLnBrk="0" fontAlgn="base" hangingPunct="0">
                  <a:spcBef>
                    <a:spcPct val="0"/>
                  </a:spcBef>
                  <a:spcAft>
                    <a:spcPct val="0"/>
                  </a:spcAft>
                  <a:defRPr>
                    <a:solidFill>
                      <a:schemeClr val="bg1"/>
                    </a:solidFill>
                    <a:latin typeface="Arial" pitchFamily="34" charset="0"/>
                    <a:cs typeface="Lucida Sans Unicode" pitchFamily="34" charset="0"/>
                  </a:defRPr>
                </a:lvl7pPr>
                <a:lvl8pPr marL="3429000" indent="-228600" eaLnBrk="0" fontAlgn="base" hangingPunct="0">
                  <a:spcBef>
                    <a:spcPct val="0"/>
                  </a:spcBef>
                  <a:spcAft>
                    <a:spcPct val="0"/>
                  </a:spcAft>
                  <a:defRPr>
                    <a:solidFill>
                      <a:schemeClr val="bg1"/>
                    </a:solidFill>
                    <a:latin typeface="Arial" pitchFamily="34" charset="0"/>
                    <a:cs typeface="Lucida Sans Unicode" pitchFamily="34" charset="0"/>
                  </a:defRPr>
                </a:lvl8pPr>
                <a:lvl9pPr marL="3886200" indent="-228600" eaLnBrk="0" fontAlgn="base" hangingPunct="0">
                  <a:spcBef>
                    <a:spcPct val="0"/>
                  </a:spcBef>
                  <a:spcAft>
                    <a:spcPct val="0"/>
                  </a:spcAft>
                  <a:defRPr>
                    <a:solidFill>
                      <a:schemeClr val="bg1"/>
                    </a:solidFill>
                    <a:latin typeface="Arial" pitchFamily="34" charset="0"/>
                    <a:cs typeface="Lucida Sans Unicode" pitchFamily="34" charset="0"/>
                  </a:defRPr>
                </a:lvl9pPr>
              </a:lstStyle>
              <a:p>
                <a:pPr algn="ctr" defTabSz="914400"/>
                <a:endParaRPr lang="en-US" altLang="en-US" sz="1200">
                  <a:solidFill>
                    <a:srgbClr val="FFFFFF"/>
                  </a:solidFill>
                </a:endParaRPr>
              </a:p>
            </p:txBody>
          </p:sp>
          <p:sp>
            <p:nvSpPr>
              <p:cNvPr id="7" name="Oval 6"/>
              <p:cNvSpPr/>
              <p:nvPr/>
            </p:nvSpPr>
            <p:spPr>
              <a:xfrm>
                <a:off x="5973239" y="1563377"/>
                <a:ext cx="1100138" cy="1100138"/>
              </a:xfrm>
              <a:prstGeom prst="ellipse">
                <a:avLst/>
              </a:prstGeom>
              <a:solidFill>
                <a:schemeClr val="bg1"/>
              </a:solidFill>
              <a:ln w="28575">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bg1"/>
                    </a:solidFill>
                    <a:latin typeface="Arial" pitchFamily="34" charset="0"/>
                    <a:cs typeface="Lucida Sans Unicode" pitchFamily="34" charset="0"/>
                  </a:defRPr>
                </a:lvl1pPr>
                <a:lvl2pPr marL="742950" indent="-285750">
                  <a:defRPr>
                    <a:solidFill>
                      <a:schemeClr val="bg1"/>
                    </a:solidFill>
                    <a:latin typeface="Arial" pitchFamily="34" charset="0"/>
                    <a:cs typeface="Lucida Sans Unicode" pitchFamily="34" charset="0"/>
                  </a:defRPr>
                </a:lvl2pPr>
                <a:lvl3pPr>
                  <a:defRPr>
                    <a:solidFill>
                      <a:schemeClr val="bg1"/>
                    </a:solidFill>
                    <a:latin typeface="Arial" pitchFamily="34" charset="0"/>
                    <a:cs typeface="Lucida Sans Unicode" pitchFamily="34" charset="0"/>
                  </a:defRPr>
                </a:lvl3pPr>
                <a:lvl4pPr>
                  <a:defRPr>
                    <a:solidFill>
                      <a:schemeClr val="bg1"/>
                    </a:solidFill>
                    <a:latin typeface="Arial" pitchFamily="34" charset="0"/>
                    <a:cs typeface="Lucida Sans Unicode" pitchFamily="34" charset="0"/>
                  </a:defRPr>
                </a:lvl4pPr>
                <a:lvl5pPr>
                  <a:defRPr>
                    <a:solidFill>
                      <a:schemeClr val="bg1"/>
                    </a:solidFill>
                    <a:latin typeface="Arial" pitchFamily="34" charset="0"/>
                    <a:cs typeface="Lucida Sans Unicode" pitchFamily="34" charset="0"/>
                  </a:defRPr>
                </a:lvl5pPr>
                <a:lvl6pPr marL="2514600" indent="-228600" eaLnBrk="0" fontAlgn="base" hangingPunct="0">
                  <a:spcBef>
                    <a:spcPct val="0"/>
                  </a:spcBef>
                  <a:spcAft>
                    <a:spcPct val="0"/>
                  </a:spcAft>
                  <a:defRPr>
                    <a:solidFill>
                      <a:schemeClr val="bg1"/>
                    </a:solidFill>
                    <a:latin typeface="Arial" pitchFamily="34" charset="0"/>
                    <a:cs typeface="Lucida Sans Unicode" pitchFamily="34" charset="0"/>
                  </a:defRPr>
                </a:lvl6pPr>
                <a:lvl7pPr marL="2971800" indent="-228600" eaLnBrk="0" fontAlgn="base" hangingPunct="0">
                  <a:spcBef>
                    <a:spcPct val="0"/>
                  </a:spcBef>
                  <a:spcAft>
                    <a:spcPct val="0"/>
                  </a:spcAft>
                  <a:defRPr>
                    <a:solidFill>
                      <a:schemeClr val="bg1"/>
                    </a:solidFill>
                    <a:latin typeface="Arial" pitchFamily="34" charset="0"/>
                    <a:cs typeface="Lucida Sans Unicode" pitchFamily="34" charset="0"/>
                  </a:defRPr>
                </a:lvl7pPr>
                <a:lvl8pPr marL="3429000" indent="-228600" eaLnBrk="0" fontAlgn="base" hangingPunct="0">
                  <a:spcBef>
                    <a:spcPct val="0"/>
                  </a:spcBef>
                  <a:spcAft>
                    <a:spcPct val="0"/>
                  </a:spcAft>
                  <a:defRPr>
                    <a:solidFill>
                      <a:schemeClr val="bg1"/>
                    </a:solidFill>
                    <a:latin typeface="Arial" pitchFamily="34" charset="0"/>
                    <a:cs typeface="Lucida Sans Unicode" pitchFamily="34" charset="0"/>
                  </a:defRPr>
                </a:lvl8pPr>
                <a:lvl9pPr marL="3886200" indent="-228600" eaLnBrk="0" fontAlgn="base" hangingPunct="0">
                  <a:spcBef>
                    <a:spcPct val="0"/>
                  </a:spcBef>
                  <a:spcAft>
                    <a:spcPct val="0"/>
                  </a:spcAft>
                  <a:defRPr>
                    <a:solidFill>
                      <a:schemeClr val="bg1"/>
                    </a:solidFill>
                    <a:latin typeface="Arial" pitchFamily="34" charset="0"/>
                    <a:cs typeface="Lucida Sans Unicode" pitchFamily="34" charset="0"/>
                  </a:defRPr>
                </a:lvl9pPr>
              </a:lstStyle>
              <a:p>
                <a:pPr algn="ctr" defTabSz="914400"/>
                <a:endParaRPr lang="en-US" altLang="en-US" sz="1200" dirty="0">
                  <a:solidFill>
                    <a:srgbClr val="FFFFFF"/>
                  </a:solidFill>
                </a:endParaRPr>
              </a:p>
            </p:txBody>
          </p:sp>
          <p:sp>
            <p:nvSpPr>
              <p:cNvPr id="8" name="TextBox 42"/>
              <p:cNvSpPr txBox="1">
                <a:spLocks noChangeArrowheads="1"/>
              </p:cNvSpPr>
              <p:nvPr/>
            </p:nvSpPr>
            <p:spPr bwMode="auto">
              <a:xfrm>
                <a:off x="6166110" y="1990997"/>
                <a:ext cx="708326" cy="211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bg1"/>
                    </a:solidFill>
                    <a:latin typeface="Arial" pitchFamily="34" charset="0"/>
                    <a:cs typeface="Lucida Sans Unicode" pitchFamily="34" charset="0"/>
                  </a:defRPr>
                </a:lvl1pPr>
                <a:lvl2pPr marL="742950" indent="-285750">
                  <a:defRPr>
                    <a:solidFill>
                      <a:schemeClr val="bg1"/>
                    </a:solidFill>
                    <a:latin typeface="Arial" pitchFamily="34" charset="0"/>
                    <a:cs typeface="Lucida Sans Unicode" pitchFamily="34" charset="0"/>
                  </a:defRPr>
                </a:lvl2pPr>
                <a:lvl3pPr>
                  <a:defRPr>
                    <a:solidFill>
                      <a:schemeClr val="bg1"/>
                    </a:solidFill>
                    <a:latin typeface="Arial" pitchFamily="34" charset="0"/>
                    <a:cs typeface="Lucida Sans Unicode" pitchFamily="34" charset="0"/>
                  </a:defRPr>
                </a:lvl3pPr>
                <a:lvl4pPr>
                  <a:defRPr>
                    <a:solidFill>
                      <a:schemeClr val="bg1"/>
                    </a:solidFill>
                    <a:latin typeface="Arial" pitchFamily="34" charset="0"/>
                    <a:cs typeface="Lucida Sans Unicode" pitchFamily="34" charset="0"/>
                  </a:defRPr>
                </a:lvl4pPr>
                <a:lvl5pPr>
                  <a:defRPr>
                    <a:solidFill>
                      <a:schemeClr val="bg1"/>
                    </a:solidFill>
                    <a:latin typeface="Arial" pitchFamily="34" charset="0"/>
                    <a:cs typeface="Lucida Sans Unicode" pitchFamily="34" charset="0"/>
                  </a:defRPr>
                </a:lvl5pPr>
                <a:lvl6pPr marL="2514600" indent="-228600" eaLnBrk="0" fontAlgn="base" hangingPunct="0">
                  <a:spcBef>
                    <a:spcPct val="0"/>
                  </a:spcBef>
                  <a:spcAft>
                    <a:spcPct val="0"/>
                  </a:spcAft>
                  <a:defRPr>
                    <a:solidFill>
                      <a:schemeClr val="bg1"/>
                    </a:solidFill>
                    <a:latin typeface="Arial" pitchFamily="34" charset="0"/>
                    <a:cs typeface="Lucida Sans Unicode" pitchFamily="34" charset="0"/>
                  </a:defRPr>
                </a:lvl6pPr>
                <a:lvl7pPr marL="2971800" indent="-228600" eaLnBrk="0" fontAlgn="base" hangingPunct="0">
                  <a:spcBef>
                    <a:spcPct val="0"/>
                  </a:spcBef>
                  <a:spcAft>
                    <a:spcPct val="0"/>
                  </a:spcAft>
                  <a:defRPr>
                    <a:solidFill>
                      <a:schemeClr val="bg1"/>
                    </a:solidFill>
                    <a:latin typeface="Arial" pitchFamily="34" charset="0"/>
                    <a:cs typeface="Lucida Sans Unicode" pitchFamily="34" charset="0"/>
                  </a:defRPr>
                </a:lvl7pPr>
                <a:lvl8pPr marL="3429000" indent="-228600" eaLnBrk="0" fontAlgn="base" hangingPunct="0">
                  <a:spcBef>
                    <a:spcPct val="0"/>
                  </a:spcBef>
                  <a:spcAft>
                    <a:spcPct val="0"/>
                  </a:spcAft>
                  <a:defRPr>
                    <a:solidFill>
                      <a:schemeClr val="bg1"/>
                    </a:solidFill>
                    <a:latin typeface="Arial" pitchFamily="34" charset="0"/>
                    <a:cs typeface="Lucida Sans Unicode" pitchFamily="34" charset="0"/>
                  </a:defRPr>
                </a:lvl8pPr>
                <a:lvl9pPr marL="3886200" indent="-228600" eaLnBrk="0" fontAlgn="base" hangingPunct="0">
                  <a:spcBef>
                    <a:spcPct val="0"/>
                  </a:spcBef>
                  <a:spcAft>
                    <a:spcPct val="0"/>
                  </a:spcAft>
                  <a:defRPr>
                    <a:solidFill>
                      <a:schemeClr val="bg1"/>
                    </a:solidFill>
                    <a:latin typeface="Arial" pitchFamily="34" charset="0"/>
                    <a:cs typeface="Lucida Sans Unicode" pitchFamily="34" charset="0"/>
                  </a:defRPr>
                </a:lvl9pPr>
              </a:lstStyle>
              <a:p>
                <a:pPr algn="ctr" defTabSz="914400"/>
                <a:r>
                  <a:rPr lang="en-GB" altLang="en-US" sz="1200" b="1" dirty="0">
                    <a:solidFill>
                      <a:schemeClr val="tx1"/>
                    </a:solidFill>
                  </a:rPr>
                  <a:t>Discover</a:t>
                </a:r>
              </a:p>
            </p:txBody>
          </p:sp>
        </p:grpSp>
        <p:cxnSp>
          <p:nvCxnSpPr>
            <p:cNvPr id="9" name="Straight Connector 8"/>
            <p:cNvCxnSpPr/>
            <p:nvPr/>
          </p:nvCxnSpPr>
          <p:spPr bwMode="auto">
            <a:xfrm>
              <a:off x="467125" y="2544813"/>
              <a:ext cx="2286000" cy="2074"/>
            </a:xfrm>
            <a:prstGeom prst="line">
              <a:avLst/>
            </a:prstGeom>
            <a:ln w="19050">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46" name="Group 65"/>
            <p:cNvGrpSpPr>
              <a:grpSpLocks/>
            </p:cNvGrpSpPr>
            <p:nvPr/>
          </p:nvGrpSpPr>
          <p:grpSpPr bwMode="auto">
            <a:xfrm>
              <a:off x="3612903" y="1165470"/>
              <a:ext cx="1188720" cy="1371600"/>
              <a:chOff x="5688684" y="1495425"/>
              <a:chExt cx="1300162" cy="1571626"/>
            </a:xfrm>
          </p:grpSpPr>
          <p:sp>
            <p:nvSpPr>
              <p:cNvPr id="47" name="Down Arrow 43"/>
              <p:cNvSpPr/>
              <p:nvPr/>
            </p:nvSpPr>
            <p:spPr>
              <a:xfrm>
                <a:off x="6187159" y="2779714"/>
                <a:ext cx="303212" cy="287337"/>
              </a:xfrm>
              <a:custGeom>
                <a:avLst/>
                <a:gdLst>
                  <a:gd name="connsiteX0" fmla="*/ 0 w 347154"/>
                  <a:gd name="connsiteY0" fmla="*/ 269384 h 445436"/>
                  <a:gd name="connsiteX1" fmla="*/ 86789 w 347154"/>
                  <a:gd name="connsiteY1" fmla="*/ 269384 h 445436"/>
                  <a:gd name="connsiteX2" fmla="*/ 86789 w 347154"/>
                  <a:gd name="connsiteY2" fmla="*/ 0 h 445436"/>
                  <a:gd name="connsiteX3" fmla="*/ 260366 w 347154"/>
                  <a:gd name="connsiteY3" fmla="*/ 0 h 445436"/>
                  <a:gd name="connsiteX4" fmla="*/ 260366 w 347154"/>
                  <a:gd name="connsiteY4" fmla="*/ 269384 h 445436"/>
                  <a:gd name="connsiteX5" fmla="*/ 347154 w 347154"/>
                  <a:gd name="connsiteY5" fmla="*/ 269384 h 445436"/>
                  <a:gd name="connsiteX6" fmla="*/ 173577 w 347154"/>
                  <a:gd name="connsiteY6" fmla="*/ 445436 h 445436"/>
                  <a:gd name="connsiteX7" fmla="*/ 0 w 347154"/>
                  <a:gd name="connsiteY7" fmla="*/ 269384 h 445436"/>
                  <a:gd name="connsiteX0" fmla="*/ 0 w 347154"/>
                  <a:gd name="connsiteY0" fmla="*/ 269384 h 445436"/>
                  <a:gd name="connsiteX1" fmla="*/ 86789 w 347154"/>
                  <a:gd name="connsiteY1" fmla="*/ 269384 h 445436"/>
                  <a:gd name="connsiteX2" fmla="*/ 86789 w 347154"/>
                  <a:gd name="connsiteY2" fmla="*/ 0 h 445436"/>
                  <a:gd name="connsiteX3" fmla="*/ 260366 w 347154"/>
                  <a:gd name="connsiteY3" fmla="*/ 0 h 445436"/>
                  <a:gd name="connsiteX4" fmla="*/ 260366 w 347154"/>
                  <a:gd name="connsiteY4" fmla="*/ 269384 h 445436"/>
                  <a:gd name="connsiteX5" fmla="*/ 347154 w 347154"/>
                  <a:gd name="connsiteY5" fmla="*/ 269384 h 445436"/>
                  <a:gd name="connsiteX6" fmla="*/ 173577 w 347154"/>
                  <a:gd name="connsiteY6" fmla="*/ 445436 h 445436"/>
                  <a:gd name="connsiteX7" fmla="*/ 0 w 347154"/>
                  <a:gd name="connsiteY7" fmla="*/ 269384 h 445436"/>
                  <a:gd name="connsiteX0" fmla="*/ 0 w 347154"/>
                  <a:gd name="connsiteY0" fmla="*/ 269384 h 445436"/>
                  <a:gd name="connsiteX1" fmla="*/ 86789 w 347154"/>
                  <a:gd name="connsiteY1" fmla="*/ 269384 h 445436"/>
                  <a:gd name="connsiteX2" fmla="*/ 86789 w 347154"/>
                  <a:gd name="connsiteY2" fmla="*/ 0 h 445436"/>
                  <a:gd name="connsiteX3" fmla="*/ 260366 w 347154"/>
                  <a:gd name="connsiteY3" fmla="*/ 0 h 445436"/>
                  <a:gd name="connsiteX4" fmla="*/ 260366 w 347154"/>
                  <a:gd name="connsiteY4" fmla="*/ 269384 h 445436"/>
                  <a:gd name="connsiteX5" fmla="*/ 347154 w 347154"/>
                  <a:gd name="connsiteY5" fmla="*/ 269384 h 445436"/>
                  <a:gd name="connsiteX6" fmla="*/ 173577 w 347154"/>
                  <a:gd name="connsiteY6" fmla="*/ 445436 h 445436"/>
                  <a:gd name="connsiteX7" fmla="*/ 0 w 347154"/>
                  <a:gd name="connsiteY7" fmla="*/ 269384 h 445436"/>
                  <a:gd name="connsiteX0" fmla="*/ 0 w 347154"/>
                  <a:gd name="connsiteY0" fmla="*/ 269384 h 445436"/>
                  <a:gd name="connsiteX1" fmla="*/ 134414 w 347154"/>
                  <a:gd name="connsiteY1" fmla="*/ 269384 h 445436"/>
                  <a:gd name="connsiteX2" fmla="*/ 86789 w 347154"/>
                  <a:gd name="connsiteY2" fmla="*/ 0 h 445436"/>
                  <a:gd name="connsiteX3" fmla="*/ 260366 w 347154"/>
                  <a:gd name="connsiteY3" fmla="*/ 0 h 445436"/>
                  <a:gd name="connsiteX4" fmla="*/ 260366 w 347154"/>
                  <a:gd name="connsiteY4" fmla="*/ 269384 h 445436"/>
                  <a:gd name="connsiteX5" fmla="*/ 347154 w 347154"/>
                  <a:gd name="connsiteY5" fmla="*/ 269384 h 445436"/>
                  <a:gd name="connsiteX6" fmla="*/ 173577 w 347154"/>
                  <a:gd name="connsiteY6" fmla="*/ 445436 h 445436"/>
                  <a:gd name="connsiteX7" fmla="*/ 0 w 347154"/>
                  <a:gd name="connsiteY7" fmla="*/ 269384 h 445436"/>
                  <a:gd name="connsiteX0" fmla="*/ 0 w 347154"/>
                  <a:gd name="connsiteY0" fmla="*/ 269384 h 445436"/>
                  <a:gd name="connsiteX1" fmla="*/ 134414 w 347154"/>
                  <a:gd name="connsiteY1" fmla="*/ 269384 h 445436"/>
                  <a:gd name="connsiteX2" fmla="*/ 86789 w 347154"/>
                  <a:gd name="connsiteY2" fmla="*/ 0 h 445436"/>
                  <a:gd name="connsiteX3" fmla="*/ 260366 w 347154"/>
                  <a:gd name="connsiteY3" fmla="*/ 0 h 445436"/>
                  <a:gd name="connsiteX4" fmla="*/ 206391 w 347154"/>
                  <a:gd name="connsiteY4" fmla="*/ 272559 h 445436"/>
                  <a:gd name="connsiteX5" fmla="*/ 347154 w 347154"/>
                  <a:gd name="connsiteY5" fmla="*/ 269384 h 445436"/>
                  <a:gd name="connsiteX6" fmla="*/ 173577 w 347154"/>
                  <a:gd name="connsiteY6" fmla="*/ 445436 h 445436"/>
                  <a:gd name="connsiteX7" fmla="*/ 0 w 347154"/>
                  <a:gd name="connsiteY7" fmla="*/ 269384 h 445436"/>
                  <a:gd name="connsiteX0" fmla="*/ 0 w 274129"/>
                  <a:gd name="connsiteY0" fmla="*/ 269384 h 445436"/>
                  <a:gd name="connsiteX1" fmla="*/ 134414 w 274129"/>
                  <a:gd name="connsiteY1" fmla="*/ 269384 h 445436"/>
                  <a:gd name="connsiteX2" fmla="*/ 86789 w 274129"/>
                  <a:gd name="connsiteY2" fmla="*/ 0 h 445436"/>
                  <a:gd name="connsiteX3" fmla="*/ 260366 w 274129"/>
                  <a:gd name="connsiteY3" fmla="*/ 0 h 445436"/>
                  <a:gd name="connsiteX4" fmla="*/ 206391 w 274129"/>
                  <a:gd name="connsiteY4" fmla="*/ 272559 h 445436"/>
                  <a:gd name="connsiteX5" fmla="*/ 274129 w 274129"/>
                  <a:gd name="connsiteY5" fmla="*/ 275734 h 445436"/>
                  <a:gd name="connsiteX6" fmla="*/ 173577 w 274129"/>
                  <a:gd name="connsiteY6" fmla="*/ 445436 h 445436"/>
                  <a:gd name="connsiteX7" fmla="*/ 0 w 274129"/>
                  <a:gd name="connsiteY7" fmla="*/ 269384 h 445436"/>
                  <a:gd name="connsiteX0" fmla="*/ 0 w 207454"/>
                  <a:gd name="connsiteY0" fmla="*/ 269384 h 445436"/>
                  <a:gd name="connsiteX1" fmla="*/ 67739 w 207454"/>
                  <a:gd name="connsiteY1" fmla="*/ 269384 h 445436"/>
                  <a:gd name="connsiteX2" fmla="*/ 20114 w 207454"/>
                  <a:gd name="connsiteY2" fmla="*/ 0 h 445436"/>
                  <a:gd name="connsiteX3" fmla="*/ 193691 w 207454"/>
                  <a:gd name="connsiteY3" fmla="*/ 0 h 445436"/>
                  <a:gd name="connsiteX4" fmla="*/ 139716 w 207454"/>
                  <a:gd name="connsiteY4" fmla="*/ 272559 h 445436"/>
                  <a:gd name="connsiteX5" fmla="*/ 207454 w 207454"/>
                  <a:gd name="connsiteY5" fmla="*/ 275734 h 445436"/>
                  <a:gd name="connsiteX6" fmla="*/ 106902 w 207454"/>
                  <a:gd name="connsiteY6" fmla="*/ 445436 h 445436"/>
                  <a:gd name="connsiteX7" fmla="*/ 0 w 207454"/>
                  <a:gd name="connsiteY7" fmla="*/ 269384 h 445436"/>
                  <a:gd name="connsiteX0" fmla="*/ 0 w 207454"/>
                  <a:gd name="connsiteY0" fmla="*/ 269384 h 353361"/>
                  <a:gd name="connsiteX1" fmla="*/ 67739 w 207454"/>
                  <a:gd name="connsiteY1" fmla="*/ 269384 h 353361"/>
                  <a:gd name="connsiteX2" fmla="*/ 20114 w 207454"/>
                  <a:gd name="connsiteY2" fmla="*/ 0 h 353361"/>
                  <a:gd name="connsiteX3" fmla="*/ 193691 w 207454"/>
                  <a:gd name="connsiteY3" fmla="*/ 0 h 353361"/>
                  <a:gd name="connsiteX4" fmla="*/ 139716 w 207454"/>
                  <a:gd name="connsiteY4" fmla="*/ 272559 h 353361"/>
                  <a:gd name="connsiteX5" fmla="*/ 207454 w 207454"/>
                  <a:gd name="connsiteY5" fmla="*/ 275734 h 353361"/>
                  <a:gd name="connsiteX6" fmla="*/ 100552 w 207454"/>
                  <a:gd name="connsiteY6" fmla="*/ 353361 h 353361"/>
                  <a:gd name="connsiteX7" fmla="*/ 0 w 207454"/>
                  <a:gd name="connsiteY7" fmla="*/ 269384 h 353361"/>
                  <a:gd name="connsiteX0" fmla="*/ 0 w 207454"/>
                  <a:gd name="connsiteY0" fmla="*/ 269384 h 353361"/>
                  <a:gd name="connsiteX1" fmla="*/ 67739 w 207454"/>
                  <a:gd name="connsiteY1" fmla="*/ 269384 h 353361"/>
                  <a:gd name="connsiteX2" fmla="*/ 20114 w 207454"/>
                  <a:gd name="connsiteY2" fmla="*/ 0 h 353361"/>
                  <a:gd name="connsiteX3" fmla="*/ 193691 w 207454"/>
                  <a:gd name="connsiteY3" fmla="*/ 0 h 353361"/>
                  <a:gd name="connsiteX4" fmla="*/ 139716 w 207454"/>
                  <a:gd name="connsiteY4" fmla="*/ 272559 h 353361"/>
                  <a:gd name="connsiteX5" fmla="*/ 207454 w 207454"/>
                  <a:gd name="connsiteY5" fmla="*/ 275734 h 353361"/>
                  <a:gd name="connsiteX6" fmla="*/ 100552 w 207454"/>
                  <a:gd name="connsiteY6" fmla="*/ 353361 h 353361"/>
                  <a:gd name="connsiteX7" fmla="*/ 0 w 207454"/>
                  <a:gd name="connsiteY7" fmla="*/ 269384 h 353361"/>
                  <a:gd name="connsiteX0" fmla="*/ 0 w 207454"/>
                  <a:gd name="connsiteY0" fmla="*/ 269384 h 353361"/>
                  <a:gd name="connsiteX1" fmla="*/ 67739 w 207454"/>
                  <a:gd name="connsiteY1" fmla="*/ 269384 h 353361"/>
                  <a:gd name="connsiteX2" fmla="*/ 20114 w 207454"/>
                  <a:gd name="connsiteY2" fmla="*/ 0 h 353361"/>
                  <a:gd name="connsiteX3" fmla="*/ 193691 w 207454"/>
                  <a:gd name="connsiteY3" fmla="*/ 0 h 353361"/>
                  <a:gd name="connsiteX4" fmla="*/ 142097 w 207454"/>
                  <a:gd name="connsiteY4" fmla="*/ 227315 h 353361"/>
                  <a:gd name="connsiteX5" fmla="*/ 207454 w 207454"/>
                  <a:gd name="connsiteY5" fmla="*/ 275734 h 353361"/>
                  <a:gd name="connsiteX6" fmla="*/ 100552 w 207454"/>
                  <a:gd name="connsiteY6" fmla="*/ 353361 h 353361"/>
                  <a:gd name="connsiteX7" fmla="*/ 0 w 207454"/>
                  <a:gd name="connsiteY7" fmla="*/ 269384 h 353361"/>
                  <a:gd name="connsiteX0" fmla="*/ 0 w 207454"/>
                  <a:gd name="connsiteY0" fmla="*/ 269384 h 353361"/>
                  <a:gd name="connsiteX1" fmla="*/ 70120 w 207454"/>
                  <a:gd name="connsiteY1" fmla="*/ 233665 h 353361"/>
                  <a:gd name="connsiteX2" fmla="*/ 20114 w 207454"/>
                  <a:gd name="connsiteY2" fmla="*/ 0 h 353361"/>
                  <a:gd name="connsiteX3" fmla="*/ 193691 w 207454"/>
                  <a:gd name="connsiteY3" fmla="*/ 0 h 353361"/>
                  <a:gd name="connsiteX4" fmla="*/ 142097 w 207454"/>
                  <a:gd name="connsiteY4" fmla="*/ 227315 h 353361"/>
                  <a:gd name="connsiteX5" fmla="*/ 207454 w 207454"/>
                  <a:gd name="connsiteY5" fmla="*/ 275734 h 353361"/>
                  <a:gd name="connsiteX6" fmla="*/ 100552 w 207454"/>
                  <a:gd name="connsiteY6" fmla="*/ 353361 h 353361"/>
                  <a:gd name="connsiteX7" fmla="*/ 0 w 207454"/>
                  <a:gd name="connsiteY7" fmla="*/ 269384 h 353361"/>
                  <a:gd name="connsiteX0" fmla="*/ 0 w 209835"/>
                  <a:gd name="connsiteY0" fmla="*/ 214615 h 353361"/>
                  <a:gd name="connsiteX1" fmla="*/ 72501 w 209835"/>
                  <a:gd name="connsiteY1" fmla="*/ 233665 h 353361"/>
                  <a:gd name="connsiteX2" fmla="*/ 22495 w 209835"/>
                  <a:gd name="connsiteY2" fmla="*/ 0 h 353361"/>
                  <a:gd name="connsiteX3" fmla="*/ 196072 w 209835"/>
                  <a:gd name="connsiteY3" fmla="*/ 0 h 353361"/>
                  <a:gd name="connsiteX4" fmla="*/ 144478 w 209835"/>
                  <a:gd name="connsiteY4" fmla="*/ 227315 h 353361"/>
                  <a:gd name="connsiteX5" fmla="*/ 209835 w 209835"/>
                  <a:gd name="connsiteY5" fmla="*/ 275734 h 353361"/>
                  <a:gd name="connsiteX6" fmla="*/ 102933 w 209835"/>
                  <a:gd name="connsiteY6" fmla="*/ 353361 h 353361"/>
                  <a:gd name="connsiteX7" fmla="*/ 0 w 209835"/>
                  <a:gd name="connsiteY7" fmla="*/ 214615 h 353361"/>
                  <a:gd name="connsiteX0" fmla="*/ 0 w 214597"/>
                  <a:gd name="connsiteY0" fmla="*/ 214615 h 353361"/>
                  <a:gd name="connsiteX1" fmla="*/ 72501 w 214597"/>
                  <a:gd name="connsiteY1" fmla="*/ 233665 h 353361"/>
                  <a:gd name="connsiteX2" fmla="*/ 22495 w 214597"/>
                  <a:gd name="connsiteY2" fmla="*/ 0 h 353361"/>
                  <a:gd name="connsiteX3" fmla="*/ 196072 w 214597"/>
                  <a:gd name="connsiteY3" fmla="*/ 0 h 353361"/>
                  <a:gd name="connsiteX4" fmla="*/ 144478 w 214597"/>
                  <a:gd name="connsiteY4" fmla="*/ 227315 h 353361"/>
                  <a:gd name="connsiteX5" fmla="*/ 214597 w 214597"/>
                  <a:gd name="connsiteY5" fmla="*/ 213821 h 353361"/>
                  <a:gd name="connsiteX6" fmla="*/ 102933 w 214597"/>
                  <a:gd name="connsiteY6" fmla="*/ 353361 h 353361"/>
                  <a:gd name="connsiteX7" fmla="*/ 0 w 214597"/>
                  <a:gd name="connsiteY7" fmla="*/ 214615 h 353361"/>
                  <a:gd name="connsiteX0" fmla="*/ 0 w 214597"/>
                  <a:gd name="connsiteY0" fmla="*/ 214615 h 315261"/>
                  <a:gd name="connsiteX1" fmla="*/ 72501 w 214597"/>
                  <a:gd name="connsiteY1" fmla="*/ 233665 h 315261"/>
                  <a:gd name="connsiteX2" fmla="*/ 22495 w 214597"/>
                  <a:gd name="connsiteY2" fmla="*/ 0 h 315261"/>
                  <a:gd name="connsiteX3" fmla="*/ 196072 w 214597"/>
                  <a:gd name="connsiteY3" fmla="*/ 0 h 315261"/>
                  <a:gd name="connsiteX4" fmla="*/ 144478 w 214597"/>
                  <a:gd name="connsiteY4" fmla="*/ 227315 h 315261"/>
                  <a:gd name="connsiteX5" fmla="*/ 214597 w 214597"/>
                  <a:gd name="connsiteY5" fmla="*/ 213821 h 315261"/>
                  <a:gd name="connsiteX6" fmla="*/ 102933 w 214597"/>
                  <a:gd name="connsiteY6" fmla="*/ 315261 h 315261"/>
                  <a:gd name="connsiteX7" fmla="*/ 0 w 214597"/>
                  <a:gd name="connsiteY7" fmla="*/ 214615 h 315261"/>
                  <a:gd name="connsiteX0" fmla="*/ 0 w 214597"/>
                  <a:gd name="connsiteY0" fmla="*/ 214615 h 315261"/>
                  <a:gd name="connsiteX1" fmla="*/ 72501 w 214597"/>
                  <a:gd name="connsiteY1" fmla="*/ 233665 h 315261"/>
                  <a:gd name="connsiteX2" fmla="*/ 22495 w 214597"/>
                  <a:gd name="connsiteY2" fmla="*/ 0 h 315261"/>
                  <a:gd name="connsiteX3" fmla="*/ 196072 w 214597"/>
                  <a:gd name="connsiteY3" fmla="*/ 0 h 315261"/>
                  <a:gd name="connsiteX4" fmla="*/ 144478 w 214597"/>
                  <a:gd name="connsiteY4" fmla="*/ 227315 h 315261"/>
                  <a:gd name="connsiteX5" fmla="*/ 214597 w 214597"/>
                  <a:gd name="connsiteY5" fmla="*/ 213821 h 315261"/>
                  <a:gd name="connsiteX6" fmla="*/ 110077 w 214597"/>
                  <a:gd name="connsiteY6" fmla="*/ 315261 h 315261"/>
                  <a:gd name="connsiteX7" fmla="*/ 0 w 214597"/>
                  <a:gd name="connsiteY7" fmla="*/ 214615 h 315261"/>
                  <a:gd name="connsiteX0" fmla="*/ 0 w 214597"/>
                  <a:gd name="connsiteY0" fmla="*/ 214615 h 317643"/>
                  <a:gd name="connsiteX1" fmla="*/ 72501 w 214597"/>
                  <a:gd name="connsiteY1" fmla="*/ 233665 h 317643"/>
                  <a:gd name="connsiteX2" fmla="*/ 22495 w 214597"/>
                  <a:gd name="connsiteY2" fmla="*/ 0 h 317643"/>
                  <a:gd name="connsiteX3" fmla="*/ 196072 w 214597"/>
                  <a:gd name="connsiteY3" fmla="*/ 0 h 317643"/>
                  <a:gd name="connsiteX4" fmla="*/ 144478 w 214597"/>
                  <a:gd name="connsiteY4" fmla="*/ 227315 h 317643"/>
                  <a:gd name="connsiteX5" fmla="*/ 214597 w 214597"/>
                  <a:gd name="connsiteY5" fmla="*/ 213821 h 317643"/>
                  <a:gd name="connsiteX6" fmla="*/ 102933 w 214597"/>
                  <a:gd name="connsiteY6" fmla="*/ 317643 h 317643"/>
                  <a:gd name="connsiteX7" fmla="*/ 0 w 214597"/>
                  <a:gd name="connsiteY7" fmla="*/ 214615 h 317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4597" h="317643">
                    <a:moveTo>
                      <a:pt x="0" y="214615"/>
                    </a:moveTo>
                    <a:lnTo>
                      <a:pt x="72501" y="233665"/>
                    </a:lnTo>
                    <a:cubicBezTo>
                      <a:pt x="72501" y="143870"/>
                      <a:pt x="63770" y="108845"/>
                      <a:pt x="22495" y="0"/>
                    </a:cubicBezTo>
                    <a:lnTo>
                      <a:pt x="196072" y="0"/>
                    </a:lnTo>
                    <a:cubicBezTo>
                      <a:pt x="151622" y="131070"/>
                      <a:pt x="144478" y="137520"/>
                      <a:pt x="144478" y="227315"/>
                    </a:cubicBezTo>
                    <a:lnTo>
                      <a:pt x="214597" y="213821"/>
                    </a:lnTo>
                    <a:lnTo>
                      <a:pt x="102933" y="317643"/>
                    </a:lnTo>
                    <a:lnTo>
                      <a:pt x="0" y="214615"/>
                    </a:lnTo>
                    <a:close/>
                  </a:path>
                </a:pathLst>
              </a:cu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1200"/>
              </a:p>
            </p:txBody>
          </p:sp>
          <p:sp>
            <p:nvSpPr>
              <p:cNvPr id="48" name="Oval 47"/>
              <p:cNvSpPr/>
              <p:nvPr/>
            </p:nvSpPr>
            <p:spPr>
              <a:xfrm>
                <a:off x="5688684" y="1495425"/>
                <a:ext cx="1300162" cy="1300161"/>
              </a:xfrm>
              <a:prstGeom prst="ellipse">
                <a:avLst/>
              </a:prstGeom>
              <a:solidFill>
                <a:srgbClr val="FF6600"/>
              </a:solidFill>
              <a:ln w="28575">
                <a:solidFill>
                  <a:srgbClr val="FF66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bg1"/>
                    </a:solidFill>
                    <a:latin typeface="Arial" pitchFamily="34" charset="0"/>
                    <a:cs typeface="Lucida Sans Unicode" pitchFamily="34" charset="0"/>
                  </a:defRPr>
                </a:lvl1pPr>
                <a:lvl2pPr marL="742950" indent="-285750">
                  <a:defRPr>
                    <a:solidFill>
                      <a:schemeClr val="bg1"/>
                    </a:solidFill>
                    <a:latin typeface="Arial" pitchFamily="34" charset="0"/>
                    <a:cs typeface="Lucida Sans Unicode" pitchFamily="34" charset="0"/>
                  </a:defRPr>
                </a:lvl2pPr>
                <a:lvl3pPr>
                  <a:defRPr>
                    <a:solidFill>
                      <a:schemeClr val="bg1"/>
                    </a:solidFill>
                    <a:latin typeface="Arial" pitchFamily="34" charset="0"/>
                    <a:cs typeface="Lucida Sans Unicode" pitchFamily="34" charset="0"/>
                  </a:defRPr>
                </a:lvl3pPr>
                <a:lvl4pPr>
                  <a:defRPr>
                    <a:solidFill>
                      <a:schemeClr val="bg1"/>
                    </a:solidFill>
                    <a:latin typeface="Arial" pitchFamily="34" charset="0"/>
                    <a:cs typeface="Lucida Sans Unicode" pitchFamily="34" charset="0"/>
                  </a:defRPr>
                </a:lvl4pPr>
                <a:lvl5pPr>
                  <a:defRPr>
                    <a:solidFill>
                      <a:schemeClr val="bg1"/>
                    </a:solidFill>
                    <a:latin typeface="Arial" pitchFamily="34" charset="0"/>
                    <a:cs typeface="Lucida Sans Unicode" pitchFamily="34" charset="0"/>
                  </a:defRPr>
                </a:lvl5pPr>
                <a:lvl6pPr marL="2514600" indent="-228600" eaLnBrk="0" fontAlgn="base" hangingPunct="0">
                  <a:spcBef>
                    <a:spcPct val="0"/>
                  </a:spcBef>
                  <a:spcAft>
                    <a:spcPct val="0"/>
                  </a:spcAft>
                  <a:defRPr>
                    <a:solidFill>
                      <a:schemeClr val="bg1"/>
                    </a:solidFill>
                    <a:latin typeface="Arial" pitchFamily="34" charset="0"/>
                    <a:cs typeface="Lucida Sans Unicode" pitchFamily="34" charset="0"/>
                  </a:defRPr>
                </a:lvl6pPr>
                <a:lvl7pPr marL="2971800" indent="-228600" eaLnBrk="0" fontAlgn="base" hangingPunct="0">
                  <a:spcBef>
                    <a:spcPct val="0"/>
                  </a:spcBef>
                  <a:spcAft>
                    <a:spcPct val="0"/>
                  </a:spcAft>
                  <a:defRPr>
                    <a:solidFill>
                      <a:schemeClr val="bg1"/>
                    </a:solidFill>
                    <a:latin typeface="Arial" pitchFamily="34" charset="0"/>
                    <a:cs typeface="Lucida Sans Unicode" pitchFamily="34" charset="0"/>
                  </a:defRPr>
                </a:lvl7pPr>
                <a:lvl8pPr marL="3429000" indent="-228600" eaLnBrk="0" fontAlgn="base" hangingPunct="0">
                  <a:spcBef>
                    <a:spcPct val="0"/>
                  </a:spcBef>
                  <a:spcAft>
                    <a:spcPct val="0"/>
                  </a:spcAft>
                  <a:defRPr>
                    <a:solidFill>
                      <a:schemeClr val="bg1"/>
                    </a:solidFill>
                    <a:latin typeface="Arial" pitchFamily="34" charset="0"/>
                    <a:cs typeface="Lucida Sans Unicode" pitchFamily="34" charset="0"/>
                  </a:defRPr>
                </a:lvl8pPr>
                <a:lvl9pPr marL="3886200" indent="-228600" eaLnBrk="0" fontAlgn="base" hangingPunct="0">
                  <a:spcBef>
                    <a:spcPct val="0"/>
                  </a:spcBef>
                  <a:spcAft>
                    <a:spcPct val="0"/>
                  </a:spcAft>
                  <a:defRPr>
                    <a:solidFill>
                      <a:schemeClr val="bg1"/>
                    </a:solidFill>
                    <a:latin typeface="Arial" pitchFamily="34" charset="0"/>
                    <a:cs typeface="Lucida Sans Unicode" pitchFamily="34" charset="0"/>
                  </a:defRPr>
                </a:lvl9pPr>
              </a:lstStyle>
              <a:p>
                <a:pPr algn="ctr" defTabSz="914400"/>
                <a:endParaRPr lang="en-US" altLang="en-US" sz="1200">
                  <a:solidFill>
                    <a:srgbClr val="FFFFFF"/>
                  </a:solidFill>
                </a:endParaRPr>
              </a:p>
            </p:txBody>
          </p:sp>
          <p:sp>
            <p:nvSpPr>
              <p:cNvPr id="49" name="Oval 48"/>
              <p:cNvSpPr/>
              <p:nvPr/>
            </p:nvSpPr>
            <p:spPr>
              <a:xfrm>
                <a:off x="5779171" y="1576388"/>
                <a:ext cx="1100138" cy="1100138"/>
              </a:xfrm>
              <a:prstGeom prst="ellipse">
                <a:avLst/>
              </a:prstGeom>
              <a:solidFill>
                <a:schemeClr val="bg1"/>
              </a:solidFill>
              <a:ln w="28575">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bg1"/>
                    </a:solidFill>
                    <a:latin typeface="Arial" pitchFamily="34" charset="0"/>
                    <a:cs typeface="Lucida Sans Unicode" pitchFamily="34" charset="0"/>
                  </a:defRPr>
                </a:lvl1pPr>
                <a:lvl2pPr marL="742950" indent="-285750">
                  <a:defRPr>
                    <a:solidFill>
                      <a:schemeClr val="bg1"/>
                    </a:solidFill>
                    <a:latin typeface="Arial" pitchFamily="34" charset="0"/>
                    <a:cs typeface="Lucida Sans Unicode" pitchFamily="34" charset="0"/>
                  </a:defRPr>
                </a:lvl2pPr>
                <a:lvl3pPr>
                  <a:defRPr>
                    <a:solidFill>
                      <a:schemeClr val="bg1"/>
                    </a:solidFill>
                    <a:latin typeface="Arial" pitchFamily="34" charset="0"/>
                    <a:cs typeface="Lucida Sans Unicode" pitchFamily="34" charset="0"/>
                  </a:defRPr>
                </a:lvl3pPr>
                <a:lvl4pPr>
                  <a:defRPr>
                    <a:solidFill>
                      <a:schemeClr val="bg1"/>
                    </a:solidFill>
                    <a:latin typeface="Arial" pitchFamily="34" charset="0"/>
                    <a:cs typeface="Lucida Sans Unicode" pitchFamily="34" charset="0"/>
                  </a:defRPr>
                </a:lvl4pPr>
                <a:lvl5pPr>
                  <a:defRPr>
                    <a:solidFill>
                      <a:schemeClr val="bg1"/>
                    </a:solidFill>
                    <a:latin typeface="Arial" pitchFamily="34" charset="0"/>
                    <a:cs typeface="Lucida Sans Unicode" pitchFamily="34" charset="0"/>
                  </a:defRPr>
                </a:lvl5pPr>
                <a:lvl6pPr marL="2514600" indent="-228600" eaLnBrk="0" fontAlgn="base" hangingPunct="0">
                  <a:spcBef>
                    <a:spcPct val="0"/>
                  </a:spcBef>
                  <a:spcAft>
                    <a:spcPct val="0"/>
                  </a:spcAft>
                  <a:defRPr>
                    <a:solidFill>
                      <a:schemeClr val="bg1"/>
                    </a:solidFill>
                    <a:latin typeface="Arial" pitchFamily="34" charset="0"/>
                    <a:cs typeface="Lucida Sans Unicode" pitchFamily="34" charset="0"/>
                  </a:defRPr>
                </a:lvl6pPr>
                <a:lvl7pPr marL="2971800" indent="-228600" eaLnBrk="0" fontAlgn="base" hangingPunct="0">
                  <a:spcBef>
                    <a:spcPct val="0"/>
                  </a:spcBef>
                  <a:spcAft>
                    <a:spcPct val="0"/>
                  </a:spcAft>
                  <a:defRPr>
                    <a:solidFill>
                      <a:schemeClr val="bg1"/>
                    </a:solidFill>
                    <a:latin typeface="Arial" pitchFamily="34" charset="0"/>
                    <a:cs typeface="Lucida Sans Unicode" pitchFamily="34" charset="0"/>
                  </a:defRPr>
                </a:lvl7pPr>
                <a:lvl8pPr marL="3429000" indent="-228600" eaLnBrk="0" fontAlgn="base" hangingPunct="0">
                  <a:spcBef>
                    <a:spcPct val="0"/>
                  </a:spcBef>
                  <a:spcAft>
                    <a:spcPct val="0"/>
                  </a:spcAft>
                  <a:defRPr>
                    <a:solidFill>
                      <a:schemeClr val="bg1"/>
                    </a:solidFill>
                    <a:latin typeface="Arial" pitchFamily="34" charset="0"/>
                    <a:cs typeface="Lucida Sans Unicode" pitchFamily="34" charset="0"/>
                  </a:defRPr>
                </a:lvl8pPr>
                <a:lvl9pPr marL="3886200" indent="-228600" eaLnBrk="0" fontAlgn="base" hangingPunct="0">
                  <a:spcBef>
                    <a:spcPct val="0"/>
                  </a:spcBef>
                  <a:spcAft>
                    <a:spcPct val="0"/>
                  </a:spcAft>
                  <a:defRPr>
                    <a:solidFill>
                      <a:schemeClr val="bg1"/>
                    </a:solidFill>
                    <a:latin typeface="Arial" pitchFamily="34" charset="0"/>
                    <a:cs typeface="Lucida Sans Unicode" pitchFamily="34" charset="0"/>
                  </a:defRPr>
                </a:lvl9pPr>
              </a:lstStyle>
              <a:p>
                <a:pPr algn="ctr" defTabSz="914400"/>
                <a:endParaRPr lang="en-US" altLang="en-US" sz="1200">
                  <a:solidFill>
                    <a:srgbClr val="FFFFFF"/>
                  </a:solidFill>
                </a:endParaRPr>
              </a:p>
            </p:txBody>
          </p:sp>
          <p:sp>
            <p:nvSpPr>
              <p:cNvPr id="50" name="TextBox 42"/>
              <p:cNvSpPr txBox="1">
                <a:spLocks noChangeArrowheads="1"/>
              </p:cNvSpPr>
              <p:nvPr/>
            </p:nvSpPr>
            <p:spPr bwMode="auto">
              <a:xfrm>
                <a:off x="6109961" y="1995902"/>
                <a:ext cx="457606" cy="211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bg1"/>
                    </a:solidFill>
                    <a:latin typeface="Arial" pitchFamily="34" charset="0"/>
                    <a:cs typeface="Lucida Sans Unicode" pitchFamily="34" charset="0"/>
                  </a:defRPr>
                </a:lvl1pPr>
                <a:lvl2pPr marL="742950" indent="-285750">
                  <a:defRPr>
                    <a:solidFill>
                      <a:schemeClr val="bg1"/>
                    </a:solidFill>
                    <a:latin typeface="Arial" pitchFamily="34" charset="0"/>
                    <a:cs typeface="Lucida Sans Unicode" pitchFamily="34" charset="0"/>
                  </a:defRPr>
                </a:lvl2pPr>
                <a:lvl3pPr>
                  <a:defRPr>
                    <a:solidFill>
                      <a:schemeClr val="bg1"/>
                    </a:solidFill>
                    <a:latin typeface="Arial" pitchFamily="34" charset="0"/>
                    <a:cs typeface="Lucida Sans Unicode" pitchFamily="34" charset="0"/>
                  </a:defRPr>
                </a:lvl3pPr>
                <a:lvl4pPr>
                  <a:defRPr>
                    <a:solidFill>
                      <a:schemeClr val="bg1"/>
                    </a:solidFill>
                    <a:latin typeface="Arial" pitchFamily="34" charset="0"/>
                    <a:cs typeface="Lucida Sans Unicode" pitchFamily="34" charset="0"/>
                  </a:defRPr>
                </a:lvl4pPr>
                <a:lvl5pPr>
                  <a:defRPr>
                    <a:solidFill>
                      <a:schemeClr val="bg1"/>
                    </a:solidFill>
                    <a:latin typeface="Arial" pitchFamily="34" charset="0"/>
                    <a:cs typeface="Lucida Sans Unicode" pitchFamily="34" charset="0"/>
                  </a:defRPr>
                </a:lvl5pPr>
                <a:lvl6pPr marL="2514600" indent="-228600" eaLnBrk="0" fontAlgn="base" hangingPunct="0">
                  <a:spcBef>
                    <a:spcPct val="0"/>
                  </a:spcBef>
                  <a:spcAft>
                    <a:spcPct val="0"/>
                  </a:spcAft>
                  <a:defRPr>
                    <a:solidFill>
                      <a:schemeClr val="bg1"/>
                    </a:solidFill>
                    <a:latin typeface="Arial" pitchFamily="34" charset="0"/>
                    <a:cs typeface="Lucida Sans Unicode" pitchFamily="34" charset="0"/>
                  </a:defRPr>
                </a:lvl6pPr>
                <a:lvl7pPr marL="2971800" indent="-228600" eaLnBrk="0" fontAlgn="base" hangingPunct="0">
                  <a:spcBef>
                    <a:spcPct val="0"/>
                  </a:spcBef>
                  <a:spcAft>
                    <a:spcPct val="0"/>
                  </a:spcAft>
                  <a:defRPr>
                    <a:solidFill>
                      <a:schemeClr val="bg1"/>
                    </a:solidFill>
                    <a:latin typeface="Arial" pitchFamily="34" charset="0"/>
                    <a:cs typeface="Lucida Sans Unicode" pitchFamily="34" charset="0"/>
                  </a:defRPr>
                </a:lvl7pPr>
                <a:lvl8pPr marL="3429000" indent="-228600" eaLnBrk="0" fontAlgn="base" hangingPunct="0">
                  <a:spcBef>
                    <a:spcPct val="0"/>
                  </a:spcBef>
                  <a:spcAft>
                    <a:spcPct val="0"/>
                  </a:spcAft>
                  <a:defRPr>
                    <a:solidFill>
                      <a:schemeClr val="bg1"/>
                    </a:solidFill>
                    <a:latin typeface="Arial" pitchFamily="34" charset="0"/>
                    <a:cs typeface="Lucida Sans Unicode" pitchFamily="34" charset="0"/>
                  </a:defRPr>
                </a:lvl8pPr>
                <a:lvl9pPr marL="3886200" indent="-228600" eaLnBrk="0" fontAlgn="base" hangingPunct="0">
                  <a:spcBef>
                    <a:spcPct val="0"/>
                  </a:spcBef>
                  <a:spcAft>
                    <a:spcPct val="0"/>
                  </a:spcAft>
                  <a:defRPr>
                    <a:solidFill>
                      <a:schemeClr val="bg1"/>
                    </a:solidFill>
                    <a:latin typeface="Arial" pitchFamily="34" charset="0"/>
                    <a:cs typeface="Lucida Sans Unicode" pitchFamily="34" charset="0"/>
                  </a:defRPr>
                </a:lvl9pPr>
              </a:lstStyle>
              <a:p>
                <a:pPr algn="ctr" defTabSz="914400"/>
                <a:r>
                  <a:rPr lang="en-GB" altLang="en-US" sz="1200" b="1" dirty="0">
                    <a:solidFill>
                      <a:schemeClr val="tx1"/>
                    </a:solidFill>
                  </a:rPr>
                  <a:t>Learn</a:t>
                </a:r>
              </a:p>
            </p:txBody>
          </p:sp>
        </p:grpSp>
        <p:cxnSp>
          <p:nvCxnSpPr>
            <p:cNvPr id="51" name="Straight Connector 50"/>
            <p:cNvCxnSpPr/>
            <p:nvPr/>
          </p:nvCxnSpPr>
          <p:spPr bwMode="auto">
            <a:xfrm>
              <a:off x="3158915" y="2547376"/>
              <a:ext cx="2286000" cy="2074"/>
            </a:xfrm>
            <a:prstGeom prst="line">
              <a:avLst/>
            </a:prstGeom>
            <a:ln w="19050">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53" name="Group 65"/>
            <p:cNvGrpSpPr>
              <a:grpSpLocks/>
            </p:cNvGrpSpPr>
            <p:nvPr/>
          </p:nvGrpSpPr>
          <p:grpSpPr bwMode="auto">
            <a:xfrm>
              <a:off x="6287327" y="1115274"/>
              <a:ext cx="1188720" cy="1398895"/>
              <a:chOff x="5263373" y="1474617"/>
              <a:chExt cx="1300162" cy="1602901"/>
            </a:xfrm>
          </p:grpSpPr>
          <p:sp>
            <p:nvSpPr>
              <p:cNvPr id="54" name="Down Arrow 43"/>
              <p:cNvSpPr/>
              <p:nvPr/>
            </p:nvSpPr>
            <p:spPr>
              <a:xfrm>
                <a:off x="5761849" y="2790181"/>
                <a:ext cx="303213" cy="287337"/>
              </a:xfrm>
              <a:custGeom>
                <a:avLst/>
                <a:gdLst>
                  <a:gd name="connsiteX0" fmla="*/ 0 w 347154"/>
                  <a:gd name="connsiteY0" fmla="*/ 269384 h 445436"/>
                  <a:gd name="connsiteX1" fmla="*/ 86789 w 347154"/>
                  <a:gd name="connsiteY1" fmla="*/ 269384 h 445436"/>
                  <a:gd name="connsiteX2" fmla="*/ 86789 w 347154"/>
                  <a:gd name="connsiteY2" fmla="*/ 0 h 445436"/>
                  <a:gd name="connsiteX3" fmla="*/ 260366 w 347154"/>
                  <a:gd name="connsiteY3" fmla="*/ 0 h 445436"/>
                  <a:gd name="connsiteX4" fmla="*/ 260366 w 347154"/>
                  <a:gd name="connsiteY4" fmla="*/ 269384 h 445436"/>
                  <a:gd name="connsiteX5" fmla="*/ 347154 w 347154"/>
                  <a:gd name="connsiteY5" fmla="*/ 269384 h 445436"/>
                  <a:gd name="connsiteX6" fmla="*/ 173577 w 347154"/>
                  <a:gd name="connsiteY6" fmla="*/ 445436 h 445436"/>
                  <a:gd name="connsiteX7" fmla="*/ 0 w 347154"/>
                  <a:gd name="connsiteY7" fmla="*/ 269384 h 445436"/>
                  <a:gd name="connsiteX0" fmla="*/ 0 w 347154"/>
                  <a:gd name="connsiteY0" fmla="*/ 269384 h 445436"/>
                  <a:gd name="connsiteX1" fmla="*/ 86789 w 347154"/>
                  <a:gd name="connsiteY1" fmla="*/ 269384 h 445436"/>
                  <a:gd name="connsiteX2" fmla="*/ 86789 w 347154"/>
                  <a:gd name="connsiteY2" fmla="*/ 0 h 445436"/>
                  <a:gd name="connsiteX3" fmla="*/ 260366 w 347154"/>
                  <a:gd name="connsiteY3" fmla="*/ 0 h 445436"/>
                  <a:gd name="connsiteX4" fmla="*/ 260366 w 347154"/>
                  <a:gd name="connsiteY4" fmla="*/ 269384 h 445436"/>
                  <a:gd name="connsiteX5" fmla="*/ 347154 w 347154"/>
                  <a:gd name="connsiteY5" fmla="*/ 269384 h 445436"/>
                  <a:gd name="connsiteX6" fmla="*/ 173577 w 347154"/>
                  <a:gd name="connsiteY6" fmla="*/ 445436 h 445436"/>
                  <a:gd name="connsiteX7" fmla="*/ 0 w 347154"/>
                  <a:gd name="connsiteY7" fmla="*/ 269384 h 445436"/>
                  <a:gd name="connsiteX0" fmla="*/ 0 w 347154"/>
                  <a:gd name="connsiteY0" fmla="*/ 269384 h 445436"/>
                  <a:gd name="connsiteX1" fmla="*/ 86789 w 347154"/>
                  <a:gd name="connsiteY1" fmla="*/ 269384 h 445436"/>
                  <a:gd name="connsiteX2" fmla="*/ 86789 w 347154"/>
                  <a:gd name="connsiteY2" fmla="*/ 0 h 445436"/>
                  <a:gd name="connsiteX3" fmla="*/ 260366 w 347154"/>
                  <a:gd name="connsiteY3" fmla="*/ 0 h 445436"/>
                  <a:gd name="connsiteX4" fmla="*/ 260366 w 347154"/>
                  <a:gd name="connsiteY4" fmla="*/ 269384 h 445436"/>
                  <a:gd name="connsiteX5" fmla="*/ 347154 w 347154"/>
                  <a:gd name="connsiteY5" fmla="*/ 269384 h 445436"/>
                  <a:gd name="connsiteX6" fmla="*/ 173577 w 347154"/>
                  <a:gd name="connsiteY6" fmla="*/ 445436 h 445436"/>
                  <a:gd name="connsiteX7" fmla="*/ 0 w 347154"/>
                  <a:gd name="connsiteY7" fmla="*/ 269384 h 445436"/>
                  <a:gd name="connsiteX0" fmla="*/ 0 w 347154"/>
                  <a:gd name="connsiteY0" fmla="*/ 269384 h 445436"/>
                  <a:gd name="connsiteX1" fmla="*/ 134414 w 347154"/>
                  <a:gd name="connsiteY1" fmla="*/ 269384 h 445436"/>
                  <a:gd name="connsiteX2" fmla="*/ 86789 w 347154"/>
                  <a:gd name="connsiteY2" fmla="*/ 0 h 445436"/>
                  <a:gd name="connsiteX3" fmla="*/ 260366 w 347154"/>
                  <a:gd name="connsiteY3" fmla="*/ 0 h 445436"/>
                  <a:gd name="connsiteX4" fmla="*/ 260366 w 347154"/>
                  <a:gd name="connsiteY4" fmla="*/ 269384 h 445436"/>
                  <a:gd name="connsiteX5" fmla="*/ 347154 w 347154"/>
                  <a:gd name="connsiteY5" fmla="*/ 269384 h 445436"/>
                  <a:gd name="connsiteX6" fmla="*/ 173577 w 347154"/>
                  <a:gd name="connsiteY6" fmla="*/ 445436 h 445436"/>
                  <a:gd name="connsiteX7" fmla="*/ 0 w 347154"/>
                  <a:gd name="connsiteY7" fmla="*/ 269384 h 445436"/>
                  <a:gd name="connsiteX0" fmla="*/ 0 w 347154"/>
                  <a:gd name="connsiteY0" fmla="*/ 269384 h 445436"/>
                  <a:gd name="connsiteX1" fmla="*/ 134414 w 347154"/>
                  <a:gd name="connsiteY1" fmla="*/ 269384 h 445436"/>
                  <a:gd name="connsiteX2" fmla="*/ 86789 w 347154"/>
                  <a:gd name="connsiteY2" fmla="*/ 0 h 445436"/>
                  <a:gd name="connsiteX3" fmla="*/ 260366 w 347154"/>
                  <a:gd name="connsiteY3" fmla="*/ 0 h 445436"/>
                  <a:gd name="connsiteX4" fmla="*/ 206391 w 347154"/>
                  <a:gd name="connsiteY4" fmla="*/ 272559 h 445436"/>
                  <a:gd name="connsiteX5" fmla="*/ 347154 w 347154"/>
                  <a:gd name="connsiteY5" fmla="*/ 269384 h 445436"/>
                  <a:gd name="connsiteX6" fmla="*/ 173577 w 347154"/>
                  <a:gd name="connsiteY6" fmla="*/ 445436 h 445436"/>
                  <a:gd name="connsiteX7" fmla="*/ 0 w 347154"/>
                  <a:gd name="connsiteY7" fmla="*/ 269384 h 445436"/>
                  <a:gd name="connsiteX0" fmla="*/ 0 w 274129"/>
                  <a:gd name="connsiteY0" fmla="*/ 269384 h 445436"/>
                  <a:gd name="connsiteX1" fmla="*/ 134414 w 274129"/>
                  <a:gd name="connsiteY1" fmla="*/ 269384 h 445436"/>
                  <a:gd name="connsiteX2" fmla="*/ 86789 w 274129"/>
                  <a:gd name="connsiteY2" fmla="*/ 0 h 445436"/>
                  <a:gd name="connsiteX3" fmla="*/ 260366 w 274129"/>
                  <a:gd name="connsiteY3" fmla="*/ 0 h 445436"/>
                  <a:gd name="connsiteX4" fmla="*/ 206391 w 274129"/>
                  <a:gd name="connsiteY4" fmla="*/ 272559 h 445436"/>
                  <a:gd name="connsiteX5" fmla="*/ 274129 w 274129"/>
                  <a:gd name="connsiteY5" fmla="*/ 275734 h 445436"/>
                  <a:gd name="connsiteX6" fmla="*/ 173577 w 274129"/>
                  <a:gd name="connsiteY6" fmla="*/ 445436 h 445436"/>
                  <a:gd name="connsiteX7" fmla="*/ 0 w 274129"/>
                  <a:gd name="connsiteY7" fmla="*/ 269384 h 445436"/>
                  <a:gd name="connsiteX0" fmla="*/ 0 w 207454"/>
                  <a:gd name="connsiteY0" fmla="*/ 269384 h 445436"/>
                  <a:gd name="connsiteX1" fmla="*/ 67739 w 207454"/>
                  <a:gd name="connsiteY1" fmla="*/ 269384 h 445436"/>
                  <a:gd name="connsiteX2" fmla="*/ 20114 w 207454"/>
                  <a:gd name="connsiteY2" fmla="*/ 0 h 445436"/>
                  <a:gd name="connsiteX3" fmla="*/ 193691 w 207454"/>
                  <a:gd name="connsiteY3" fmla="*/ 0 h 445436"/>
                  <a:gd name="connsiteX4" fmla="*/ 139716 w 207454"/>
                  <a:gd name="connsiteY4" fmla="*/ 272559 h 445436"/>
                  <a:gd name="connsiteX5" fmla="*/ 207454 w 207454"/>
                  <a:gd name="connsiteY5" fmla="*/ 275734 h 445436"/>
                  <a:gd name="connsiteX6" fmla="*/ 106902 w 207454"/>
                  <a:gd name="connsiteY6" fmla="*/ 445436 h 445436"/>
                  <a:gd name="connsiteX7" fmla="*/ 0 w 207454"/>
                  <a:gd name="connsiteY7" fmla="*/ 269384 h 445436"/>
                  <a:gd name="connsiteX0" fmla="*/ 0 w 207454"/>
                  <a:gd name="connsiteY0" fmla="*/ 269384 h 353361"/>
                  <a:gd name="connsiteX1" fmla="*/ 67739 w 207454"/>
                  <a:gd name="connsiteY1" fmla="*/ 269384 h 353361"/>
                  <a:gd name="connsiteX2" fmla="*/ 20114 w 207454"/>
                  <a:gd name="connsiteY2" fmla="*/ 0 h 353361"/>
                  <a:gd name="connsiteX3" fmla="*/ 193691 w 207454"/>
                  <a:gd name="connsiteY3" fmla="*/ 0 h 353361"/>
                  <a:gd name="connsiteX4" fmla="*/ 139716 w 207454"/>
                  <a:gd name="connsiteY4" fmla="*/ 272559 h 353361"/>
                  <a:gd name="connsiteX5" fmla="*/ 207454 w 207454"/>
                  <a:gd name="connsiteY5" fmla="*/ 275734 h 353361"/>
                  <a:gd name="connsiteX6" fmla="*/ 100552 w 207454"/>
                  <a:gd name="connsiteY6" fmla="*/ 353361 h 353361"/>
                  <a:gd name="connsiteX7" fmla="*/ 0 w 207454"/>
                  <a:gd name="connsiteY7" fmla="*/ 269384 h 353361"/>
                  <a:gd name="connsiteX0" fmla="*/ 0 w 207454"/>
                  <a:gd name="connsiteY0" fmla="*/ 269384 h 353361"/>
                  <a:gd name="connsiteX1" fmla="*/ 67739 w 207454"/>
                  <a:gd name="connsiteY1" fmla="*/ 269384 h 353361"/>
                  <a:gd name="connsiteX2" fmla="*/ 20114 w 207454"/>
                  <a:gd name="connsiteY2" fmla="*/ 0 h 353361"/>
                  <a:gd name="connsiteX3" fmla="*/ 193691 w 207454"/>
                  <a:gd name="connsiteY3" fmla="*/ 0 h 353361"/>
                  <a:gd name="connsiteX4" fmla="*/ 139716 w 207454"/>
                  <a:gd name="connsiteY4" fmla="*/ 272559 h 353361"/>
                  <a:gd name="connsiteX5" fmla="*/ 207454 w 207454"/>
                  <a:gd name="connsiteY5" fmla="*/ 275734 h 353361"/>
                  <a:gd name="connsiteX6" fmla="*/ 100552 w 207454"/>
                  <a:gd name="connsiteY6" fmla="*/ 353361 h 353361"/>
                  <a:gd name="connsiteX7" fmla="*/ 0 w 207454"/>
                  <a:gd name="connsiteY7" fmla="*/ 269384 h 353361"/>
                  <a:gd name="connsiteX0" fmla="*/ 0 w 207454"/>
                  <a:gd name="connsiteY0" fmla="*/ 269384 h 353361"/>
                  <a:gd name="connsiteX1" fmla="*/ 67739 w 207454"/>
                  <a:gd name="connsiteY1" fmla="*/ 269384 h 353361"/>
                  <a:gd name="connsiteX2" fmla="*/ 20114 w 207454"/>
                  <a:gd name="connsiteY2" fmla="*/ 0 h 353361"/>
                  <a:gd name="connsiteX3" fmla="*/ 193691 w 207454"/>
                  <a:gd name="connsiteY3" fmla="*/ 0 h 353361"/>
                  <a:gd name="connsiteX4" fmla="*/ 142097 w 207454"/>
                  <a:gd name="connsiteY4" fmla="*/ 227315 h 353361"/>
                  <a:gd name="connsiteX5" fmla="*/ 207454 w 207454"/>
                  <a:gd name="connsiteY5" fmla="*/ 275734 h 353361"/>
                  <a:gd name="connsiteX6" fmla="*/ 100552 w 207454"/>
                  <a:gd name="connsiteY6" fmla="*/ 353361 h 353361"/>
                  <a:gd name="connsiteX7" fmla="*/ 0 w 207454"/>
                  <a:gd name="connsiteY7" fmla="*/ 269384 h 353361"/>
                  <a:gd name="connsiteX0" fmla="*/ 0 w 207454"/>
                  <a:gd name="connsiteY0" fmla="*/ 269384 h 353361"/>
                  <a:gd name="connsiteX1" fmla="*/ 70120 w 207454"/>
                  <a:gd name="connsiteY1" fmla="*/ 233665 h 353361"/>
                  <a:gd name="connsiteX2" fmla="*/ 20114 w 207454"/>
                  <a:gd name="connsiteY2" fmla="*/ 0 h 353361"/>
                  <a:gd name="connsiteX3" fmla="*/ 193691 w 207454"/>
                  <a:gd name="connsiteY3" fmla="*/ 0 h 353361"/>
                  <a:gd name="connsiteX4" fmla="*/ 142097 w 207454"/>
                  <a:gd name="connsiteY4" fmla="*/ 227315 h 353361"/>
                  <a:gd name="connsiteX5" fmla="*/ 207454 w 207454"/>
                  <a:gd name="connsiteY5" fmla="*/ 275734 h 353361"/>
                  <a:gd name="connsiteX6" fmla="*/ 100552 w 207454"/>
                  <a:gd name="connsiteY6" fmla="*/ 353361 h 353361"/>
                  <a:gd name="connsiteX7" fmla="*/ 0 w 207454"/>
                  <a:gd name="connsiteY7" fmla="*/ 269384 h 353361"/>
                  <a:gd name="connsiteX0" fmla="*/ 0 w 209835"/>
                  <a:gd name="connsiteY0" fmla="*/ 214615 h 353361"/>
                  <a:gd name="connsiteX1" fmla="*/ 72501 w 209835"/>
                  <a:gd name="connsiteY1" fmla="*/ 233665 h 353361"/>
                  <a:gd name="connsiteX2" fmla="*/ 22495 w 209835"/>
                  <a:gd name="connsiteY2" fmla="*/ 0 h 353361"/>
                  <a:gd name="connsiteX3" fmla="*/ 196072 w 209835"/>
                  <a:gd name="connsiteY3" fmla="*/ 0 h 353361"/>
                  <a:gd name="connsiteX4" fmla="*/ 144478 w 209835"/>
                  <a:gd name="connsiteY4" fmla="*/ 227315 h 353361"/>
                  <a:gd name="connsiteX5" fmla="*/ 209835 w 209835"/>
                  <a:gd name="connsiteY5" fmla="*/ 275734 h 353361"/>
                  <a:gd name="connsiteX6" fmla="*/ 102933 w 209835"/>
                  <a:gd name="connsiteY6" fmla="*/ 353361 h 353361"/>
                  <a:gd name="connsiteX7" fmla="*/ 0 w 209835"/>
                  <a:gd name="connsiteY7" fmla="*/ 214615 h 353361"/>
                  <a:gd name="connsiteX0" fmla="*/ 0 w 214597"/>
                  <a:gd name="connsiteY0" fmla="*/ 214615 h 353361"/>
                  <a:gd name="connsiteX1" fmla="*/ 72501 w 214597"/>
                  <a:gd name="connsiteY1" fmla="*/ 233665 h 353361"/>
                  <a:gd name="connsiteX2" fmla="*/ 22495 w 214597"/>
                  <a:gd name="connsiteY2" fmla="*/ 0 h 353361"/>
                  <a:gd name="connsiteX3" fmla="*/ 196072 w 214597"/>
                  <a:gd name="connsiteY3" fmla="*/ 0 h 353361"/>
                  <a:gd name="connsiteX4" fmla="*/ 144478 w 214597"/>
                  <a:gd name="connsiteY4" fmla="*/ 227315 h 353361"/>
                  <a:gd name="connsiteX5" fmla="*/ 214597 w 214597"/>
                  <a:gd name="connsiteY5" fmla="*/ 213821 h 353361"/>
                  <a:gd name="connsiteX6" fmla="*/ 102933 w 214597"/>
                  <a:gd name="connsiteY6" fmla="*/ 353361 h 353361"/>
                  <a:gd name="connsiteX7" fmla="*/ 0 w 214597"/>
                  <a:gd name="connsiteY7" fmla="*/ 214615 h 353361"/>
                  <a:gd name="connsiteX0" fmla="*/ 0 w 214597"/>
                  <a:gd name="connsiteY0" fmla="*/ 214615 h 315261"/>
                  <a:gd name="connsiteX1" fmla="*/ 72501 w 214597"/>
                  <a:gd name="connsiteY1" fmla="*/ 233665 h 315261"/>
                  <a:gd name="connsiteX2" fmla="*/ 22495 w 214597"/>
                  <a:gd name="connsiteY2" fmla="*/ 0 h 315261"/>
                  <a:gd name="connsiteX3" fmla="*/ 196072 w 214597"/>
                  <a:gd name="connsiteY3" fmla="*/ 0 h 315261"/>
                  <a:gd name="connsiteX4" fmla="*/ 144478 w 214597"/>
                  <a:gd name="connsiteY4" fmla="*/ 227315 h 315261"/>
                  <a:gd name="connsiteX5" fmla="*/ 214597 w 214597"/>
                  <a:gd name="connsiteY5" fmla="*/ 213821 h 315261"/>
                  <a:gd name="connsiteX6" fmla="*/ 102933 w 214597"/>
                  <a:gd name="connsiteY6" fmla="*/ 315261 h 315261"/>
                  <a:gd name="connsiteX7" fmla="*/ 0 w 214597"/>
                  <a:gd name="connsiteY7" fmla="*/ 214615 h 315261"/>
                  <a:gd name="connsiteX0" fmla="*/ 0 w 214597"/>
                  <a:gd name="connsiteY0" fmla="*/ 214615 h 315261"/>
                  <a:gd name="connsiteX1" fmla="*/ 72501 w 214597"/>
                  <a:gd name="connsiteY1" fmla="*/ 233665 h 315261"/>
                  <a:gd name="connsiteX2" fmla="*/ 22495 w 214597"/>
                  <a:gd name="connsiteY2" fmla="*/ 0 h 315261"/>
                  <a:gd name="connsiteX3" fmla="*/ 196072 w 214597"/>
                  <a:gd name="connsiteY3" fmla="*/ 0 h 315261"/>
                  <a:gd name="connsiteX4" fmla="*/ 144478 w 214597"/>
                  <a:gd name="connsiteY4" fmla="*/ 227315 h 315261"/>
                  <a:gd name="connsiteX5" fmla="*/ 214597 w 214597"/>
                  <a:gd name="connsiteY5" fmla="*/ 213821 h 315261"/>
                  <a:gd name="connsiteX6" fmla="*/ 110077 w 214597"/>
                  <a:gd name="connsiteY6" fmla="*/ 315261 h 315261"/>
                  <a:gd name="connsiteX7" fmla="*/ 0 w 214597"/>
                  <a:gd name="connsiteY7" fmla="*/ 214615 h 315261"/>
                  <a:gd name="connsiteX0" fmla="*/ 0 w 214597"/>
                  <a:gd name="connsiteY0" fmla="*/ 214615 h 317643"/>
                  <a:gd name="connsiteX1" fmla="*/ 72501 w 214597"/>
                  <a:gd name="connsiteY1" fmla="*/ 233665 h 317643"/>
                  <a:gd name="connsiteX2" fmla="*/ 22495 w 214597"/>
                  <a:gd name="connsiteY2" fmla="*/ 0 h 317643"/>
                  <a:gd name="connsiteX3" fmla="*/ 196072 w 214597"/>
                  <a:gd name="connsiteY3" fmla="*/ 0 h 317643"/>
                  <a:gd name="connsiteX4" fmla="*/ 144478 w 214597"/>
                  <a:gd name="connsiteY4" fmla="*/ 227315 h 317643"/>
                  <a:gd name="connsiteX5" fmla="*/ 214597 w 214597"/>
                  <a:gd name="connsiteY5" fmla="*/ 213821 h 317643"/>
                  <a:gd name="connsiteX6" fmla="*/ 102933 w 214597"/>
                  <a:gd name="connsiteY6" fmla="*/ 317643 h 317643"/>
                  <a:gd name="connsiteX7" fmla="*/ 0 w 214597"/>
                  <a:gd name="connsiteY7" fmla="*/ 214615 h 317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4597" h="317643">
                    <a:moveTo>
                      <a:pt x="0" y="214615"/>
                    </a:moveTo>
                    <a:lnTo>
                      <a:pt x="72501" y="233665"/>
                    </a:lnTo>
                    <a:cubicBezTo>
                      <a:pt x="72501" y="143870"/>
                      <a:pt x="63770" y="108845"/>
                      <a:pt x="22495" y="0"/>
                    </a:cubicBezTo>
                    <a:lnTo>
                      <a:pt x="196072" y="0"/>
                    </a:lnTo>
                    <a:cubicBezTo>
                      <a:pt x="151622" y="131070"/>
                      <a:pt x="144478" y="137520"/>
                      <a:pt x="144478" y="227315"/>
                    </a:cubicBezTo>
                    <a:lnTo>
                      <a:pt x="214597" y="213821"/>
                    </a:lnTo>
                    <a:lnTo>
                      <a:pt x="102933" y="317643"/>
                    </a:lnTo>
                    <a:lnTo>
                      <a:pt x="0" y="214615"/>
                    </a:lnTo>
                    <a:close/>
                  </a:path>
                </a:pathLst>
              </a:cu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sz="1200"/>
              </a:p>
            </p:txBody>
          </p:sp>
          <p:sp>
            <p:nvSpPr>
              <p:cNvPr id="55" name="Oval 54"/>
              <p:cNvSpPr/>
              <p:nvPr/>
            </p:nvSpPr>
            <p:spPr>
              <a:xfrm>
                <a:off x="5263373" y="1474617"/>
                <a:ext cx="1300162" cy="1300161"/>
              </a:xfrm>
              <a:prstGeom prst="ellipse">
                <a:avLst/>
              </a:prstGeom>
              <a:solidFill>
                <a:srgbClr val="FF6600"/>
              </a:solidFill>
              <a:ln w="28575">
                <a:solidFill>
                  <a:srgbClr val="FF66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bg1"/>
                    </a:solidFill>
                    <a:latin typeface="Arial" pitchFamily="34" charset="0"/>
                    <a:cs typeface="Lucida Sans Unicode" pitchFamily="34" charset="0"/>
                  </a:defRPr>
                </a:lvl1pPr>
                <a:lvl2pPr marL="742950" indent="-285750">
                  <a:defRPr>
                    <a:solidFill>
                      <a:schemeClr val="bg1"/>
                    </a:solidFill>
                    <a:latin typeface="Arial" pitchFamily="34" charset="0"/>
                    <a:cs typeface="Lucida Sans Unicode" pitchFamily="34" charset="0"/>
                  </a:defRPr>
                </a:lvl2pPr>
                <a:lvl3pPr>
                  <a:defRPr>
                    <a:solidFill>
                      <a:schemeClr val="bg1"/>
                    </a:solidFill>
                    <a:latin typeface="Arial" pitchFamily="34" charset="0"/>
                    <a:cs typeface="Lucida Sans Unicode" pitchFamily="34" charset="0"/>
                  </a:defRPr>
                </a:lvl3pPr>
                <a:lvl4pPr>
                  <a:defRPr>
                    <a:solidFill>
                      <a:schemeClr val="bg1"/>
                    </a:solidFill>
                    <a:latin typeface="Arial" pitchFamily="34" charset="0"/>
                    <a:cs typeface="Lucida Sans Unicode" pitchFamily="34" charset="0"/>
                  </a:defRPr>
                </a:lvl4pPr>
                <a:lvl5pPr>
                  <a:defRPr>
                    <a:solidFill>
                      <a:schemeClr val="bg1"/>
                    </a:solidFill>
                    <a:latin typeface="Arial" pitchFamily="34" charset="0"/>
                    <a:cs typeface="Lucida Sans Unicode" pitchFamily="34" charset="0"/>
                  </a:defRPr>
                </a:lvl5pPr>
                <a:lvl6pPr marL="2514600" indent="-228600" eaLnBrk="0" fontAlgn="base" hangingPunct="0">
                  <a:spcBef>
                    <a:spcPct val="0"/>
                  </a:spcBef>
                  <a:spcAft>
                    <a:spcPct val="0"/>
                  </a:spcAft>
                  <a:defRPr>
                    <a:solidFill>
                      <a:schemeClr val="bg1"/>
                    </a:solidFill>
                    <a:latin typeface="Arial" pitchFamily="34" charset="0"/>
                    <a:cs typeface="Lucida Sans Unicode" pitchFamily="34" charset="0"/>
                  </a:defRPr>
                </a:lvl6pPr>
                <a:lvl7pPr marL="2971800" indent="-228600" eaLnBrk="0" fontAlgn="base" hangingPunct="0">
                  <a:spcBef>
                    <a:spcPct val="0"/>
                  </a:spcBef>
                  <a:spcAft>
                    <a:spcPct val="0"/>
                  </a:spcAft>
                  <a:defRPr>
                    <a:solidFill>
                      <a:schemeClr val="bg1"/>
                    </a:solidFill>
                    <a:latin typeface="Arial" pitchFamily="34" charset="0"/>
                    <a:cs typeface="Lucida Sans Unicode" pitchFamily="34" charset="0"/>
                  </a:defRPr>
                </a:lvl7pPr>
                <a:lvl8pPr marL="3429000" indent="-228600" eaLnBrk="0" fontAlgn="base" hangingPunct="0">
                  <a:spcBef>
                    <a:spcPct val="0"/>
                  </a:spcBef>
                  <a:spcAft>
                    <a:spcPct val="0"/>
                  </a:spcAft>
                  <a:defRPr>
                    <a:solidFill>
                      <a:schemeClr val="bg1"/>
                    </a:solidFill>
                    <a:latin typeface="Arial" pitchFamily="34" charset="0"/>
                    <a:cs typeface="Lucida Sans Unicode" pitchFamily="34" charset="0"/>
                  </a:defRPr>
                </a:lvl8pPr>
                <a:lvl9pPr marL="3886200" indent="-228600" eaLnBrk="0" fontAlgn="base" hangingPunct="0">
                  <a:spcBef>
                    <a:spcPct val="0"/>
                  </a:spcBef>
                  <a:spcAft>
                    <a:spcPct val="0"/>
                  </a:spcAft>
                  <a:defRPr>
                    <a:solidFill>
                      <a:schemeClr val="bg1"/>
                    </a:solidFill>
                    <a:latin typeface="Arial" pitchFamily="34" charset="0"/>
                    <a:cs typeface="Lucida Sans Unicode" pitchFamily="34" charset="0"/>
                  </a:defRPr>
                </a:lvl9pPr>
              </a:lstStyle>
              <a:p>
                <a:pPr algn="ctr" defTabSz="914400"/>
                <a:endParaRPr lang="en-US" altLang="en-US" sz="1200" dirty="0">
                  <a:solidFill>
                    <a:srgbClr val="FFFFFF"/>
                  </a:solidFill>
                </a:endParaRPr>
              </a:p>
            </p:txBody>
          </p:sp>
          <p:sp>
            <p:nvSpPr>
              <p:cNvPr id="56" name="Oval 55"/>
              <p:cNvSpPr/>
              <p:nvPr/>
            </p:nvSpPr>
            <p:spPr>
              <a:xfrm>
                <a:off x="5353860" y="1555580"/>
                <a:ext cx="1100138" cy="1100139"/>
              </a:xfrm>
              <a:prstGeom prst="ellipse">
                <a:avLst/>
              </a:prstGeom>
              <a:solidFill>
                <a:schemeClr val="bg1"/>
              </a:solidFill>
              <a:ln w="28575">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bg1"/>
                    </a:solidFill>
                    <a:latin typeface="Arial" pitchFamily="34" charset="0"/>
                    <a:cs typeface="Lucida Sans Unicode" pitchFamily="34" charset="0"/>
                  </a:defRPr>
                </a:lvl1pPr>
                <a:lvl2pPr marL="742950" indent="-285750">
                  <a:defRPr>
                    <a:solidFill>
                      <a:schemeClr val="bg1"/>
                    </a:solidFill>
                    <a:latin typeface="Arial" pitchFamily="34" charset="0"/>
                    <a:cs typeface="Lucida Sans Unicode" pitchFamily="34" charset="0"/>
                  </a:defRPr>
                </a:lvl2pPr>
                <a:lvl3pPr>
                  <a:defRPr>
                    <a:solidFill>
                      <a:schemeClr val="bg1"/>
                    </a:solidFill>
                    <a:latin typeface="Arial" pitchFamily="34" charset="0"/>
                    <a:cs typeface="Lucida Sans Unicode" pitchFamily="34" charset="0"/>
                  </a:defRPr>
                </a:lvl3pPr>
                <a:lvl4pPr>
                  <a:defRPr>
                    <a:solidFill>
                      <a:schemeClr val="bg1"/>
                    </a:solidFill>
                    <a:latin typeface="Arial" pitchFamily="34" charset="0"/>
                    <a:cs typeface="Lucida Sans Unicode" pitchFamily="34" charset="0"/>
                  </a:defRPr>
                </a:lvl4pPr>
                <a:lvl5pPr>
                  <a:defRPr>
                    <a:solidFill>
                      <a:schemeClr val="bg1"/>
                    </a:solidFill>
                    <a:latin typeface="Arial" pitchFamily="34" charset="0"/>
                    <a:cs typeface="Lucida Sans Unicode" pitchFamily="34" charset="0"/>
                  </a:defRPr>
                </a:lvl5pPr>
                <a:lvl6pPr marL="2514600" indent="-228600" eaLnBrk="0" fontAlgn="base" hangingPunct="0">
                  <a:spcBef>
                    <a:spcPct val="0"/>
                  </a:spcBef>
                  <a:spcAft>
                    <a:spcPct val="0"/>
                  </a:spcAft>
                  <a:defRPr>
                    <a:solidFill>
                      <a:schemeClr val="bg1"/>
                    </a:solidFill>
                    <a:latin typeface="Arial" pitchFamily="34" charset="0"/>
                    <a:cs typeface="Lucida Sans Unicode" pitchFamily="34" charset="0"/>
                  </a:defRPr>
                </a:lvl6pPr>
                <a:lvl7pPr marL="2971800" indent="-228600" eaLnBrk="0" fontAlgn="base" hangingPunct="0">
                  <a:spcBef>
                    <a:spcPct val="0"/>
                  </a:spcBef>
                  <a:spcAft>
                    <a:spcPct val="0"/>
                  </a:spcAft>
                  <a:defRPr>
                    <a:solidFill>
                      <a:schemeClr val="bg1"/>
                    </a:solidFill>
                    <a:latin typeface="Arial" pitchFamily="34" charset="0"/>
                    <a:cs typeface="Lucida Sans Unicode" pitchFamily="34" charset="0"/>
                  </a:defRPr>
                </a:lvl7pPr>
                <a:lvl8pPr marL="3429000" indent="-228600" eaLnBrk="0" fontAlgn="base" hangingPunct="0">
                  <a:spcBef>
                    <a:spcPct val="0"/>
                  </a:spcBef>
                  <a:spcAft>
                    <a:spcPct val="0"/>
                  </a:spcAft>
                  <a:defRPr>
                    <a:solidFill>
                      <a:schemeClr val="bg1"/>
                    </a:solidFill>
                    <a:latin typeface="Arial" pitchFamily="34" charset="0"/>
                    <a:cs typeface="Lucida Sans Unicode" pitchFamily="34" charset="0"/>
                  </a:defRPr>
                </a:lvl8pPr>
                <a:lvl9pPr marL="3886200" indent="-228600" eaLnBrk="0" fontAlgn="base" hangingPunct="0">
                  <a:spcBef>
                    <a:spcPct val="0"/>
                  </a:spcBef>
                  <a:spcAft>
                    <a:spcPct val="0"/>
                  </a:spcAft>
                  <a:defRPr>
                    <a:solidFill>
                      <a:schemeClr val="bg1"/>
                    </a:solidFill>
                    <a:latin typeface="Arial" pitchFamily="34" charset="0"/>
                    <a:cs typeface="Lucida Sans Unicode" pitchFamily="34" charset="0"/>
                  </a:defRPr>
                </a:lvl9pPr>
              </a:lstStyle>
              <a:p>
                <a:pPr algn="ctr" defTabSz="914400"/>
                <a:endParaRPr lang="en-US" altLang="en-US" sz="1200" dirty="0">
                  <a:solidFill>
                    <a:srgbClr val="FFFFFF"/>
                  </a:solidFill>
                </a:endParaRPr>
              </a:p>
            </p:txBody>
          </p:sp>
          <p:sp>
            <p:nvSpPr>
              <p:cNvPr id="57" name="TextBox 42"/>
              <p:cNvSpPr txBox="1">
                <a:spLocks noChangeArrowheads="1"/>
              </p:cNvSpPr>
              <p:nvPr/>
            </p:nvSpPr>
            <p:spPr bwMode="auto">
              <a:xfrm>
                <a:off x="5661649" y="2018899"/>
                <a:ext cx="534752" cy="211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bg1"/>
                    </a:solidFill>
                    <a:latin typeface="Arial" pitchFamily="34" charset="0"/>
                    <a:cs typeface="Lucida Sans Unicode" pitchFamily="34" charset="0"/>
                  </a:defRPr>
                </a:lvl1pPr>
                <a:lvl2pPr marL="742950" indent="-285750">
                  <a:defRPr>
                    <a:solidFill>
                      <a:schemeClr val="bg1"/>
                    </a:solidFill>
                    <a:latin typeface="Arial" pitchFamily="34" charset="0"/>
                    <a:cs typeface="Lucida Sans Unicode" pitchFamily="34" charset="0"/>
                  </a:defRPr>
                </a:lvl2pPr>
                <a:lvl3pPr>
                  <a:defRPr>
                    <a:solidFill>
                      <a:schemeClr val="bg1"/>
                    </a:solidFill>
                    <a:latin typeface="Arial" pitchFamily="34" charset="0"/>
                    <a:cs typeface="Lucida Sans Unicode" pitchFamily="34" charset="0"/>
                  </a:defRPr>
                </a:lvl3pPr>
                <a:lvl4pPr>
                  <a:defRPr>
                    <a:solidFill>
                      <a:schemeClr val="bg1"/>
                    </a:solidFill>
                    <a:latin typeface="Arial" pitchFamily="34" charset="0"/>
                    <a:cs typeface="Lucida Sans Unicode" pitchFamily="34" charset="0"/>
                  </a:defRPr>
                </a:lvl4pPr>
                <a:lvl5pPr>
                  <a:defRPr>
                    <a:solidFill>
                      <a:schemeClr val="bg1"/>
                    </a:solidFill>
                    <a:latin typeface="Arial" pitchFamily="34" charset="0"/>
                    <a:cs typeface="Lucida Sans Unicode" pitchFamily="34" charset="0"/>
                  </a:defRPr>
                </a:lvl5pPr>
                <a:lvl6pPr marL="2514600" indent="-228600" eaLnBrk="0" fontAlgn="base" hangingPunct="0">
                  <a:spcBef>
                    <a:spcPct val="0"/>
                  </a:spcBef>
                  <a:spcAft>
                    <a:spcPct val="0"/>
                  </a:spcAft>
                  <a:defRPr>
                    <a:solidFill>
                      <a:schemeClr val="bg1"/>
                    </a:solidFill>
                    <a:latin typeface="Arial" pitchFamily="34" charset="0"/>
                    <a:cs typeface="Lucida Sans Unicode" pitchFamily="34" charset="0"/>
                  </a:defRPr>
                </a:lvl6pPr>
                <a:lvl7pPr marL="2971800" indent="-228600" eaLnBrk="0" fontAlgn="base" hangingPunct="0">
                  <a:spcBef>
                    <a:spcPct val="0"/>
                  </a:spcBef>
                  <a:spcAft>
                    <a:spcPct val="0"/>
                  </a:spcAft>
                  <a:defRPr>
                    <a:solidFill>
                      <a:schemeClr val="bg1"/>
                    </a:solidFill>
                    <a:latin typeface="Arial" pitchFamily="34" charset="0"/>
                    <a:cs typeface="Lucida Sans Unicode" pitchFamily="34" charset="0"/>
                  </a:defRPr>
                </a:lvl7pPr>
                <a:lvl8pPr marL="3429000" indent="-228600" eaLnBrk="0" fontAlgn="base" hangingPunct="0">
                  <a:spcBef>
                    <a:spcPct val="0"/>
                  </a:spcBef>
                  <a:spcAft>
                    <a:spcPct val="0"/>
                  </a:spcAft>
                  <a:defRPr>
                    <a:solidFill>
                      <a:schemeClr val="bg1"/>
                    </a:solidFill>
                    <a:latin typeface="Arial" pitchFamily="34" charset="0"/>
                    <a:cs typeface="Lucida Sans Unicode" pitchFamily="34" charset="0"/>
                  </a:defRPr>
                </a:lvl8pPr>
                <a:lvl9pPr marL="3886200" indent="-228600" eaLnBrk="0" fontAlgn="base" hangingPunct="0">
                  <a:spcBef>
                    <a:spcPct val="0"/>
                  </a:spcBef>
                  <a:spcAft>
                    <a:spcPct val="0"/>
                  </a:spcAft>
                  <a:defRPr>
                    <a:solidFill>
                      <a:schemeClr val="bg1"/>
                    </a:solidFill>
                    <a:latin typeface="Arial" pitchFamily="34" charset="0"/>
                    <a:cs typeface="Lucida Sans Unicode" pitchFamily="34" charset="0"/>
                  </a:defRPr>
                </a:lvl9pPr>
              </a:lstStyle>
              <a:p>
                <a:pPr algn="ctr" defTabSz="914400"/>
                <a:r>
                  <a:rPr lang="en-GB" altLang="en-US" sz="1200" b="1" dirty="0">
                    <a:solidFill>
                      <a:schemeClr val="tx1"/>
                    </a:solidFill>
                  </a:rPr>
                  <a:t>Offline</a:t>
                </a:r>
              </a:p>
            </p:txBody>
          </p:sp>
        </p:grpSp>
        <p:cxnSp>
          <p:nvCxnSpPr>
            <p:cNvPr id="58" name="Straight Connector 57"/>
            <p:cNvCxnSpPr/>
            <p:nvPr/>
          </p:nvCxnSpPr>
          <p:spPr bwMode="auto">
            <a:xfrm>
              <a:off x="5842147" y="2551767"/>
              <a:ext cx="2286000" cy="2074"/>
            </a:xfrm>
            <a:prstGeom prst="line">
              <a:avLst/>
            </a:prstGeom>
            <a:ln w="19050">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cxnSp>
        <p:nvCxnSpPr>
          <p:cNvPr id="59" name="Straight Connector 58"/>
          <p:cNvCxnSpPr/>
          <p:nvPr/>
        </p:nvCxnSpPr>
        <p:spPr bwMode="auto">
          <a:xfrm>
            <a:off x="5987430" y="5892970"/>
            <a:ext cx="2286000" cy="0"/>
          </a:xfrm>
          <a:prstGeom prst="line">
            <a:avLst/>
          </a:prstGeom>
          <a:ln w="19050">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430484" y="1038554"/>
            <a:ext cx="11183761" cy="307777"/>
          </a:xfrm>
          <a:prstGeom prst="rect">
            <a:avLst/>
          </a:prstGeom>
          <a:noFill/>
        </p:spPr>
        <p:txBody>
          <a:bodyPr wrap="square" rtlCol="0">
            <a:spAutoFit/>
          </a:bodyPr>
          <a:lstStyle/>
          <a:p>
            <a:pPr eaLnBrk="1" hangingPunct="1"/>
            <a:r>
              <a:rPr lang="en-US" altLang="en-US" sz="1400" b="1" dirty="0"/>
              <a:t>TestMagic allows 4 ways to user for automatic authoring of Business Component which needs Zero programming skills.</a:t>
            </a:r>
          </a:p>
        </p:txBody>
      </p:sp>
      <p:sp>
        <p:nvSpPr>
          <p:cNvPr id="27" name="TextBox 80"/>
          <p:cNvSpPr txBox="1">
            <a:spLocks noChangeArrowheads="1"/>
          </p:cNvSpPr>
          <p:nvPr/>
        </p:nvSpPr>
        <p:spPr bwMode="auto">
          <a:xfrm>
            <a:off x="362433" y="2946005"/>
            <a:ext cx="2352508" cy="2900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179388" indent="-179388">
              <a:defRPr>
                <a:solidFill>
                  <a:schemeClr val="bg1"/>
                </a:solidFill>
                <a:latin typeface="Arial" pitchFamily="34" charset="0"/>
                <a:cs typeface="Lucida Sans Unicode" pitchFamily="34" charset="0"/>
              </a:defRPr>
            </a:lvl1pPr>
            <a:lvl2pPr marL="742950" indent="-285750">
              <a:defRPr>
                <a:solidFill>
                  <a:schemeClr val="bg1"/>
                </a:solidFill>
                <a:latin typeface="Arial" pitchFamily="34" charset="0"/>
                <a:cs typeface="Lucida Sans Unicode" pitchFamily="34" charset="0"/>
              </a:defRPr>
            </a:lvl2pPr>
            <a:lvl3pPr>
              <a:defRPr>
                <a:solidFill>
                  <a:schemeClr val="bg1"/>
                </a:solidFill>
                <a:latin typeface="Arial" pitchFamily="34" charset="0"/>
                <a:cs typeface="Lucida Sans Unicode" pitchFamily="34" charset="0"/>
              </a:defRPr>
            </a:lvl3pPr>
            <a:lvl4pPr>
              <a:defRPr>
                <a:solidFill>
                  <a:schemeClr val="bg1"/>
                </a:solidFill>
                <a:latin typeface="Arial" pitchFamily="34" charset="0"/>
                <a:cs typeface="Lucida Sans Unicode" pitchFamily="34" charset="0"/>
              </a:defRPr>
            </a:lvl4pPr>
            <a:lvl5pPr>
              <a:defRPr>
                <a:solidFill>
                  <a:schemeClr val="bg1"/>
                </a:solidFill>
                <a:latin typeface="Arial" pitchFamily="34" charset="0"/>
                <a:cs typeface="Lucida Sans Unicode" pitchFamily="34" charset="0"/>
              </a:defRPr>
            </a:lvl5pPr>
            <a:lvl6pPr marL="2514600" indent="-228600" eaLnBrk="0" fontAlgn="base" hangingPunct="0">
              <a:spcBef>
                <a:spcPct val="0"/>
              </a:spcBef>
              <a:spcAft>
                <a:spcPct val="0"/>
              </a:spcAft>
              <a:defRPr>
                <a:solidFill>
                  <a:schemeClr val="bg1"/>
                </a:solidFill>
                <a:latin typeface="Arial" pitchFamily="34" charset="0"/>
                <a:cs typeface="Lucida Sans Unicode" pitchFamily="34" charset="0"/>
              </a:defRPr>
            </a:lvl6pPr>
            <a:lvl7pPr marL="2971800" indent="-228600" eaLnBrk="0" fontAlgn="base" hangingPunct="0">
              <a:spcBef>
                <a:spcPct val="0"/>
              </a:spcBef>
              <a:spcAft>
                <a:spcPct val="0"/>
              </a:spcAft>
              <a:defRPr>
                <a:solidFill>
                  <a:schemeClr val="bg1"/>
                </a:solidFill>
                <a:latin typeface="Arial" pitchFamily="34" charset="0"/>
                <a:cs typeface="Lucida Sans Unicode" pitchFamily="34" charset="0"/>
              </a:defRPr>
            </a:lvl7pPr>
            <a:lvl8pPr marL="3429000" indent="-228600" eaLnBrk="0" fontAlgn="base" hangingPunct="0">
              <a:spcBef>
                <a:spcPct val="0"/>
              </a:spcBef>
              <a:spcAft>
                <a:spcPct val="0"/>
              </a:spcAft>
              <a:defRPr>
                <a:solidFill>
                  <a:schemeClr val="bg1"/>
                </a:solidFill>
                <a:latin typeface="Arial" pitchFamily="34" charset="0"/>
                <a:cs typeface="Lucida Sans Unicode" pitchFamily="34" charset="0"/>
              </a:defRPr>
            </a:lvl8pPr>
            <a:lvl9pPr marL="3886200" indent="-228600" eaLnBrk="0" fontAlgn="base" hangingPunct="0">
              <a:spcBef>
                <a:spcPct val="0"/>
              </a:spcBef>
              <a:spcAft>
                <a:spcPct val="0"/>
              </a:spcAft>
              <a:defRPr>
                <a:solidFill>
                  <a:schemeClr val="bg1"/>
                </a:solidFill>
                <a:latin typeface="Arial" pitchFamily="34" charset="0"/>
                <a:cs typeface="Lucida Sans Unicode" pitchFamily="34" charset="0"/>
              </a:defRPr>
            </a:lvl9pPr>
          </a:lstStyle>
          <a:p>
            <a:pPr algn="just" defTabSz="914400">
              <a:spcBef>
                <a:spcPts val="600"/>
              </a:spcBef>
              <a:buFont typeface="Arial" pitchFamily="34" charset="0"/>
              <a:buChar char="•"/>
            </a:pPr>
            <a:r>
              <a:rPr lang="en-IN" altLang="en-US" sz="1050" dirty="0">
                <a:solidFill>
                  <a:schemeClr val="tx1"/>
                </a:solidFill>
              </a:rPr>
              <a:t>Opening URL in browser and clicking on the Discover icon captures automatically all the visual reference(s), input data and actions to be performed in the grid format with structured NLP details as Test Step details.</a:t>
            </a:r>
          </a:p>
          <a:p>
            <a:pPr algn="just" defTabSz="914400">
              <a:spcBef>
                <a:spcPts val="600"/>
              </a:spcBef>
              <a:buFont typeface="Arial" pitchFamily="34" charset="0"/>
              <a:buChar char="•"/>
            </a:pPr>
            <a:r>
              <a:rPr lang="en-IN" altLang="en-US" sz="1050" dirty="0">
                <a:solidFill>
                  <a:schemeClr val="tx1"/>
                </a:solidFill>
              </a:rPr>
              <a:t>For every new page Discover option is clicked to capture all above information automatically for the selected object types..</a:t>
            </a:r>
          </a:p>
          <a:p>
            <a:pPr algn="just" defTabSz="914400">
              <a:spcBef>
                <a:spcPts val="600"/>
              </a:spcBef>
              <a:buFont typeface="Arial" pitchFamily="34" charset="0"/>
              <a:buChar char="•"/>
            </a:pPr>
            <a:r>
              <a:rPr lang="en-IN" altLang="en-US" sz="1050" dirty="0">
                <a:solidFill>
                  <a:schemeClr val="tx1"/>
                </a:solidFill>
              </a:rPr>
              <a:t>Each Business Component(s) input values are parametrized automatically by clicking on auto parameterization option and controlled by inbuilt version management.</a:t>
            </a:r>
          </a:p>
        </p:txBody>
      </p:sp>
      <p:sp>
        <p:nvSpPr>
          <p:cNvPr id="28" name="TextBox 80"/>
          <p:cNvSpPr txBox="1">
            <a:spLocks noChangeArrowheads="1"/>
          </p:cNvSpPr>
          <p:nvPr/>
        </p:nvSpPr>
        <p:spPr bwMode="auto">
          <a:xfrm>
            <a:off x="3038421" y="2947860"/>
            <a:ext cx="2352508" cy="2416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179388" indent="-179388">
              <a:defRPr>
                <a:solidFill>
                  <a:schemeClr val="bg1"/>
                </a:solidFill>
                <a:latin typeface="Arial" pitchFamily="34" charset="0"/>
                <a:cs typeface="Lucida Sans Unicode" pitchFamily="34" charset="0"/>
              </a:defRPr>
            </a:lvl1pPr>
            <a:lvl2pPr marL="742950" indent="-285750">
              <a:defRPr>
                <a:solidFill>
                  <a:schemeClr val="bg1"/>
                </a:solidFill>
                <a:latin typeface="Arial" pitchFamily="34" charset="0"/>
                <a:cs typeface="Lucida Sans Unicode" pitchFamily="34" charset="0"/>
              </a:defRPr>
            </a:lvl2pPr>
            <a:lvl3pPr>
              <a:defRPr>
                <a:solidFill>
                  <a:schemeClr val="bg1"/>
                </a:solidFill>
                <a:latin typeface="Arial" pitchFamily="34" charset="0"/>
                <a:cs typeface="Lucida Sans Unicode" pitchFamily="34" charset="0"/>
              </a:defRPr>
            </a:lvl3pPr>
            <a:lvl4pPr>
              <a:defRPr>
                <a:solidFill>
                  <a:schemeClr val="bg1"/>
                </a:solidFill>
                <a:latin typeface="Arial" pitchFamily="34" charset="0"/>
                <a:cs typeface="Lucida Sans Unicode" pitchFamily="34" charset="0"/>
              </a:defRPr>
            </a:lvl4pPr>
            <a:lvl5pPr>
              <a:defRPr>
                <a:solidFill>
                  <a:schemeClr val="bg1"/>
                </a:solidFill>
                <a:latin typeface="Arial" pitchFamily="34" charset="0"/>
                <a:cs typeface="Lucida Sans Unicode" pitchFamily="34" charset="0"/>
              </a:defRPr>
            </a:lvl5pPr>
            <a:lvl6pPr marL="2514600" indent="-228600" eaLnBrk="0" fontAlgn="base" hangingPunct="0">
              <a:spcBef>
                <a:spcPct val="0"/>
              </a:spcBef>
              <a:spcAft>
                <a:spcPct val="0"/>
              </a:spcAft>
              <a:defRPr>
                <a:solidFill>
                  <a:schemeClr val="bg1"/>
                </a:solidFill>
                <a:latin typeface="Arial" pitchFamily="34" charset="0"/>
                <a:cs typeface="Lucida Sans Unicode" pitchFamily="34" charset="0"/>
              </a:defRPr>
            </a:lvl6pPr>
            <a:lvl7pPr marL="2971800" indent="-228600" eaLnBrk="0" fontAlgn="base" hangingPunct="0">
              <a:spcBef>
                <a:spcPct val="0"/>
              </a:spcBef>
              <a:spcAft>
                <a:spcPct val="0"/>
              </a:spcAft>
              <a:defRPr>
                <a:solidFill>
                  <a:schemeClr val="bg1"/>
                </a:solidFill>
                <a:latin typeface="Arial" pitchFamily="34" charset="0"/>
                <a:cs typeface="Lucida Sans Unicode" pitchFamily="34" charset="0"/>
              </a:defRPr>
            </a:lvl7pPr>
            <a:lvl8pPr marL="3429000" indent="-228600" eaLnBrk="0" fontAlgn="base" hangingPunct="0">
              <a:spcBef>
                <a:spcPct val="0"/>
              </a:spcBef>
              <a:spcAft>
                <a:spcPct val="0"/>
              </a:spcAft>
              <a:defRPr>
                <a:solidFill>
                  <a:schemeClr val="bg1"/>
                </a:solidFill>
                <a:latin typeface="Arial" pitchFamily="34" charset="0"/>
                <a:cs typeface="Lucida Sans Unicode" pitchFamily="34" charset="0"/>
              </a:defRPr>
            </a:lvl8pPr>
            <a:lvl9pPr marL="3886200" indent="-228600" eaLnBrk="0" fontAlgn="base" hangingPunct="0">
              <a:spcBef>
                <a:spcPct val="0"/>
              </a:spcBef>
              <a:spcAft>
                <a:spcPct val="0"/>
              </a:spcAft>
              <a:defRPr>
                <a:solidFill>
                  <a:schemeClr val="bg1"/>
                </a:solidFill>
                <a:latin typeface="Arial" pitchFamily="34" charset="0"/>
                <a:cs typeface="Lucida Sans Unicode" pitchFamily="34" charset="0"/>
              </a:defRPr>
            </a:lvl9pPr>
          </a:lstStyle>
          <a:p>
            <a:pPr algn="just" defTabSz="914400">
              <a:spcBef>
                <a:spcPts val="600"/>
              </a:spcBef>
              <a:buFont typeface="Arial" pitchFamily="34" charset="0"/>
              <a:buChar char="•"/>
            </a:pPr>
            <a:r>
              <a:rPr lang="en-US" altLang="en-US" sz="1050" dirty="0">
                <a:solidFill>
                  <a:schemeClr val="tx1"/>
                </a:solidFill>
              </a:rPr>
              <a:t>This option enables capturing user journeys or exploratory tests on the application and saving as Business Component(s);  controlled by inbuilt version management.  </a:t>
            </a:r>
          </a:p>
          <a:p>
            <a:pPr algn="just" defTabSz="914400">
              <a:spcBef>
                <a:spcPts val="600"/>
              </a:spcBef>
              <a:buFont typeface="Arial" pitchFamily="34" charset="0"/>
              <a:buChar char="•"/>
            </a:pPr>
            <a:r>
              <a:rPr lang="en-US" altLang="en-US" sz="1050" dirty="0">
                <a:solidFill>
                  <a:schemeClr val="tx1"/>
                </a:solidFill>
              </a:rPr>
              <a:t>These created Business Components are data parameterized and linked with inbuilt or external test data sources.</a:t>
            </a:r>
          </a:p>
          <a:p>
            <a:pPr algn="just" defTabSz="914400">
              <a:spcBef>
                <a:spcPts val="600"/>
              </a:spcBef>
              <a:buFont typeface="Arial" pitchFamily="34" charset="0"/>
              <a:buChar char="•"/>
            </a:pPr>
            <a:r>
              <a:rPr lang="en-US" altLang="en-US" sz="1050" dirty="0">
                <a:solidFill>
                  <a:schemeClr val="tx1"/>
                </a:solidFill>
              </a:rPr>
              <a:t>Learn-on is a simple and quick process and uses machine learning algorithm to capture all the information and action performed by the user. </a:t>
            </a:r>
            <a:endParaRPr lang="en-IN" altLang="en-US" sz="1050" dirty="0">
              <a:solidFill>
                <a:schemeClr val="tx1"/>
              </a:solidFill>
            </a:endParaRPr>
          </a:p>
        </p:txBody>
      </p:sp>
      <p:sp>
        <p:nvSpPr>
          <p:cNvPr id="31" name="TextBox 80"/>
          <p:cNvSpPr txBox="1">
            <a:spLocks noChangeArrowheads="1"/>
          </p:cNvSpPr>
          <p:nvPr/>
        </p:nvSpPr>
        <p:spPr bwMode="auto">
          <a:xfrm>
            <a:off x="5909953" y="2959709"/>
            <a:ext cx="2352508" cy="2816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179388" indent="-179388">
              <a:defRPr>
                <a:solidFill>
                  <a:schemeClr val="bg1"/>
                </a:solidFill>
                <a:latin typeface="Arial" pitchFamily="34" charset="0"/>
                <a:cs typeface="Lucida Sans Unicode" pitchFamily="34" charset="0"/>
              </a:defRPr>
            </a:lvl1pPr>
            <a:lvl2pPr marL="742950" indent="-285750">
              <a:defRPr>
                <a:solidFill>
                  <a:schemeClr val="bg1"/>
                </a:solidFill>
                <a:latin typeface="Arial" pitchFamily="34" charset="0"/>
                <a:cs typeface="Lucida Sans Unicode" pitchFamily="34" charset="0"/>
              </a:defRPr>
            </a:lvl2pPr>
            <a:lvl3pPr>
              <a:defRPr>
                <a:solidFill>
                  <a:schemeClr val="bg1"/>
                </a:solidFill>
                <a:latin typeface="Arial" pitchFamily="34" charset="0"/>
                <a:cs typeface="Lucida Sans Unicode" pitchFamily="34" charset="0"/>
              </a:defRPr>
            </a:lvl3pPr>
            <a:lvl4pPr>
              <a:defRPr>
                <a:solidFill>
                  <a:schemeClr val="bg1"/>
                </a:solidFill>
                <a:latin typeface="Arial" pitchFamily="34" charset="0"/>
                <a:cs typeface="Lucida Sans Unicode" pitchFamily="34" charset="0"/>
              </a:defRPr>
            </a:lvl4pPr>
            <a:lvl5pPr>
              <a:defRPr>
                <a:solidFill>
                  <a:schemeClr val="bg1"/>
                </a:solidFill>
                <a:latin typeface="Arial" pitchFamily="34" charset="0"/>
                <a:cs typeface="Lucida Sans Unicode" pitchFamily="34" charset="0"/>
              </a:defRPr>
            </a:lvl5pPr>
            <a:lvl6pPr marL="2514600" indent="-228600" eaLnBrk="0" fontAlgn="base" hangingPunct="0">
              <a:spcBef>
                <a:spcPct val="0"/>
              </a:spcBef>
              <a:spcAft>
                <a:spcPct val="0"/>
              </a:spcAft>
              <a:defRPr>
                <a:solidFill>
                  <a:schemeClr val="bg1"/>
                </a:solidFill>
                <a:latin typeface="Arial" pitchFamily="34" charset="0"/>
                <a:cs typeface="Lucida Sans Unicode" pitchFamily="34" charset="0"/>
              </a:defRPr>
            </a:lvl6pPr>
            <a:lvl7pPr marL="2971800" indent="-228600" eaLnBrk="0" fontAlgn="base" hangingPunct="0">
              <a:spcBef>
                <a:spcPct val="0"/>
              </a:spcBef>
              <a:spcAft>
                <a:spcPct val="0"/>
              </a:spcAft>
              <a:defRPr>
                <a:solidFill>
                  <a:schemeClr val="bg1"/>
                </a:solidFill>
                <a:latin typeface="Arial" pitchFamily="34" charset="0"/>
                <a:cs typeface="Lucida Sans Unicode" pitchFamily="34" charset="0"/>
              </a:defRPr>
            </a:lvl7pPr>
            <a:lvl8pPr marL="3429000" indent="-228600" eaLnBrk="0" fontAlgn="base" hangingPunct="0">
              <a:spcBef>
                <a:spcPct val="0"/>
              </a:spcBef>
              <a:spcAft>
                <a:spcPct val="0"/>
              </a:spcAft>
              <a:defRPr>
                <a:solidFill>
                  <a:schemeClr val="bg1"/>
                </a:solidFill>
                <a:latin typeface="Arial" pitchFamily="34" charset="0"/>
                <a:cs typeface="Lucida Sans Unicode" pitchFamily="34" charset="0"/>
              </a:defRPr>
            </a:lvl8pPr>
            <a:lvl9pPr marL="3886200" indent="-228600" eaLnBrk="0" fontAlgn="base" hangingPunct="0">
              <a:spcBef>
                <a:spcPct val="0"/>
              </a:spcBef>
              <a:spcAft>
                <a:spcPct val="0"/>
              </a:spcAft>
              <a:defRPr>
                <a:solidFill>
                  <a:schemeClr val="bg1"/>
                </a:solidFill>
                <a:latin typeface="Arial" pitchFamily="34" charset="0"/>
                <a:cs typeface="Lucida Sans Unicode" pitchFamily="34" charset="0"/>
              </a:defRPr>
            </a:lvl9pPr>
          </a:lstStyle>
          <a:p>
            <a:pPr algn="just" defTabSz="914400">
              <a:spcBef>
                <a:spcPts val="600"/>
              </a:spcBef>
              <a:buFont typeface="Arial" pitchFamily="34" charset="0"/>
              <a:buChar char="•"/>
            </a:pPr>
            <a:r>
              <a:rPr lang="en-US" altLang="en-US" sz="1050" dirty="0">
                <a:solidFill>
                  <a:schemeClr val="tx1"/>
                </a:solidFill>
              </a:rPr>
              <a:t>This option is used to automate test when application is still not developed. Zero lead time required for automation hence enable automation testing from Day 1.</a:t>
            </a:r>
          </a:p>
          <a:p>
            <a:pPr algn="just" defTabSz="914400">
              <a:spcBef>
                <a:spcPts val="600"/>
              </a:spcBef>
              <a:buFont typeface="Arial" pitchFamily="34" charset="0"/>
              <a:buChar char="•"/>
            </a:pPr>
            <a:r>
              <a:rPr lang="en-US" altLang="en-US" sz="1050" dirty="0">
                <a:solidFill>
                  <a:schemeClr val="tx1"/>
                </a:solidFill>
              </a:rPr>
              <a:t>It enables capturing user journeys using Wire frames/ Screenshots/ offline HTML pages. </a:t>
            </a:r>
          </a:p>
          <a:p>
            <a:pPr algn="just" defTabSz="914400">
              <a:spcBef>
                <a:spcPts val="600"/>
              </a:spcBef>
              <a:buFont typeface="Arial" pitchFamily="34" charset="0"/>
              <a:buChar char="•"/>
            </a:pPr>
            <a:r>
              <a:rPr lang="en-US" altLang="en-US" sz="1050" dirty="0">
                <a:solidFill>
                  <a:schemeClr val="tx1"/>
                </a:solidFill>
              </a:rPr>
              <a:t>Business Components are either created using visual references or Images of the objects.</a:t>
            </a:r>
          </a:p>
          <a:p>
            <a:pPr algn="just" defTabSz="914400">
              <a:spcBef>
                <a:spcPts val="600"/>
              </a:spcBef>
              <a:buFont typeface="Arial" pitchFamily="34" charset="0"/>
              <a:buChar char="•"/>
            </a:pPr>
            <a:r>
              <a:rPr lang="en-US" altLang="en-US" sz="1050" dirty="0">
                <a:solidFill>
                  <a:schemeClr val="tx1"/>
                </a:solidFill>
              </a:rPr>
              <a:t>Created Business Component(s) are controlled by inbuilt version management and Data parameterization can be linked with inbuilt or external test data sources.</a:t>
            </a:r>
          </a:p>
        </p:txBody>
      </p:sp>
      <p:pic>
        <p:nvPicPr>
          <p:cNvPr id="10" name="Picture 5">
            <a:extLst>
              <a:ext uri="{FF2B5EF4-FFF2-40B4-BE49-F238E27FC236}">
                <a16:creationId xmlns:a16="http://schemas.microsoft.com/office/drawing/2014/main" id="{AEC8D53E-B42D-4EDF-9AEE-1C0672AABAE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21572" y="301183"/>
            <a:ext cx="334963" cy="304800"/>
          </a:xfrm>
          <a:prstGeom prst="rect">
            <a:avLst/>
          </a:prstGeom>
          <a:noFill/>
          <a:extLst>
            <a:ext uri="{909E8E84-426E-40DD-AFC4-6F175D3DCCD1}">
              <a14:hiddenFill xmlns:a14="http://schemas.microsoft.com/office/drawing/2010/main">
                <a:solidFill>
                  <a:srgbClr val="FFFFFF"/>
                </a:solidFill>
              </a14:hiddenFill>
            </a:ext>
          </a:extLst>
        </p:spPr>
      </p:pic>
      <p:sp>
        <p:nvSpPr>
          <p:cNvPr id="15" name="Oval 14">
            <a:extLst>
              <a:ext uri="{FF2B5EF4-FFF2-40B4-BE49-F238E27FC236}">
                <a16:creationId xmlns:a16="http://schemas.microsoft.com/office/drawing/2014/main" id="{8C1B24D8-7703-A2EB-6265-97CFDCD7CE8B}"/>
              </a:ext>
            </a:extLst>
          </p:cNvPr>
          <p:cNvSpPr/>
          <p:nvPr/>
        </p:nvSpPr>
        <p:spPr bwMode="auto">
          <a:xfrm>
            <a:off x="9284304" y="1491908"/>
            <a:ext cx="1005841" cy="960120"/>
          </a:xfrm>
          <a:prstGeom prst="ellipse">
            <a:avLst/>
          </a:prstGeom>
          <a:solidFill>
            <a:schemeClr val="bg1"/>
          </a:solidFill>
          <a:ln w="28575">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bg1"/>
                </a:solidFill>
                <a:latin typeface="Arial" pitchFamily="34" charset="0"/>
                <a:cs typeface="Lucida Sans Unicode" pitchFamily="34" charset="0"/>
              </a:defRPr>
            </a:lvl1pPr>
            <a:lvl2pPr marL="742950" indent="-285750">
              <a:defRPr>
                <a:solidFill>
                  <a:schemeClr val="bg1"/>
                </a:solidFill>
                <a:latin typeface="Arial" pitchFamily="34" charset="0"/>
                <a:cs typeface="Lucida Sans Unicode" pitchFamily="34" charset="0"/>
              </a:defRPr>
            </a:lvl2pPr>
            <a:lvl3pPr>
              <a:defRPr>
                <a:solidFill>
                  <a:schemeClr val="bg1"/>
                </a:solidFill>
                <a:latin typeface="Arial" pitchFamily="34" charset="0"/>
                <a:cs typeface="Lucida Sans Unicode" pitchFamily="34" charset="0"/>
              </a:defRPr>
            </a:lvl3pPr>
            <a:lvl4pPr>
              <a:defRPr>
                <a:solidFill>
                  <a:schemeClr val="bg1"/>
                </a:solidFill>
                <a:latin typeface="Arial" pitchFamily="34" charset="0"/>
                <a:cs typeface="Lucida Sans Unicode" pitchFamily="34" charset="0"/>
              </a:defRPr>
            </a:lvl4pPr>
            <a:lvl5pPr>
              <a:defRPr>
                <a:solidFill>
                  <a:schemeClr val="bg1"/>
                </a:solidFill>
                <a:latin typeface="Arial" pitchFamily="34" charset="0"/>
                <a:cs typeface="Lucida Sans Unicode" pitchFamily="34" charset="0"/>
              </a:defRPr>
            </a:lvl5pPr>
            <a:lvl6pPr marL="2514600" indent="-228600" eaLnBrk="0" fontAlgn="base" hangingPunct="0">
              <a:spcBef>
                <a:spcPct val="0"/>
              </a:spcBef>
              <a:spcAft>
                <a:spcPct val="0"/>
              </a:spcAft>
              <a:defRPr>
                <a:solidFill>
                  <a:schemeClr val="bg1"/>
                </a:solidFill>
                <a:latin typeface="Arial" pitchFamily="34" charset="0"/>
                <a:cs typeface="Lucida Sans Unicode" pitchFamily="34" charset="0"/>
              </a:defRPr>
            </a:lvl6pPr>
            <a:lvl7pPr marL="2971800" indent="-228600" eaLnBrk="0" fontAlgn="base" hangingPunct="0">
              <a:spcBef>
                <a:spcPct val="0"/>
              </a:spcBef>
              <a:spcAft>
                <a:spcPct val="0"/>
              </a:spcAft>
              <a:defRPr>
                <a:solidFill>
                  <a:schemeClr val="bg1"/>
                </a:solidFill>
                <a:latin typeface="Arial" pitchFamily="34" charset="0"/>
                <a:cs typeface="Lucida Sans Unicode" pitchFamily="34" charset="0"/>
              </a:defRPr>
            </a:lvl7pPr>
            <a:lvl8pPr marL="3429000" indent="-228600" eaLnBrk="0" fontAlgn="base" hangingPunct="0">
              <a:spcBef>
                <a:spcPct val="0"/>
              </a:spcBef>
              <a:spcAft>
                <a:spcPct val="0"/>
              </a:spcAft>
              <a:defRPr>
                <a:solidFill>
                  <a:schemeClr val="bg1"/>
                </a:solidFill>
                <a:latin typeface="Arial" pitchFamily="34" charset="0"/>
                <a:cs typeface="Lucida Sans Unicode" pitchFamily="34" charset="0"/>
              </a:defRPr>
            </a:lvl8pPr>
            <a:lvl9pPr marL="3886200" indent="-228600" eaLnBrk="0" fontAlgn="base" hangingPunct="0">
              <a:spcBef>
                <a:spcPct val="0"/>
              </a:spcBef>
              <a:spcAft>
                <a:spcPct val="0"/>
              </a:spcAft>
              <a:defRPr>
                <a:solidFill>
                  <a:schemeClr val="bg1"/>
                </a:solidFill>
                <a:latin typeface="Arial" pitchFamily="34" charset="0"/>
                <a:cs typeface="Lucida Sans Unicode" pitchFamily="34" charset="0"/>
              </a:defRPr>
            </a:lvl9pPr>
          </a:lstStyle>
          <a:p>
            <a:pPr algn="ctr" defTabSz="914400"/>
            <a:endParaRPr lang="en-US" altLang="en-US" sz="1200" dirty="0">
              <a:solidFill>
                <a:srgbClr val="FFFFFF"/>
              </a:solidFill>
            </a:endParaRPr>
          </a:p>
        </p:txBody>
      </p:sp>
      <p:sp>
        <p:nvSpPr>
          <p:cNvPr id="16" name="TextBox 42">
            <a:extLst>
              <a:ext uri="{FF2B5EF4-FFF2-40B4-BE49-F238E27FC236}">
                <a16:creationId xmlns:a16="http://schemas.microsoft.com/office/drawing/2014/main" id="{7DF69825-467E-CF52-4306-F8C0722E4FA1}"/>
              </a:ext>
            </a:extLst>
          </p:cNvPr>
          <p:cNvSpPr txBox="1">
            <a:spLocks noChangeArrowheads="1"/>
          </p:cNvSpPr>
          <p:nvPr/>
        </p:nvSpPr>
        <p:spPr bwMode="auto">
          <a:xfrm>
            <a:off x="9454573" y="1884664"/>
            <a:ext cx="65768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bg1"/>
                </a:solidFill>
                <a:latin typeface="Arial" pitchFamily="34" charset="0"/>
                <a:cs typeface="Lucida Sans Unicode" pitchFamily="34" charset="0"/>
              </a:defRPr>
            </a:lvl1pPr>
            <a:lvl2pPr marL="742950" indent="-285750">
              <a:defRPr>
                <a:solidFill>
                  <a:schemeClr val="bg1"/>
                </a:solidFill>
                <a:latin typeface="Arial" pitchFamily="34" charset="0"/>
                <a:cs typeface="Lucida Sans Unicode" pitchFamily="34" charset="0"/>
              </a:defRPr>
            </a:lvl2pPr>
            <a:lvl3pPr>
              <a:defRPr>
                <a:solidFill>
                  <a:schemeClr val="bg1"/>
                </a:solidFill>
                <a:latin typeface="Arial" pitchFamily="34" charset="0"/>
                <a:cs typeface="Lucida Sans Unicode" pitchFamily="34" charset="0"/>
              </a:defRPr>
            </a:lvl3pPr>
            <a:lvl4pPr>
              <a:defRPr>
                <a:solidFill>
                  <a:schemeClr val="bg1"/>
                </a:solidFill>
                <a:latin typeface="Arial" pitchFamily="34" charset="0"/>
                <a:cs typeface="Lucida Sans Unicode" pitchFamily="34" charset="0"/>
              </a:defRPr>
            </a:lvl4pPr>
            <a:lvl5pPr>
              <a:defRPr>
                <a:solidFill>
                  <a:schemeClr val="bg1"/>
                </a:solidFill>
                <a:latin typeface="Arial" pitchFamily="34" charset="0"/>
                <a:cs typeface="Lucida Sans Unicode" pitchFamily="34" charset="0"/>
              </a:defRPr>
            </a:lvl5pPr>
            <a:lvl6pPr marL="2514600" indent="-228600" eaLnBrk="0" fontAlgn="base" hangingPunct="0">
              <a:spcBef>
                <a:spcPct val="0"/>
              </a:spcBef>
              <a:spcAft>
                <a:spcPct val="0"/>
              </a:spcAft>
              <a:defRPr>
                <a:solidFill>
                  <a:schemeClr val="bg1"/>
                </a:solidFill>
                <a:latin typeface="Arial" pitchFamily="34" charset="0"/>
                <a:cs typeface="Lucida Sans Unicode" pitchFamily="34" charset="0"/>
              </a:defRPr>
            </a:lvl6pPr>
            <a:lvl7pPr marL="2971800" indent="-228600" eaLnBrk="0" fontAlgn="base" hangingPunct="0">
              <a:spcBef>
                <a:spcPct val="0"/>
              </a:spcBef>
              <a:spcAft>
                <a:spcPct val="0"/>
              </a:spcAft>
              <a:defRPr>
                <a:solidFill>
                  <a:schemeClr val="bg1"/>
                </a:solidFill>
                <a:latin typeface="Arial" pitchFamily="34" charset="0"/>
                <a:cs typeface="Lucida Sans Unicode" pitchFamily="34" charset="0"/>
              </a:defRPr>
            </a:lvl7pPr>
            <a:lvl8pPr marL="3429000" indent="-228600" eaLnBrk="0" fontAlgn="base" hangingPunct="0">
              <a:spcBef>
                <a:spcPct val="0"/>
              </a:spcBef>
              <a:spcAft>
                <a:spcPct val="0"/>
              </a:spcAft>
              <a:defRPr>
                <a:solidFill>
                  <a:schemeClr val="bg1"/>
                </a:solidFill>
                <a:latin typeface="Arial" pitchFamily="34" charset="0"/>
                <a:cs typeface="Lucida Sans Unicode" pitchFamily="34" charset="0"/>
              </a:defRPr>
            </a:lvl8pPr>
            <a:lvl9pPr marL="3886200" indent="-228600" eaLnBrk="0" fontAlgn="base" hangingPunct="0">
              <a:spcBef>
                <a:spcPct val="0"/>
              </a:spcBef>
              <a:spcAft>
                <a:spcPct val="0"/>
              </a:spcAft>
              <a:defRPr>
                <a:solidFill>
                  <a:schemeClr val="bg1"/>
                </a:solidFill>
                <a:latin typeface="Arial" pitchFamily="34" charset="0"/>
                <a:cs typeface="Lucida Sans Unicode" pitchFamily="34" charset="0"/>
              </a:defRPr>
            </a:lvl9pPr>
          </a:lstStyle>
          <a:p>
            <a:pPr algn="ctr" defTabSz="914400"/>
            <a:r>
              <a:rPr lang="en-GB" altLang="en-US" sz="1200" b="1" dirty="0">
                <a:solidFill>
                  <a:schemeClr val="tx1"/>
                </a:solidFill>
              </a:rPr>
              <a:t>UI Vision</a:t>
            </a:r>
          </a:p>
        </p:txBody>
      </p:sp>
      <p:sp>
        <p:nvSpPr>
          <p:cNvPr id="18" name="TextBox 80">
            <a:extLst>
              <a:ext uri="{FF2B5EF4-FFF2-40B4-BE49-F238E27FC236}">
                <a16:creationId xmlns:a16="http://schemas.microsoft.com/office/drawing/2014/main" id="{FF0547B1-6A72-594D-3712-F3959ED79C97}"/>
              </a:ext>
            </a:extLst>
          </p:cNvPr>
          <p:cNvSpPr txBox="1">
            <a:spLocks noChangeArrowheads="1"/>
          </p:cNvSpPr>
          <p:nvPr/>
        </p:nvSpPr>
        <p:spPr bwMode="auto">
          <a:xfrm>
            <a:off x="8857020" y="2943010"/>
            <a:ext cx="2352508" cy="1046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179388" indent="-179388">
              <a:defRPr>
                <a:solidFill>
                  <a:schemeClr val="bg1"/>
                </a:solidFill>
                <a:latin typeface="Arial" pitchFamily="34" charset="0"/>
                <a:cs typeface="Lucida Sans Unicode" pitchFamily="34" charset="0"/>
              </a:defRPr>
            </a:lvl1pPr>
            <a:lvl2pPr marL="742950" indent="-285750">
              <a:defRPr>
                <a:solidFill>
                  <a:schemeClr val="bg1"/>
                </a:solidFill>
                <a:latin typeface="Arial" pitchFamily="34" charset="0"/>
                <a:cs typeface="Lucida Sans Unicode" pitchFamily="34" charset="0"/>
              </a:defRPr>
            </a:lvl2pPr>
            <a:lvl3pPr>
              <a:defRPr>
                <a:solidFill>
                  <a:schemeClr val="bg1"/>
                </a:solidFill>
                <a:latin typeface="Arial" pitchFamily="34" charset="0"/>
                <a:cs typeface="Lucida Sans Unicode" pitchFamily="34" charset="0"/>
              </a:defRPr>
            </a:lvl3pPr>
            <a:lvl4pPr>
              <a:defRPr>
                <a:solidFill>
                  <a:schemeClr val="bg1"/>
                </a:solidFill>
                <a:latin typeface="Arial" pitchFamily="34" charset="0"/>
                <a:cs typeface="Lucida Sans Unicode" pitchFamily="34" charset="0"/>
              </a:defRPr>
            </a:lvl4pPr>
            <a:lvl5pPr>
              <a:defRPr>
                <a:solidFill>
                  <a:schemeClr val="bg1"/>
                </a:solidFill>
                <a:latin typeface="Arial" pitchFamily="34" charset="0"/>
                <a:cs typeface="Lucida Sans Unicode" pitchFamily="34" charset="0"/>
              </a:defRPr>
            </a:lvl5pPr>
            <a:lvl6pPr marL="2514600" indent="-228600" eaLnBrk="0" fontAlgn="base" hangingPunct="0">
              <a:spcBef>
                <a:spcPct val="0"/>
              </a:spcBef>
              <a:spcAft>
                <a:spcPct val="0"/>
              </a:spcAft>
              <a:defRPr>
                <a:solidFill>
                  <a:schemeClr val="bg1"/>
                </a:solidFill>
                <a:latin typeface="Arial" pitchFamily="34" charset="0"/>
                <a:cs typeface="Lucida Sans Unicode" pitchFamily="34" charset="0"/>
              </a:defRPr>
            </a:lvl6pPr>
            <a:lvl7pPr marL="2971800" indent="-228600" eaLnBrk="0" fontAlgn="base" hangingPunct="0">
              <a:spcBef>
                <a:spcPct val="0"/>
              </a:spcBef>
              <a:spcAft>
                <a:spcPct val="0"/>
              </a:spcAft>
              <a:defRPr>
                <a:solidFill>
                  <a:schemeClr val="bg1"/>
                </a:solidFill>
                <a:latin typeface="Arial" pitchFamily="34" charset="0"/>
                <a:cs typeface="Lucida Sans Unicode" pitchFamily="34" charset="0"/>
              </a:defRPr>
            </a:lvl7pPr>
            <a:lvl8pPr marL="3429000" indent="-228600" eaLnBrk="0" fontAlgn="base" hangingPunct="0">
              <a:spcBef>
                <a:spcPct val="0"/>
              </a:spcBef>
              <a:spcAft>
                <a:spcPct val="0"/>
              </a:spcAft>
              <a:defRPr>
                <a:solidFill>
                  <a:schemeClr val="bg1"/>
                </a:solidFill>
                <a:latin typeface="Arial" pitchFamily="34" charset="0"/>
                <a:cs typeface="Lucida Sans Unicode" pitchFamily="34" charset="0"/>
              </a:defRPr>
            </a:lvl8pPr>
            <a:lvl9pPr marL="3886200" indent="-228600" eaLnBrk="0" fontAlgn="base" hangingPunct="0">
              <a:spcBef>
                <a:spcPct val="0"/>
              </a:spcBef>
              <a:spcAft>
                <a:spcPct val="0"/>
              </a:spcAft>
              <a:defRPr>
                <a:solidFill>
                  <a:schemeClr val="bg1"/>
                </a:solidFill>
                <a:latin typeface="Arial" pitchFamily="34" charset="0"/>
                <a:cs typeface="Lucida Sans Unicode" pitchFamily="34" charset="0"/>
              </a:defRPr>
            </a:lvl9pPr>
          </a:lstStyle>
          <a:p>
            <a:pPr algn="just" defTabSz="914400">
              <a:spcBef>
                <a:spcPts val="600"/>
              </a:spcBef>
              <a:buFont typeface="Arial" pitchFamily="34" charset="0"/>
              <a:buChar char="•"/>
            </a:pPr>
            <a:r>
              <a:rPr lang="en-US" altLang="en-US" sz="1050" dirty="0">
                <a:solidFill>
                  <a:schemeClr val="tx1"/>
                </a:solidFill>
              </a:rPr>
              <a:t>This option is used to navigate to objects with the help of Image based capturing.</a:t>
            </a:r>
          </a:p>
          <a:p>
            <a:pPr algn="just" defTabSz="914400">
              <a:spcBef>
                <a:spcPts val="600"/>
              </a:spcBef>
              <a:buFont typeface="Arial" pitchFamily="34" charset="0"/>
              <a:buChar char="•"/>
            </a:pPr>
            <a:r>
              <a:rPr lang="en-US" altLang="en-US" sz="1050" dirty="0">
                <a:solidFill>
                  <a:schemeClr val="tx1"/>
                </a:solidFill>
              </a:rPr>
              <a:t>This method of creation includes snipping of object images, instead of any visual references.</a:t>
            </a:r>
          </a:p>
        </p:txBody>
      </p:sp>
      <p:cxnSp>
        <p:nvCxnSpPr>
          <p:cNvPr id="19" name="Straight Connector 18">
            <a:extLst>
              <a:ext uri="{FF2B5EF4-FFF2-40B4-BE49-F238E27FC236}">
                <a16:creationId xmlns:a16="http://schemas.microsoft.com/office/drawing/2014/main" id="{DAC0AC63-A22A-FCD2-7462-4A69BB9311DA}"/>
              </a:ext>
            </a:extLst>
          </p:cNvPr>
          <p:cNvCxnSpPr/>
          <p:nvPr/>
        </p:nvCxnSpPr>
        <p:spPr bwMode="auto">
          <a:xfrm>
            <a:off x="8857020" y="2841774"/>
            <a:ext cx="2286000" cy="2074"/>
          </a:xfrm>
          <a:prstGeom prst="line">
            <a:avLst/>
          </a:prstGeom>
          <a:ln w="19050">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170AFD3-A09A-4C80-6032-D2520450AA73}"/>
              </a:ext>
            </a:extLst>
          </p:cNvPr>
          <p:cNvCxnSpPr/>
          <p:nvPr/>
        </p:nvCxnSpPr>
        <p:spPr bwMode="auto">
          <a:xfrm>
            <a:off x="8857020" y="5887155"/>
            <a:ext cx="2286000" cy="0"/>
          </a:xfrm>
          <a:prstGeom prst="line">
            <a:avLst/>
          </a:prstGeom>
          <a:ln w="19050">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6820259"/>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2"/>
          <p:cNvSpPr txBox="1">
            <a:spLocks noChangeArrowheads="1"/>
          </p:cNvSpPr>
          <p:nvPr/>
        </p:nvSpPr>
        <p:spPr bwMode="auto">
          <a:xfrm>
            <a:off x="1629736" y="269923"/>
            <a:ext cx="8960110" cy="464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7500" tIns="35100" rIns="67500" bIns="35100" anchor="ctr"/>
          <a:lstStyle>
            <a:lvl1pPr eaLnBrk="0" hangingPunct="0">
              <a:lnSpc>
                <a:spcPct val="92000"/>
              </a:lnSpc>
              <a:spcBef>
                <a:spcPts val="800"/>
              </a:spcBef>
              <a:buClr>
                <a:srgbClr val="000000"/>
              </a:buClr>
              <a:buSzPct val="100000"/>
              <a:buFont typeface="Times New Roman" panose="02020603050405020304" pitchFamily="18" charset="0"/>
              <a:buChar char="•"/>
              <a:defRPr sz="3200">
                <a:solidFill>
                  <a:srgbClr val="000000"/>
                </a:solidFill>
                <a:latin typeface="Arial" panose="020B0604020202020204" pitchFamily="34" charset="0"/>
                <a:cs typeface="Lucida Sans Unicode" panose="020B0602030504020204" pitchFamily="34" charset="0"/>
              </a:defRPr>
            </a:lvl1pPr>
            <a:lvl2pPr marL="742950" indent="-285750" eaLnBrk="0" hangingPunct="0">
              <a:lnSpc>
                <a:spcPct val="92000"/>
              </a:lnSpc>
              <a:spcBef>
                <a:spcPts val="700"/>
              </a:spcBef>
              <a:buClr>
                <a:srgbClr val="000000"/>
              </a:buClr>
              <a:buSzPct val="100000"/>
              <a:buFont typeface="Times New Roman" panose="02020603050405020304" pitchFamily="18" charset="0"/>
              <a:buChar char="–"/>
              <a:defRPr sz="2800">
                <a:solidFill>
                  <a:srgbClr val="000000"/>
                </a:solidFill>
                <a:latin typeface="Arial" panose="020B0604020202020204" pitchFamily="34" charset="0"/>
                <a:cs typeface="Lucida Sans Unicode" panose="020B0602030504020204" pitchFamily="34" charset="0"/>
              </a:defRPr>
            </a:lvl2pPr>
            <a:lvl3pPr eaLnBrk="0" hangingPunct="0">
              <a:lnSpc>
                <a:spcPct val="92000"/>
              </a:lnSpc>
              <a:spcBef>
                <a:spcPts val="600"/>
              </a:spcBef>
              <a:buClr>
                <a:srgbClr val="000000"/>
              </a:buClr>
              <a:buSzPct val="100000"/>
              <a:buFont typeface="Times New Roman" panose="02020603050405020304" pitchFamily="18" charset="0"/>
              <a:buChar char="•"/>
              <a:defRPr sz="2400">
                <a:solidFill>
                  <a:srgbClr val="000000"/>
                </a:solidFill>
                <a:latin typeface="Arial" panose="020B0604020202020204" pitchFamily="34" charset="0"/>
                <a:cs typeface="Lucida Sans Unicode" panose="020B0602030504020204" pitchFamily="34" charset="0"/>
              </a:defRPr>
            </a:lvl3pPr>
            <a:lvl4pPr eaLnBrk="0" hangingPunct="0">
              <a:lnSpc>
                <a:spcPct val="92000"/>
              </a:lnSpc>
              <a:spcBef>
                <a:spcPts val="500"/>
              </a:spcBef>
              <a:buClr>
                <a:srgbClr val="000000"/>
              </a:buClr>
              <a:buSzPct val="100000"/>
              <a:buFont typeface="Times New Roman" panose="02020603050405020304" pitchFamily="18" charset="0"/>
              <a:buChar char="–"/>
              <a:defRPr sz="2000">
                <a:solidFill>
                  <a:srgbClr val="000000"/>
                </a:solidFill>
                <a:latin typeface="Arial" panose="020B0604020202020204" pitchFamily="34" charset="0"/>
                <a:cs typeface="Lucida Sans Unicode" panose="020B0602030504020204" pitchFamily="34" charset="0"/>
              </a:defRPr>
            </a:lvl4pPr>
            <a:lvl5pPr eaLnBrk="0" hangingPunct="0">
              <a:lnSpc>
                <a:spcPct val="92000"/>
              </a:lnSpc>
              <a:spcBef>
                <a:spcPts val="500"/>
              </a:spcBef>
              <a:buClr>
                <a:srgbClr val="000000"/>
              </a:buClr>
              <a:buSzPct val="100000"/>
              <a:buFont typeface="Times New Roman" panose="02020603050405020304" pitchFamily="18" charset="0"/>
              <a:buChar char="»"/>
              <a:defRPr sz="2000">
                <a:solidFill>
                  <a:srgbClr val="000000"/>
                </a:solidFill>
                <a:latin typeface="Arial" panose="020B0604020202020204" pitchFamily="34" charset="0"/>
                <a:cs typeface="Lucida Sans Unicode" panose="020B0602030504020204" pitchFamily="34" charset="0"/>
              </a:defRPr>
            </a:lvl5pPr>
            <a:lvl6pPr marL="2514600" indent="-228600" defTabSz="457200" eaLnBrk="0" fontAlgn="base" hangingPunct="0">
              <a:lnSpc>
                <a:spcPct val="92000"/>
              </a:lnSpc>
              <a:spcBef>
                <a:spcPts val="500"/>
              </a:spcBef>
              <a:spcAft>
                <a:spcPct val="0"/>
              </a:spcAft>
              <a:buClr>
                <a:srgbClr val="000000"/>
              </a:buClr>
              <a:buSzPct val="100000"/>
              <a:buFont typeface="Times New Roman" panose="02020603050405020304" pitchFamily="18" charset="0"/>
              <a:buChar char="»"/>
              <a:defRPr sz="2000">
                <a:solidFill>
                  <a:srgbClr val="000000"/>
                </a:solidFill>
                <a:latin typeface="Arial" panose="020B0604020202020204" pitchFamily="34" charset="0"/>
                <a:cs typeface="Lucida Sans Unicode" panose="020B0602030504020204" pitchFamily="34" charset="0"/>
              </a:defRPr>
            </a:lvl6pPr>
            <a:lvl7pPr marL="2971800" indent="-228600" defTabSz="457200" eaLnBrk="0" fontAlgn="base" hangingPunct="0">
              <a:lnSpc>
                <a:spcPct val="92000"/>
              </a:lnSpc>
              <a:spcBef>
                <a:spcPts val="500"/>
              </a:spcBef>
              <a:spcAft>
                <a:spcPct val="0"/>
              </a:spcAft>
              <a:buClr>
                <a:srgbClr val="000000"/>
              </a:buClr>
              <a:buSzPct val="100000"/>
              <a:buFont typeface="Times New Roman" panose="02020603050405020304" pitchFamily="18" charset="0"/>
              <a:buChar char="»"/>
              <a:defRPr sz="2000">
                <a:solidFill>
                  <a:srgbClr val="000000"/>
                </a:solidFill>
                <a:latin typeface="Arial" panose="020B0604020202020204" pitchFamily="34" charset="0"/>
                <a:cs typeface="Lucida Sans Unicode" panose="020B0602030504020204" pitchFamily="34" charset="0"/>
              </a:defRPr>
            </a:lvl7pPr>
            <a:lvl8pPr marL="3429000" indent="-228600" defTabSz="457200" eaLnBrk="0" fontAlgn="base" hangingPunct="0">
              <a:lnSpc>
                <a:spcPct val="92000"/>
              </a:lnSpc>
              <a:spcBef>
                <a:spcPts val="500"/>
              </a:spcBef>
              <a:spcAft>
                <a:spcPct val="0"/>
              </a:spcAft>
              <a:buClr>
                <a:srgbClr val="000000"/>
              </a:buClr>
              <a:buSzPct val="100000"/>
              <a:buFont typeface="Times New Roman" panose="02020603050405020304" pitchFamily="18" charset="0"/>
              <a:buChar char="»"/>
              <a:defRPr sz="2000">
                <a:solidFill>
                  <a:srgbClr val="000000"/>
                </a:solidFill>
                <a:latin typeface="Arial" panose="020B0604020202020204" pitchFamily="34" charset="0"/>
                <a:cs typeface="Lucida Sans Unicode" panose="020B0602030504020204" pitchFamily="34" charset="0"/>
              </a:defRPr>
            </a:lvl8pPr>
            <a:lvl9pPr marL="3886200" indent="-228600" defTabSz="457200" eaLnBrk="0" fontAlgn="base" hangingPunct="0">
              <a:lnSpc>
                <a:spcPct val="92000"/>
              </a:lnSpc>
              <a:spcBef>
                <a:spcPts val="500"/>
              </a:spcBef>
              <a:spcAft>
                <a:spcPct val="0"/>
              </a:spcAft>
              <a:buClr>
                <a:srgbClr val="000000"/>
              </a:buClr>
              <a:buSzPct val="100000"/>
              <a:buFont typeface="Times New Roman" panose="02020603050405020304" pitchFamily="18" charset="0"/>
              <a:buChar char="»"/>
              <a:defRPr sz="2000">
                <a:solidFill>
                  <a:srgbClr val="000000"/>
                </a:solidFill>
                <a:latin typeface="Arial" panose="020B0604020202020204" pitchFamily="34" charset="0"/>
                <a:cs typeface="Lucida Sans Unicode" panose="020B0602030504020204" pitchFamily="34" charset="0"/>
              </a:defRPr>
            </a:lvl9pPr>
          </a:lstStyle>
          <a:p>
            <a:pPr eaLnBrk="1" hangingPunct="1">
              <a:spcBef>
                <a:spcPct val="0"/>
              </a:spcBef>
              <a:buFontTx/>
              <a:buNone/>
            </a:pPr>
            <a:br>
              <a:rPr lang="en-GB" altLang="en-US" sz="2400" dirty="0">
                <a:solidFill>
                  <a:srgbClr val="FF6600"/>
                </a:solidFill>
              </a:rPr>
            </a:br>
            <a:endParaRPr lang="en-GB" altLang="en-US" sz="2400" dirty="0">
              <a:solidFill>
                <a:srgbClr val="FF6600"/>
              </a:solidFill>
            </a:endParaRPr>
          </a:p>
          <a:p>
            <a:pPr eaLnBrk="1" hangingPunct="1">
              <a:lnSpc>
                <a:spcPct val="100000"/>
              </a:lnSpc>
              <a:spcBef>
                <a:spcPct val="0"/>
              </a:spcBef>
              <a:buClrTx/>
              <a:buSzTx/>
              <a:buFontTx/>
              <a:buNone/>
            </a:pPr>
            <a:r>
              <a:rPr lang="en-GB" sz="2800" dirty="0">
                <a:solidFill>
                  <a:srgbClr val="FF6600"/>
                </a:solidFill>
                <a:cs typeface="Arial" pitchFamily="34" charset="0"/>
              </a:rPr>
              <a:t>    </a:t>
            </a:r>
            <a:r>
              <a:rPr lang="en-GB" sz="2800" dirty="0" err="1">
                <a:solidFill>
                  <a:srgbClr val="FF6600"/>
                </a:solidFill>
                <a:cs typeface="Arial" pitchFamily="34" charset="0"/>
              </a:rPr>
              <a:t>TestMagic</a:t>
            </a:r>
            <a:r>
              <a:rPr lang="en-GB" sz="2800" baseline="30000" dirty="0" err="1">
                <a:solidFill>
                  <a:srgbClr val="FF6600"/>
                </a:solidFill>
                <a:cs typeface="Arial" pitchFamily="34" charset="0"/>
              </a:rPr>
              <a:t>TM</a:t>
            </a:r>
            <a:r>
              <a:rPr lang="en-GB" sz="2800" dirty="0">
                <a:solidFill>
                  <a:srgbClr val="FF6600"/>
                </a:solidFill>
                <a:cs typeface="Arial" pitchFamily="34" charset="0"/>
              </a:rPr>
              <a:t> </a:t>
            </a:r>
            <a:r>
              <a:rPr lang="en-US" altLang="en-US" sz="2800" dirty="0">
                <a:solidFill>
                  <a:srgbClr val="FF6600"/>
                </a:solidFill>
                <a:cs typeface="Arial" pitchFamily="34" charset="0"/>
              </a:rPr>
              <a:t> - Business Process Workflow Overview</a:t>
            </a:r>
          </a:p>
          <a:p>
            <a:pPr eaLnBrk="1" hangingPunct="1">
              <a:spcBef>
                <a:spcPct val="0"/>
              </a:spcBef>
              <a:buFont typeface="Times New Roman" panose="02020603050405020304" pitchFamily="18" charset="0"/>
              <a:buNone/>
            </a:pPr>
            <a:br>
              <a:rPr lang="en-US" altLang="en-US" sz="2700" dirty="0">
                <a:solidFill>
                  <a:srgbClr val="FF6600"/>
                </a:solidFill>
              </a:rPr>
            </a:br>
            <a:endParaRPr lang="en-US" altLang="en-US" sz="2400" dirty="0">
              <a:solidFill>
                <a:srgbClr val="FF6600"/>
              </a:solidFill>
            </a:endParaRPr>
          </a:p>
        </p:txBody>
      </p:sp>
      <p:pic>
        <p:nvPicPr>
          <p:cNvPr id="15" name="Picture 5">
            <a:extLst>
              <a:ext uri="{FF2B5EF4-FFF2-40B4-BE49-F238E27FC236}">
                <a16:creationId xmlns:a16="http://schemas.microsoft.com/office/drawing/2014/main" id="{08C7339D-BC00-4BE7-A7C7-D6BEF898D22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27792" y="301183"/>
            <a:ext cx="334963" cy="304800"/>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D76B72C3-2E2A-44EC-AA97-42259A71ADBB}"/>
              </a:ext>
            </a:extLst>
          </p:cNvPr>
          <p:cNvPicPr>
            <a:picLocks noChangeAspect="1"/>
          </p:cNvPicPr>
          <p:nvPr/>
        </p:nvPicPr>
        <p:blipFill>
          <a:blip r:embed="rId4"/>
          <a:stretch>
            <a:fillRect/>
          </a:stretch>
        </p:blipFill>
        <p:spPr>
          <a:xfrm>
            <a:off x="1727792" y="1082798"/>
            <a:ext cx="4581525" cy="2847975"/>
          </a:xfrm>
          <a:prstGeom prst="rect">
            <a:avLst/>
          </a:prstGeom>
        </p:spPr>
      </p:pic>
      <p:pic>
        <p:nvPicPr>
          <p:cNvPr id="3" name="Picture 2">
            <a:extLst>
              <a:ext uri="{FF2B5EF4-FFF2-40B4-BE49-F238E27FC236}">
                <a16:creationId xmlns:a16="http://schemas.microsoft.com/office/drawing/2014/main" id="{324A39C2-A8BF-4BF2-BC62-8FC90ED7C096}"/>
              </a:ext>
            </a:extLst>
          </p:cNvPr>
          <p:cNvPicPr>
            <a:picLocks noChangeAspect="1"/>
          </p:cNvPicPr>
          <p:nvPr/>
        </p:nvPicPr>
        <p:blipFill>
          <a:blip r:embed="rId5"/>
          <a:stretch>
            <a:fillRect/>
          </a:stretch>
        </p:blipFill>
        <p:spPr>
          <a:xfrm>
            <a:off x="2445709" y="4024557"/>
            <a:ext cx="7017808" cy="1920240"/>
          </a:xfrm>
          <a:prstGeom prst="rect">
            <a:avLst/>
          </a:prstGeom>
        </p:spPr>
      </p:pic>
    </p:spTree>
    <p:extLst>
      <p:ext uri="{BB962C8B-B14F-4D97-AF65-F5344CB8AC3E}">
        <p14:creationId xmlns:p14="http://schemas.microsoft.com/office/powerpoint/2010/main" val="19292247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2"/>
          <p:cNvSpPr txBox="1">
            <a:spLocks noChangeArrowheads="1"/>
          </p:cNvSpPr>
          <p:nvPr/>
        </p:nvSpPr>
        <p:spPr bwMode="auto">
          <a:xfrm>
            <a:off x="1629736" y="269923"/>
            <a:ext cx="8960110" cy="464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7500" tIns="35100" rIns="67500" bIns="35100" anchor="ctr"/>
          <a:lstStyle>
            <a:lvl1pPr eaLnBrk="0" hangingPunct="0">
              <a:lnSpc>
                <a:spcPct val="92000"/>
              </a:lnSpc>
              <a:spcBef>
                <a:spcPts val="800"/>
              </a:spcBef>
              <a:buClr>
                <a:srgbClr val="000000"/>
              </a:buClr>
              <a:buSzPct val="100000"/>
              <a:buFont typeface="Times New Roman" panose="02020603050405020304" pitchFamily="18" charset="0"/>
              <a:buChar char="•"/>
              <a:defRPr sz="3200">
                <a:solidFill>
                  <a:srgbClr val="000000"/>
                </a:solidFill>
                <a:latin typeface="Arial" panose="020B0604020202020204" pitchFamily="34" charset="0"/>
                <a:cs typeface="Lucida Sans Unicode" panose="020B0602030504020204" pitchFamily="34" charset="0"/>
              </a:defRPr>
            </a:lvl1pPr>
            <a:lvl2pPr marL="742950" indent="-285750" eaLnBrk="0" hangingPunct="0">
              <a:lnSpc>
                <a:spcPct val="92000"/>
              </a:lnSpc>
              <a:spcBef>
                <a:spcPts val="700"/>
              </a:spcBef>
              <a:buClr>
                <a:srgbClr val="000000"/>
              </a:buClr>
              <a:buSzPct val="100000"/>
              <a:buFont typeface="Times New Roman" panose="02020603050405020304" pitchFamily="18" charset="0"/>
              <a:buChar char="–"/>
              <a:defRPr sz="2800">
                <a:solidFill>
                  <a:srgbClr val="000000"/>
                </a:solidFill>
                <a:latin typeface="Arial" panose="020B0604020202020204" pitchFamily="34" charset="0"/>
                <a:cs typeface="Lucida Sans Unicode" panose="020B0602030504020204" pitchFamily="34" charset="0"/>
              </a:defRPr>
            </a:lvl2pPr>
            <a:lvl3pPr eaLnBrk="0" hangingPunct="0">
              <a:lnSpc>
                <a:spcPct val="92000"/>
              </a:lnSpc>
              <a:spcBef>
                <a:spcPts val="600"/>
              </a:spcBef>
              <a:buClr>
                <a:srgbClr val="000000"/>
              </a:buClr>
              <a:buSzPct val="100000"/>
              <a:buFont typeface="Times New Roman" panose="02020603050405020304" pitchFamily="18" charset="0"/>
              <a:buChar char="•"/>
              <a:defRPr sz="2400">
                <a:solidFill>
                  <a:srgbClr val="000000"/>
                </a:solidFill>
                <a:latin typeface="Arial" panose="020B0604020202020204" pitchFamily="34" charset="0"/>
                <a:cs typeface="Lucida Sans Unicode" panose="020B0602030504020204" pitchFamily="34" charset="0"/>
              </a:defRPr>
            </a:lvl3pPr>
            <a:lvl4pPr eaLnBrk="0" hangingPunct="0">
              <a:lnSpc>
                <a:spcPct val="92000"/>
              </a:lnSpc>
              <a:spcBef>
                <a:spcPts val="500"/>
              </a:spcBef>
              <a:buClr>
                <a:srgbClr val="000000"/>
              </a:buClr>
              <a:buSzPct val="100000"/>
              <a:buFont typeface="Times New Roman" panose="02020603050405020304" pitchFamily="18" charset="0"/>
              <a:buChar char="–"/>
              <a:defRPr sz="2000">
                <a:solidFill>
                  <a:srgbClr val="000000"/>
                </a:solidFill>
                <a:latin typeface="Arial" panose="020B0604020202020204" pitchFamily="34" charset="0"/>
                <a:cs typeface="Lucida Sans Unicode" panose="020B0602030504020204" pitchFamily="34" charset="0"/>
              </a:defRPr>
            </a:lvl4pPr>
            <a:lvl5pPr eaLnBrk="0" hangingPunct="0">
              <a:lnSpc>
                <a:spcPct val="92000"/>
              </a:lnSpc>
              <a:spcBef>
                <a:spcPts val="500"/>
              </a:spcBef>
              <a:buClr>
                <a:srgbClr val="000000"/>
              </a:buClr>
              <a:buSzPct val="100000"/>
              <a:buFont typeface="Times New Roman" panose="02020603050405020304" pitchFamily="18" charset="0"/>
              <a:buChar char="»"/>
              <a:defRPr sz="2000">
                <a:solidFill>
                  <a:srgbClr val="000000"/>
                </a:solidFill>
                <a:latin typeface="Arial" panose="020B0604020202020204" pitchFamily="34" charset="0"/>
                <a:cs typeface="Lucida Sans Unicode" panose="020B0602030504020204" pitchFamily="34" charset="0"/>
              </a:defRPr>
            </a:lvl5pPr>
            <a:lvl6pPr marL="2514600" indent="-228600" defTabSz="457200" eaLnBrk="0" fontAlgn="base" hangingPunct="0">
              <a:lnSpc>
                <a:spcPct val="92000"/>
              </a:lnSpc>
              <a:spcBef>
                <a:spcPts val="500"/>
              </a:spcBef>
              <a:spcAft>
                <a:spcPct val="0"/>
              </a:spcAft>
              <a:buClr>
                <a:srgbClr val="000000"/>
              </a:buClr>
              <a:buSzPct val="100000"/>
              <a:buFont typeface="Times New Roman" panose="02020603050405020304" pitchFamily="18" charset="0"/>
              <a:buChar char="»"/>
              <a:defRPr sz="2000">
                <a:solidFill>
                  <a:srgbClr val="000000"/>
                </a:solidFill>
                <a:latin typeface="Arial" panose="020B0604020202020204" pitchFamily="34" charset="0"/>
                <a:cs typeface="Lucida Sans Unicode" panose="020B0602030504020204" pitchFamily="34" charset="0"/>
              </a:defRPr>
            </a:lvl6pPr>
            <a:lvl7pPr marL="2971800" indent="-228600" defTabSz="457200" eaLnBrk="0" fontAlgn="base" hangingPunct="0">
              <a:lnSpc>
                <a:spcPct val="92000"/>
              </a:lnSpc>
              <a:spcBef>
                <a:spcPts val="500"/>
              </a:spcBef>
              <a:spcAft>
                <a:spcPct val="0"/>
              </a:spcAft>
              <a:buClr>
                <a:srgbClr val="000000"/>
              </a:buClr>
              <a:buSzPct val="100000"/>
              <a:buFont typeface="Times New Roman" panose="02020603050405020304" pitchFamily="18" charset="0"/>
              <a:buChar char="»"/>
              <a:defRPr sz="2000">
                <a:solidFill>
                  <a:srgbClr val="000000"/>
                </a:solidFill>
                <a:latin typeface="Arial" panose="020B0604020202020204" pitchFamily="34" charset="0"/>
                <a:cs typeface="Lucida Sans Unicode" panose="020B0602030504020204" pitchFamily="34" charset="0"/>
              </a:defRPr>
            </a:lvl7pPr>
            <a:lvl8pPr marL="3429000" indent="-228600" defTabSz="457200" eaLnBrk="0" fontAlgn="base" hangingPunct="0">
              <a:lnSpc>
                <a:spcPct val="92000"/>
              </a:lnSpc>
              <a:spcBef>
                <a:spcPts val="500"/>
              </a:spcBef>
              <a:spcAft>
                <a:spcPct val="0"/>
              </a:spcAft>
              <a:buClr>
                <a:srgbClr val="000000"/>
              </a:buClr>
              <a:buSzPct val="100000"/>
              <a:buFont typeface="Times New Roman" panose="02020603050405020304" pitchFamily="18" charset="0"/>
              <a:buChar char="»"/>
              <a:defRPr sz="2000">
                <a:solidFill>
                  <a:srgbClr val="000000"/>
                </a:solidFill>
                <a:latin typeface="Arial" panose="020B0604020202020204" pitchFamily="34" charset="0"/>
                <a:cs typeface="Lucida Sans Unicode" panose="020B0602030504020204" pitchFamily="34" charset="0"/>
              </a:defRPr>
            </a:lvl8pPr>
            <a:lvl9pPr marL="3886200" indent="-228600" defTabSz="457200" eaLnBrk="0" fontAlgn="base" hangingPunct="0">
              <a:lnSpc>
                <a:spcPct val="92000"/>
              </a:lnSpc>
              <a:spcBef>
                <a:spcPts val="500"/>
              </a:spcBef>
              <a:spcAft>
                <a:spcPct val="0"/>
              </a:spcAft>
              <a:buClr>
                <a:srgbClr val="000000"/>
              </a:buClr>
              <a:buSzPct val="100000"/>
              <a:buFont typeface="Times New Roman" panose="02020603050405020304" pitchFamily="18" charset="0"/>
              <a:buChar char="»"/>
              <a:defRPr sz="2000">
                <a:solidFill>
                  <a:srgbClr val="000000"/>
                </a:solidFill>
                <a:latin typeface="Arial" panose="020B0604020202020204" pitchFamily="34" charset="0"/>
                <a:cs typeface="Lucida Sans Unicode" panose="020B0602030504020204" pitchFamily="34" charset="0"/>
              </a:defRPr>
            </a:lvl9pPr>
          </a:lstStyle>
          <a:p>
            <a:pPr eaLnBrk="1" hangingPunct="1">
              <a:spcBef>
                <a:spcPct val="0"/>
              </a:spcBef>
              <a:buFontTx/>
              <a:buNone/>
            </a:pPr>
            <a:br>
              <a:rPr lang="en-GB" altLang="en-US" sz="2400" dirty="0">
                <a:solidFill>
                  <a:srgbClr val="FF6600"/>
                </a:solidFill>
              </a:rPr>
            </a:br>
            <a:endParaRPr lang="en-GB" altLang="en-US" sz="2400" dirty="0">
              <a:solidFill>
                <a:srgbClr val="FF6600"/>
              </a:solidFill>
            </a:endParaRPr>
          </a:p>
          <a:p>
            <a:pPr eaLnBrk="1" hangingPunct="1">
              <a:lnSpc>
                <a:spcPct val="100000"/>
              </a:lnSpc>
              <a:spcBef>
                <a:spcPct val="0"/>
              </a:spcBef>
              <a:buClrTx/>
              <a:buSzTx/>
              <a:buFontTx/>
              <a:buNone/>
            </a:pPr>
            <a:r>
              <a:rPr lang="en-GB" sz="2800" dirty="0">
                <a:solidFill>
                  <a:srgbClr val="FF6600"/>
                </a:solidFill>
                <a:cs typeface="Arial" pitchFamily="34" charset="0"/>
              </a:rPr>
              <a:t>    </a:t>
            </a:r>
            <a:r>
              <a:rPr lang="en-GB" sz="2800" dirty="0" err="1">
                <a:solidFill>
                  <a:srgbClr val="FF6600"/>
                </a:solidFill>
                <a:cs typeface="Arial" pitchFamily="34" charset="0"/>
              </a:rPr>
              <a:t>TestMagic</a:t>
            </a:r>
            <a:r>
              <a:rPr lang="en-GB" sz="2800" baseline="30000" dirty="0" err="1">
                <a:solidFill>
                  <a:srgbClr val="FF6600"/>
                </a:solidFill>
                <a:cs typeface="Arial" pitchFamily="34" charset="0"/>
              </a:rPr>
              <a:t>TM</a:t>
            </a:r>
            <a:r>
              <a:rPr lang="en-GB" sz="2800" dirty="0">
                <a:solidFill>
                  <a:srgbClr val="FF6600"/>
                </a:solidFill>
                <a:cs typeface="Arial" pitchFamily="34" charset="0"/>
              </a:rPr>
              <a:t> </a:t>
            </a:r>
            <a:r>
              <a:rPr lang="en-US" altLang="en-US" sz="2800" dirty="0">
                <a:solidFill>
                  <a:srgbClr val="FF6600"/>
                </a:solidFill>
                <a:cs typeface="Arial" pitchFamily="34" charset="0"/>
              </a:rPr>
              <a:t> - Business Process Workflow Overview</a:t>
            </a:r>
          </a:p>
          <a:p>
            <a:pPr eaLnBrk="1" hangingPunct="1">
              <a:spcBef>
                <a:spcPct val="0"/>
              </a:spcBef>
              <a:buFont typeface="Times New Roman" panose="02020603050405020304" pitchFamily="18" charset="0"/>
              <a:buNone/>
            </a:pPr>
            <a:br>
              <a:rPr lang="en-US" altLang="en-US" sz="2700" dirty="0">
                <a:solidFill>
                  <a:srgbClr val="FF6600"/>
                </a:solidFill>
              </a:rPr>
            </a:br>
            <a:endParaRPr lang="en-US" altLang="en-US" sz="2400" dirty="0">
              <a:solidFill>
                <a:srgbClr val="FF6600"/>
              </a:solidFill>
            </a:endParaRPr>
          </a:p>
        </p:txBody>
      </p:sp>
      <p:pic>
        <p:nvPicPr>
          <p:cNvPr id="15" name="Picture 5">
            <a:extLst>
              <a:ext uri="{FF2B5EF4-FFF2-40B4-BE49-F238E27FC236}">
                <a16:creationId xmlns:a16="http://schemas.microsoft.com/office/drawing/2014/main" id="{08C7339D-BC00-4BE7-A7C7-D6BEF898D22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27792" y="301183"/>
            <a:ext cx="334963" cy="30480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F379C625-76FB-4E1E-BB07-46BB903D0C9E}"/>
              </a:ext>
            </a:extLst>
          </p:cNvPr>
          <p:cNvPicPr>
            <a:picLocks noChangeAspect="1"/>
          </p:cNvPicPr>
          <p:nvPr/>
        </p:nvPicPr>
        <p:blipFill>
          <a:blip r:embed="rId4"/>
          <a:stretch>
            <a:fillRect/>
          </a:stretch>
        </p:blipFill>
        <p:spPr>
          <a:xfrm>
            <a:off x="2328868" y="964100"/>
            <a:ext cx="3246966" cy="4846320"/>
          </a:xfrm>
          <a:prstGeom prst="rect">
            <a:avLst/>
          </a:prstGeom>
        </p:spPr>
      </p:pic>
      <p:pic>
        <p:nvPicPr>
          <p:cNvPr id="5" name="Picture 4">
            <a:extLst>
              <a:ext uri="{FF2B5EF4-FFF2-40B4-BE49-F238E27FC236}">
                <a16:creationId xmlns:a16="http://schemas.microsoft.com/office/drawing/2014/main" id="{60F10246-3A85-4652-B32D-4F216FF1B666}"/>
              </a:ext>
            </a:extLst>
          </p:cNvPr>
          <p:cNvPicPr>
            <a:picLocks noChangeAspect="1"/>
          </p:cNvPicPr>
          <p:nvPr/>
        </p:nvPicPr>
        <p:blipFill>
          <a:blip r:embed="rId5"/>
          <a:stretch>
            <a:fillRect/>
          </a:stretch>
        </p:blipFill>
        <p:spPr>
          <a:xfrm>
            <a:off x="6215178" y="964100"/>
            <a:ext cx="3647954" cy="4663440"/>
          </a:xfrm>
          <a:prstGeom prst="rect">
            <a:avLst/>
          </a:prstGeom>
        </p:spPr>
      </p:pic>
      <p:sp>
        <p:nvSpPr>
          <p:cNvPr id="6" name="Flowchart: Terminator 5">
            <a:extLst>
              <a:ext uri="{FF2B5EF4-FFF2-40B4-BE49-F238E27FC236}">
                <a16:creationId xmlns:a16="http://schemas.microsoft.com/office/drawing/2014/main" id="{EA8EDC97-3941-4CBF-9391-F4478342DF0E}"/>
              </a:ext>
            </a:extLst>
          </p:cNvPr>
          <p:cNvSpPr/>
          <p:nvPr/>
        </p:nvSpPr>
        <p:spPr bwMode="auto">
          <a:xfrm>
            <a:off x="6557109" y="5205047"/>
            <a:ext cx="1477107" cy="273539"/>
          </a:xfrm>
          <a:prstGeom prst="flowChartTerminator">
            <a:avLst/>
          </a:prstGeom>
          <a:noFill/>
          <a:ln w="38100" cap="flat" cmpd="sng" algn="ctr">
            <a:solidFill>
              <a:srgbClr val="FF66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457200" fontAlgn="base">
              <a:lnSpc>
                <a:spcPct val="92000"/>
              </a:lnSpc>
              <a:spcBef>
                <a:spcPct val="0"/>
              </a:spcBef>
              <a:spcAft>
                <a:spcPct val="0"/>
              </a:spcAft>
              <a:buClr>
                <a:srgbClr val="000000"/>
              </a:buClr>
              <a:buSzPct val="100000"/>
            </a:pPr>
            <a:endParaRPr lang="en-US">
              <a:solidFill>
                <a:schemeClr val="bg1"/>
              </a:solidFill>
              <a:latin typeface="Arial" charset="0"/>
              <a:cs typeface="Lucida Sans Unicode" pitchFamily="34" charset="0"/>
            </a:endParaRPr>
          </a:p>
        </p:txBody>
      </p:sp>
      <p:sp>
        <p:nvSpPr>
          <p:cNvPr id="10" name="Flowchart: Terminator 9">
            <a:extLst>
              <a:ext uri="{FF2B5EF4-FFF2-40B4-BE49-F238E27FC236}">
                <a16:creationId xmlns:a16="http://schemas.microsoft.com/office/drawing/2014/main" id="{C32851D8-2F4F-4D97-99E1-7C30418FAE86}"/>
              </a:ext>
            </a:extLst>
          </p:cNvPr>
          <p:cNvSpPr/>
          <p:nvPr/>
        </p:nvSpPr>
        <p:spPr bwMode="auto">
          <a:xfrm>
            <a:off x="2614248" y="2794001"/>
            <a:ext cx="1477107" cy="273539"/>
          </a:xfrm>
          <a:prstGeom prst="flowChartTerminator">
            <a:avLst/>
          </a:prstGeom>
          <a:noFill/>
          <a:ln w="38100" cap="flat" cmpd="sng" algn="ctr">
            <a:solidFill>
              <a:srgbClr val="FF66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457200" fontAlgn="base">
              <a:lnSpc>
                <a:spcPct val="92000"/>
              </a:lnSpc>
              <a:spcBef>
                <a:spcPct val="0"/>
              </a:spcBef>
              <a:spcAft>
                <a:spcPct val="0"/>
              </a:spcAft>
              <a:buClr>
                <a:srgbClr val="000000"/>
              </a:buClr>
              <a:buSzPct val="100000"/>
            </a:pPr>
            <a:endParaRPr lang="en-US">
              <a:solidFill>
                <a:schemeClr val="bg1"/>
              </a:solidFill>
              <a:latin typeface="Arial" charset="0"/>
              <a:cs typeface="Lucida Sans Unicode" pitchFamily="34" charset="0"/>
            </a:endParaRPr>
          </a:p>
        </p:txBody>
      </p:sp>
    </p:spTree>
    <p:extLst>
      <p:ext uri="{BB962C8B-B14F-4D97-AF65-F5344CB8AC3E}">
        <p14:creationId xmlns:p14="http://schemas.microsoft.com/office/powerpoint/2010/main" val="32655621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VzeTh3CTKKM6nNqx0IH7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ver and End Slide Master">
  <a:themeElements>
    <a:clrScheme name="AI">
      <a:dk1>
        <a:sysClr val="windowText" lastClr="000000"/>
      </a:dk1>
      <a:lt1>
        <a:sysClr val="window" lastClr="FFFFFF"/>
      </a:lt1>
      <a:dk2>
        <a:srgbClr val="44546A"/>
      </a:dk2>
      <a:lt2>
        <a:srgbClr val="E7E6E6"/>
      </a:lt2>
      <a:accent1>
        <a:srgbClr val="87ADDB"/>
      </a:accent1>
      <a:accent2>
        <a:srgbClr val="FEDC04"/>
      </a:accent2>
      <a:accent3>
        <a:srgbClr val="F77660"/>
      </a:accent3>
      <a:accent4>
        <a:srgbClr val="4C93DF"/>
      </a:accent4>
      <a:accent5>
        <a:srgbClr val="555A5C"/>
      </a:accent5>
      <a:accent6>
        <a:srgbClr val="737474"/>
      </a:accent6>
      <a:hlink>
        <a:srgbClr val="D8D8D8"/>
      </a:hlink>
      <a:folHlink>
        <a:srgbClr val="D8D8D8"/>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ntents Slide Master">
  <a:themeElements>
    <a:clrScheme name="ALLPPT-Artificial Intelligence">
      <a:dk1>
        <a:sysClr val="windowText" lastClr="000000"/>
      </a:dk1>
      <a:lt1>
        <a:sysClr val="window" lastClr="FFFFFF"/>
      </a:lt1>
      <a:dk2>
        <a:srgbClr val="44546A"/>
      </a:dk2>
      <a:lt2>
        <a:srgbClr val="E7E6E6"/>
      </a:lt2>
      <a:accent1>
        <a:srgbClr val="87ADDB"/>
      </a:accent1>
      <a:accent2>
        <a:srgbClr val="FEDC04"/>
      </a:accent2>
      <a:accent3>
        <a:srgbClr val="4C93DF"/>
      </a:accent3>
      <a:accent4>
        <a:srgbClr val="F77660"/>
      </a:accent4>
      <a:accent5>
        <a:srgbClr val="555A5C"/>
      </a:accent5>
      <a:accent6>
        <a:srgbClr val="737474"/>
      </a:accent6>
      <a:hlink>
        <a:srgbClr val="D8D8D8"/>
      </a:hlink>
      <a:folHlink>
        <a:srgbClr val="D8D8D8"/>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Section Break Slide Master">
  <a:themeElements>
    <a:clrScheme name="ALLPPT-Artificial Intelligence">
      <a:dk1>
        <a:sysClr val="windowText" lastClr="000000"/>
      </a:dk1>
      <a:lt1>
        <a:sysClr val="window" lastClr="FFFFFF"/>
      </a:lt1>
      <a:dk2>
        <a:srgbClr val="44546A"/>
      </a:dk2>
      <a:lt2>
        <a:srgbClr val="E7E6E6"/>
      </a:lt2>
      <a:accent1>
        <a:srgbClr val="87ADDB"/>
      </a:accent1>
      <a:accent2>
        <a:srgbClr val="FEDC04"/>
      </a:accent2>
      <a:accent3>
        <a:srgbClr val="F77660"/>
      </a:accent3>
      <a:accent4>
        <a:srgbClr val="4C93DF"/>
      </a:accent4>
      <a:accent5>
        <a:srgbClr val="555A5C"/>
      </a:accent5>
      <a:accent6>
        <a:srgbClr val="737474"/>
      </a:accent6>
      <a:hlink>
        <a:srgbClr val="D8D8D8"/>
      </a:hlink>
      <a:folHlink>
        <a:srgbClr val="D8D8D8"/>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17</TotalTime>
  <Words>755</Words>
  <Application>Microsoft Office PowerPoint</Application>
  <PresentationFormat>Widescreen</PresentationFormat>
  <Paragraphs>143</Paragraphs>
  <Slides>13</Slides>
  <Notes>9</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13</vt:i4>
      </vt:variant>
    </vt:vector>
  </HeadingPairs>
  <TitlesOfParts>
    <vt:vector size="25" baseType="lpstr">
      <vt:lpstr>Arial</vt:lpstr>
      <vt:lpstr>Arial (Headings)</vt:lpstr>
      <vt:lpstr>Avenir</vt:lpstr>
      <vt:lpstr>Calibri</vt:lpstr>
      <vt:lpstr>Segoe UI</vt:lpstr>
      <vt:lpstr>StarSymbol</vt:lpstr>
      <vt:lpstr>Times New Roman</vt:lpstr>
      <vt:lpstr>Cover and End Slide Master</vt:lpstr>
      <vt:lpstr>Contents Slide Master</vt:lpstr>
      <vt:lpstr>Section Break Slide Master</vt:lpstr>
      <vt:lpstr>Custom Design</vt:lpstr>
      <vt:lpstr>think-cell Slide</vt:lpstr>
      <vt:lpstr>PowerPoint Presentation</vt:lpstr>
      <vt:lpstr>PowerPoint Presentation</vt:lpstr>
      <vt:lpstr>PowerPoint Presentation</vt:lpstr>
      <vt:lpstr>TestMagicTM – Various Component of TestMagicTM      </vt:lpstr>
      <vt:lpstr>TestMagicTM – Business Process Techniques….      </vt:lpstr>
      <vt:lpstr>PowerPoint Presentation</vt:lpstr>
      <vt:lpstr>PowerPoint Presentation</vt:lpstr>
      <vt:lpstr>PowerPoint Presentation</vt:lpstr>
      <vt:lpstr>PowerPoint Presentation</vt:lpstr>
      <vt:lpstr>PowerPoint Presentation</vt:lpstr>
      <vt:lpstr>PowerPoint Presentation</vt:lpstr>
      <vt:lpstr>TestMagicTM – Artificial Intelligence (AI/ML Capabilities)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TS5</dc:creator>
  <cp:lastModifiedBy>Ritika Bharat</cp:lastModifiedBy>
  <cp:revision>40</cp:revision>
  <dcterms:created xsi:type="dcterms:W3CDTF">2020-01-22T04:59:08Z</dcterms:created>
  <dcterms:modified xsi:type="dcterms:W3CDTF">2023-03-10T12:53:10Z</dcterms:modified>
</cp:coreProperties>
</file>